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wmf" ContentType="image/x-wm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30.xml" ContentType="application/vnd.openxmlformats-officedocument.presentationml.tags+xml"/>
  <Override PartName="/ppt/notesSlides/notesSlide1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2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notesSlides/notesSlide4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notesSlides/notesSlide5.xml" ContentType="application/vnd.openxmlformats-officedocument.presentationml.notesSlid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notesSlides/notesSlide6.xml" ContentType="application/vnd.openxmlformats-officedocument.presentationml.notesSlide+xml"/>
  <Override PartName="/ppt/theme/themeOverride2.xml" ContentType="application/vnd.openxmlformats-officedocument.themeOverrid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 autoCompressPictures="0">
  <p:sldMasterIdLst>
    <p:sldMasterId id="2147483660" r:id="rId14"/>
    <p:sldMasterId id="2147483706" r:id="rId15"/>
  </p:sldMasterIdLst>
  <p:notesMasterIdLst>
    <p:notesMasterId r:id="rId40"/>
  </p:notesMasterIdLst>
  <p:handoutMasterIdLst>
    <p:handoutMasterId r:id="rId41"/>
  </p:handoutMasterIdLst>
  <p:sldIdLst>
    <p:sldId id="279" r:id="rId16"/>
    <p:sldId id="303" r:id="rId17"/>
    <p:sldId id="2643" r:id="rId18"/>
    <p:sldId id="14682" r:id="rId19"/>
    <p:sldId id="14674" r:id="rId20"/>
    <p:sldId id="14704" r:id="rId21"/>
    <p:sldId id="14696" r:id="rId22"/>
    <p:sldId id="14705" r:id="rId23"/>
    <p:sldId id="14703" r:id="rId24"/>
    <p:sldId id="1279" r:id="rId25"/>
    <p:sldId id="12453" r:id="rId26"/>
    <p:sldId id="14666" r:id="rId27"/>
    <p:sldId id="12477" r:id="rId28"/>
    <p:sldId id="1280" r:id="rId29"/>
    <p:sldId id="14668" r:id="rId30"/>
    <p:sldId id="14670" r:id="rId31"/>
    <p:sldId id="12446" r:id="rId32"/>
    <p:sldId id="14688" r:id="rId33"/>
    <p:sldId id="14647" r:id="rId34"/>
    <p:sldId id="2647" r:id="rId35"/>
    <p:sldId id="12452" r:id="rId36"/>
    <p:sldId id="14706" r:id="rId37"/>
    <p:sldId id="14702" r:id="rId38"/>
    <p:sldId id="325" r:id="rId39"/>
  </p:sldIdLst>
  <p:sldSz cx="12195175" cy="6858000"/>
  <p:notesSz cx="6797675" cy="9928225"/>
  <p:embeddedFontLst>
    <p:embeddedFont>
      <p:font typeface="Calibri" panose="020F0502020204030204" pitchFamily="34" charset="0"/>
      <p:regular r:id="rId42"/>
      <p:bold r:id="rId43"/>
      <p:italic r:id="rId44"/>
      <p:boldItalic r:id="rId45"/>
    </p:embeddedFont>
    <p:embeddedFont>
      <p:font typeface="DIN-Light" panose="020B0300010101020103" pitchFamily="34" charset="0"/>
      <p:regular r:id="rId46"/>
    </p:embeddedFont>
    <p:embeddedFont>
      <p:font typeface="DIN-Medium" panose="020B0600010101020104" pitchFamily="34" charset="0"/>
      <p:regular r:id="rId47"/>
    </p:embeddedFont>
    <p:embeddedFont>
      <p:font typeface="DIN-Regular" panose="020B0500010101010101" pitchFamily="34" charset="0"/>
      <p:regular r:id="rId48"/>
    </p:embeddedFont>
    <p:embeddedFont>
      <p:font typeface="EnBW DIN Pro" panose="020B0504020101020102" pitchFamily="34" charset="0"/>
      <p:regular r:id="rId49"/>
      <p:bold r:id="rId50"/>
    </p:embeddedFont>
    <p:embeddedFont>
      <p:font typeface="EnBW DIN Pro Medium" panose="020B0604020101020102" pitchFamily="34" charset="0"/>
      <p:regular r:id="rId51"/>
    </p:embeddedFont>
  </p:embeddedFontLst>
  <p:custDataLst>
    <p:tags r:id="rId5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5ECCD1C3-F44C-4F28-9620-2F22FD71459C}">
          <p14:sldIdLst>
            <p14:sldId id="279"/>
            <p14:sldId id="303"/>
            <p14:sldId id="2643"/>
            <p14:sldId id="14682"/>
            <p14:sldId id="14674"/>
            <p14:sldId id="14704"/>
            <p14:sldId id="14696"/>
            <p14:sldId id="14705"/>
            <p14:sldId id="14703"/>
            <p14:sldId id="1279"/>
            <p14:sldId id="12453"/>
            <p14:sldId id="14666"/>
            <p14:sldId id="12477"/>
            <p14:sldId id="1280"/>
            <p14:sldId id="14668"/>
            <p14:sldId id="14670"/>
            <p14:sldId id="12446"/>
            <p14:sldId id="14688"/>
            <p14:sldId id="14647"/>
            <p14:sldId id="2647"/>
            <p14:sldId id="12452"/>
            <p14:sldId id="14706"/>
            <p14:sldId id="14702"/>
            <p14:sldId id="325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63F6FD"/>
    <a:srgbClr val="18984C"/>
    <a:srgbClr val="B02095"/>
    <a:srgbClr val="FF9900"/>
    <a:srgbClr val="97979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BCADC0F-3361-4715-BBBD-955EF29E7164}" v="38" dt="2022-05-12T13:43:00.611"/>
    <p1510:client id="{E7774C30-A535-406F-97D9-C00446F9054B}" v="19" dt="2022-05-13T07:19:59.617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353" autoAdjust="0"/>
    <p:restoredTop sz="88934" autoAdjust="0"/>
  </p:normalViewPr>
  <p:slideViewPr>
    <p:cSldViewPr snapToGrid="0" snapToObjects="1" showGuides="1">
      <p:cViewPr varScale="1">
        <p:scale>
          <a:sx n="101" d="100"/>
          <a:sy n="101" d="100"/>
        </p:scale>
        <p:origin x="912" y="114"/>
      </p:cViewPr>
      <p:guideLst/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7956"/>
    </p:cViewPr>
  </p:sorterViewPr>
  <p:notesViewPr>
    <p:cSldViewPr snapToGrid="0" snapToObjects="1" showGuides="1">
      <p:cViewPr>
        <p:scale>
          <a:sx n="66" d="100"/>
          <a:sy n="66" d="100"/>
        </p:scale>
        <p:origin x="-2772" y="-318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customXml" Target="../customXml/item13.xml"/><Relationship Id="rId18" Type="http://schemas.openxmlformats.org/officeDocument/2006/relationships/slide" Target="slides/slide3.xml"/><Relationship Id="rId26" Type="http://schemas.openxmlformats.org/officeDocument/2006/relationships/slide" Target="slides/slide11.xml"/><Relationship Id="rId39" Type="http://schemas.openxmlformats.org/officeDocument/2006/relationships/slide" Target="slides/slide24.xml"/><Relationship Id="rId21" Type="http://schemas.openxmlformats.org/officeDocument/2006/relationships/slide" Target="slides/slide6.xml"/><Relationship Id="rId34" Type="http://schemas.openxmlformats.org/officeDocument/2006/relationships/slide" Target="slides/slide19.xml"/><Relationship Id="rId42" Type="http://schemas.openxmlformats.org/officeDocument/2006/relationships/font" Target="fonts/font1.fntdata"/><Relationship Id="rId47" Type="http://schemas.openxmlformats.org/officeDocument/2006/relationships/font" Target="fonts/font6.fntdata"/><Relationship Id="rId50" Type="http://schemas.openxmlformats.org/officeDocument/2006/relationships/font" Target="fonts/font9.fntdata"/><Relationship Id="rId55" Type="http://schemas.openxmlformats.org/officeDocument/2006/relationships/theme" Target="theme/theme1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slide" Target="slides/slide2.xml"/><Relationship Id="rId25" Type="http://schemas.openxmlformats.org/officeDocument/2006/relationships/slide" Target="slides/slide10.xml"/><Relationship Id="rId33" Type="http://schemas.openxmlformats.org/officeDocument/2006/relationships/slide" Target="slides/slide18.xml"/><Relationship Id="rId38" Type="http://schemas.openxmlformats.org/officeDocument/2006/relationships/slide" Target="slides/slide23.xml"/><Relationship Id="rId46" Type="http://schemas.openxmlformats.org/officeDocument/2006/relationships/font" Target="fonts/font5.fntdata"/><Relationship Id="rId2" Type="http://schemas.openxmlformats.org/officeDocument/2006/relationships/customXml" Target="../customXml/item2.xml"/><Relationship Id="rId16" Type="http://schemas.openxmlformats.org/officeDocument/2006/relationships/slide" Target="slides/slide1.xml"/><Relationship Id="rId20" Type="http://schemas.openxmlformats.org/officeDocument/2006/relationships/slide" Target="slides/slide5.xml"/><Relationship Id="rId29" Type="http://schemas.openxmlformats.org/officeDocument/2006/relationships/slide" Target="slides/slide14.xml"/><Relationship Id="rId41" Type="http://schemas.openxmlformats.org/officeDocument/2006/relationships/handoutMaster" Target="handoutMasters/handoutMaster1.xml"/><Relationship Id="rId54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" Target="slides/slide9.xml"/><Relationship Id="rId32" Type="http://schemas.openxmlformats.org/officeDocument/2006/relationships/slide" Target="slides/slide17.xml"/><Relationship Id="rId37" Type="http://schemas.openxmlformats.org/officeDocument/2006/relationships/slide" Target="slides/slide22.xml"/><Relationship Id="rId40" Type="http://schemas.openxmlformats.org/officeDocument/2006/relationships/notesMaster" Target="notesMasters/notesMaster1.xml"/><Relationship Id="rId45" Type="http://schemas.openxmlformats.org/officeDocument/2006/relationships/font" Target="fonts/font4.fntdata"/><Relationship Id="rId53" Type="http://schemas.openxmlformats.org/officeDocument/2006/relationships/presProps" Target="presProps.xml"/><Relationship Id="rId58" Type="http://schemas.microsoft.com/office/2015/10/relationships/revisionInfo" Target="revisionInfo.xml"/><Relationship Id="rId5" Type="http://schemas.openxmlformats.org/officeDocument/2006/relationships/customXml" Target="../customXml/item5.xml"/><Relationship Id="rId15" Type="http://schemas.openxmlformats.org/officeDocument/2006/relationships/slideMaster" Target="slideMasters/slideMaster2.xml"/><Relationship Id="rId23" Type="http://schemas.openxmlformats.org/officeDocument/2006/relationships/slide" Target="slides/slide8.xml"/><Relationship Id="rId28" Type="http://schemas.openxmlformats.org/officeDocument/2006/relationships/slide" Target="slides/slide13.xml"/><Relationship Id="rId36" Type="http://schemas.openxmlformats.org/officeDocument/2006/relationships/slide" Target="slides/slide21.xml"/><Relationship Id="rId49" Type="http://schemas.openxmlformats.org/officeDocument/2006/relationships/font" Target="fonts/font8.fntdata"/><Relationship Id="rId57" Type="http://schemas.microsoft.com/office/2016/11/relationships/changesInfo" Target="changesInfos/changesInfo1.xml"/><Relationship Id="rId10" Type="http://schemas.openxmlformats.org/officeDocument/2006/relationships/customXml" Target="../customXml/item10.xml"/><Relationship Id="rId19" Type="http://schemas.openxmlformats.org/officeDocument/2006/relationships/slide" Target="slides/slide4.xml"/><Relationship Id="rId31" Type="http://schemas.openxmlformats.org/officeDocument/2006/relationships/slide" Target="slides/slide16.xml"/><Relationship Id="rId44" Type="http://schemas.openxmlformats.org/officeDocument/2006/relationships/font" Target="fonts/font3.fntdata"/><Relationship Id="rId52" Type="http://schemas.openxmlformats.org/officeDocument/2006/relationships/tags" Target="tags/tag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slideMaster" Target="slideMasters/slideMaster1.xml"/><Relationship Id="rId22" Type="http://schemas.openxmlformats.org/officeDocument/2006/relationships/slide" Target="slides/slide7.xml"/><Relationship Id="rId27" Type="http://schemas.openxmlformats.org/officeDocument/2006/relationships/slide" Target="slides/slide12.xml"/><Relationship Id="rId30" Type="http://schemas.openxmlformats.org/officeDocument/2006/relationships/slide" Target="slides/slide15.xml"/><Relationship Id="rId35" Type="http://schemas.openxmlformats.org/officeDocument/2006/relationships/slide" Target="slides/slide20.xml"/><Relationship Id="rId43" Type="http://schemas.openxmlformats.org/officeDocument/2006/relationships/font" Target="fonts/font2.fntdata"/><Relationship Id="rId48" Type="http://schemas.openxmlformats.org/officeDocument/2006/relationships/font" Target="fonts/font7.fntdata"/><Relationship Id="rId56" Type="http://schemas.openxmlformats.org/officeDocument/2006/relationships/tableStyles" Target="tableStyles.xml"/><Relationship Id="rId8" Type="http://schemas.openxmlformats.org/officeDocument/2006/relationships/customXml" Target="../customXml/item8.xml"/><Relationship Id="rId51" Type="http://schemas.openxmlformats.org/officeDocument/2006/relationships/font" Target="fonts/font10.fntdata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irbel Martin" userId="d6a352b5-7021-406e-80ae-0bf19c6a8dab" providerId="ADAL" clId="{E7774C30-A535-406F-97D9-C00446F9054B}"/>
    <pc:docChg chg="custSel delSld modSld sldOrd modSection">
      <pc:chgData name="Wirbel Martin" userId="d6a352b5-7021-406e-80ae-0bf19c6a8dab" providerId="ADAL" clId="{E7774C30-A535-406F-97D9-C00446F9054B}" dt="2022-05-13T07:47:12.394" v="13" actId="47"/>
      <pc:docMkLst>
        <pc:docMk/>
      </pc:docMkLst>
      <pc:sldChg chg="del">
        <pc:chgData name="Wirbel Martin" userId="d6a352b5-7021-406e-80ae-0bf19c6a8dab" providerId="ADAL" clId="{E7774C30-A535-406F-97D9-C00446F9054B}" dt="2022-05-13T07:46:54.502" v="12" actId="47"/>
        <pc:sldMkLst>
          <pc:docMk/>
          <pc:sldMk cId="2619635495" sldId="309"/>
        </pc:sldMkLst>
      </pc:sldChg>
      <pc:sldChg chg="ord">
        <pc:chgData name="Wirbel Martin" userId="d6a352b5-7021-406e-80ae-0bf19c6a8dab" providerId="ADAL" clId="{E7774C30-A535-406F-97D9-C00446F9054B}" dt="2022-05-13T07:10:35.197" v="0" actId="20578"/>
        <pc:sldMkLst>
          <pc:docMk/>
          <pc:sldMk cId="728624130" sldId="1279"/>
        </pc:sldMkLst>
      </pc:sldChg>
      <pc:sldChg chg="delSp modSp mod">
        <pc:chgData name="Wirbel Martin" userId="d6a352b5-7021-406e-80ae-0bf19c6a8dab" providerId="ADAL" clId="{E7774C30-A535-406F-97D9-C00446F9054B}" dt="2022-05-13T07:11:51.570" v="5" actId="478"/>
        <pc:sldMkLst>
          <pc:docMk/>
          <pc:sldMk cId="2392268083" sldId="12446"/>
        </pc:sldMkLst>
        <pc:spChg chg="del">
          <ac:chgData name="Wirbel Martin" userId="d6a352b5-7021-406e-80ae-0bf19c6a8dab" providerId="ADAL" clId="{E7774C30-A535-406F-97D9-C00446F9054B}" dt="2022-05-13T07:11:49.168" v="4" actId="478"/>
          <ac:spMkLst>
            <pc:docMk/>
            <pc:sldMk cId="2392268083" sldId="12446"/>
            <ac:spMk id="6" creationId="{16AE60E1-AF4A-4156-B890-8FF328F23849}"/>
          </ac:spMkLst>
        </pc:spChg>
        <pc:spChg chg="del">
          <ac:chgData name="Wirbel Martin" userId="d6a352b5-7021-406e-80ae-0bf19c6a8dab" providerId="ADAL" clId="{E7774C30-A535-406F-97D9-C00446F9054B}" dt="2022-05-13T07:11:51.570" v="5" actId="478"/>
          <ac:spMkLst>
            <pc:docMk/>
            <pc:sldMk cId="2392268083" sldId="12446"/>
            <ac:spMk id="8" creationId="{338B9809-4B57-44E2-9B97-3A3A6FBE267E}"/>
          </ac:spMkLst>
        </pc:spChg>
        <pc:graphicFrameChg chg="modGraphic">
          <ac:chgData name="Wirbel Martin" userId="d6a352b5-7021-406e-80ae-0bf19c6a8dab" providerId="ADAL" clId="{E7774C30-A535-406F-97D9-C00446F9054B}" dt="2022-05-13T07:11:41.828" v="3" actId="207"/>
          <ac:graphicFrameMkLst>
            <pc:docMk/>
            <pc:sldMk cId="2392268083" sldId="12446"/>
            <ac:graphicFrameMk id="9" creationId="{B838E5E5-1CE6-49BD-BCAF-1353DE29C30E}"/>
          </ac:graphicFrameMkLst>
        </pc:graphicFrameChg>
      </pc:sldChg>
      <pc:sldChg chg="del">
        <pc:chgData name="Wirbel Martin" userId="d6a352b5-7021-406e-80ae-0bf19c6a8dab" providerId="ADAL" clId="{E7774C30-A535-406F-97D9-C00446F9054B}" dt="2022-05-13T07:47:12.394" v="13" actId="47"/>
        <pc:sldMkLst>
          <pc:docMk/>
          <pc:sldMk cId="1587277375" sldId="14676"/>
        </pc:sldMkLst>
      </pc:sldChg>
      <pc:sldChg chg="delSp mod">
        <pc:chgData name="Wirbel Martin" userId="d6a352b5-7021-406e-80ae-0bf19c6a8dab" providerId="ADAL" clId="{E7774C30-A535-406F-97D9-C00446F9054B}" dt="2022-05-13T07:12:04.870" v="7" actId="478"/>
        <pc:sldMkLst>
          <pc:docMk/>
          <pc:sldMk cId="1293102057" sldId="14688"/>
        </pc:sldMkLst>
        <pc:spChg chg="del">
          <ac:chgData name="Wirbel Martin" userId="d6a352b5-7021-406e-80ae-0bf19c6a8dab" providerId="ADAL" clId="{E7774C30-A535-406F-97D9-C00446F9054B}" dt="2022-05-13T07:12:02.303" v="6" actId="478"/>
          <ac:spMkLst>
            <pc:docMk/>
            <pc:sldMk cId="1293102057" sldId="14688"/>
            <ac:spMk id="7" creationId="{17BC51C8-C8A1-42E3-90DD-FCA0735C643B}"/>
          </ac:spMkLst>
        </pc:spChg>
        <pc:spChg chg="del">
          <ac:chgData name="Wirbel Martin" userId="d6a352b5-7021-406e-80ae-0bf19c6a8dab" providerId="ADAL" clId="{E7774C30-A535-406F-97D9-C00446F9054B}" dt="2022-05-13T07:12:04.870" v="7" actId="478"/>
          <ac:spMkLst>
            <pc:docMk/>
            <pc:sldMk cId="1293102057" sldId="14688"/>
            <ac:spMk id="11" creationId="{A27C6C04-D8F6-4FED-9B78-3B04DDF30B51}"/>
          </ac:spMkLst>
        </pc:spChg>
      </pc:sldChg>
      <pc:sldChg chg="ord">
        <pc:chgData name="Wirbel Martin" userId="d6a352b5-7021-406e-80ae-0bf19c6a8dab" providerId="ADAL" clId="{E7774C30-A535-406F-97D9-C00446F9054B}" dt="2022-05-13T07:46:29.617" v="9"/>
        <pc:sldMkLst>
          <pc:docMk/>
          <pc:sldMk cId="2047137242" sldId="14696"/>
        </pc:sldMkLst>
      </pc:sldChg>
      <pc:sldChg chg="ord">
        <pc:chgData name="Wirbel Martin" userId="d6a352b5-7021-406e-80ae-0bf19c6a8dab" providerId="ADAL" clId="{E7774C30-A535-406F-97D9-C00446F9054B}" dt="2022-05-13T07:46:50.315" v="11"/>
        <pc:sldMkLst>
          <pc:docMk/>
          <pc:sldMk cId="1389853780" sldId="14705"/>
        </pc:sldMkLst>
      </pc:sldChg>
    </pc:docChg>
  </pc:docChgLst>
  <pc:docChgLst>
    <pc:chgData name="Hein Anastasia" userId="c47377d1-ee8b-493e-b579-4fc1ef64811d" providerId="ADAL" clId="{61BD4EE1-41C0-41F6-82B4-65296D1B5EFD}"/>
    <pc:docChg chg="custSel addSld delSld modSld modSection">
      <pc:chgData name="Hein Anastasia" userId="c47377d1-ee8b-493e-b579-4fc1ef64811d" providerId="ADAL" clId="{61BD4EE1-41C0-41F6-82B4-65296D1B5EFD}" dt="2022-04-14T20:17:43.310" v="1316" actId="207"/>
      <pc:docMkLst>
        <pc:docMk/>
      </pc:docMkLst>
      <pc:sldChg chg="modSp mod">
        <pc:chgData name="Hein Anastasia" userId="c47377d1-ee8b-493e-b579-4fc1ef64811d" providerId="ADAL" clId="{61BD4EE1-41C0-41F6-82B4-65296D1B5EFD}" dt="2022-04-12T07:35:41.818" v="36" actId="207"/>
        <pc:sldMkLst>
          <pc:docMk/>
          <pc:sldMk cId="3471462927" sldId="318"/>
        </pc:sldMkLst>
        <pc:spChg chg="mod">
          <ac:chgData name="Hein Anastasia" userId="c47377d1-ee8b-493e-b579-4fc1ef64811d" providerId="ADAL" clId="{61BD4EE1-41C0-41F6-82B4-65296D1B5EFD}" dt="2022-04-12T07:35:41.818" v="36" actId="207"/>
          <ac:spMkLst>
            <pc:docMk/>
            <pc:sldMk cId="3471462927" sldId="318"/>
            <ac:spMk id="9" creationId="{7DD806DD-ECB2-4E8C-916A-043D1670E594}"/>
          </ac:spMkLst>
        </pc:spChg>
      </pc:sldChg>
      <pc:sldChg chg="del">
        <pc:chgData name="Hein Anastasia" userId="c47377d1-ee8b-493e-b579-4fc1ef64811d" providerId="ADAL" clId="{61BD4EE1-41C0-41F6-82B4-65296D1B5EFD}" dt="2022-04-12T07:33:30.973" v="35" actId="47"/>
        <pc:sldMkLst>
          <pc:docMk/>
          <pc:sldMk cId="3857436382" sldId="1161"/>
        </pc:sldMkLst>
      </pc:sldChg>
      <pc:sldChg chg="addSp delSp modSp add mod">
        <pc:chgData name="Hein Anastasia" userId="c47377d1-ee8b-493e-b579-4fc1ef64811d" providerId="ADAL" clId="{61BD4EE1-41C0-41F6-82B4-65296D1B5EFD}" dt="2022-04-14T19:14:19.887" v="209"/>
        <pc:sldMkLst>
          <pc:docMk/>
          <pc:sldMk cId="2392268083" sldId="12446"/>
        </pc:sldMkLst>
        <pc:spChg chg="add mod">
          <ac:chgData name="Hein Anastasia" userId="c47377d1-ee8b-493e-b579-4fc1ef64811d" providerId="ADAL" clId="{61BD4EE1-41C0-41F6-82B4-65296D1B5EFD}" dt="2022-04-14T19:14:19.887" v="209"/>
          <ac:spMkLst>
            <pc:docMk/>
            <pc:sldMk cId="2392268083" sldId="12446"/>
            <ac:spMk id="6" creationId="{6D3A7DBD-D0D6-4224-B40D-CEA0496313A1}"/>
          </ac:spMkLst>
        </pc:spChg>
        <pc:spChg chg="del">
          <ac:chgData name="Hein Anastasia" userId="c47377d1-ee8b-493e-b579-4fc1ef64811d" providerId="ADAL" clId="{61BD4EE1-41C0-41F6-82B4-65296D1B5EFD}" dt="2022-04-12T07:24:47.754" v="11" actId="478"/>
          <ac:spMkLst>
            <pc:docMk/>
            <pc:sldMk cId="2392268083" sldId="12446"/>
            <ac:spMk id="8" creationId="{6E76557F-756F-4207-A71D-58EEF4D6024C}"/>
          </ac:spMkLst>
        </pc:spChg>
        <pc:spChg chg="mod">
          <ac:chgData name="Hein Anastasia" userId="c47377d1-ee8b-493e-b579-4fc1ef64811d" providerId="ADAL" clId="{61BD4EE1-41C0-41F6-82B4-65296D1B5EFD}" dt="2022-04-12T07:25:00.228" v="12" actId="20577"/>
          <ac:spMkLst>
            <pc:docMk/>
            <pc:sldMk cId="2392268083" sldId="12446"/>
            <ac:spMk id="10" creationId="{C127DA24-8F5A-4868-9177-39E462BA74F4}"/>
          </ac:spMkLst>
        </pc:spChg>
        <pc:graphicFrameChg chg="mod modGraphic">
          <ac:chgData name="Hein Anastasia" userId="c47377d1-ee8b-493e-b579-4fc1ef64811d" providerId="ADAL" clId="{61BD4EE1-41C0-41F6-82B4-65296D1B5EFD}" dt="2022-04-14T19:13:51.879" v="208" actId="6549"/>
          <ac:graphicFrameMkLst>
            <pc:docMk/>
            <pc:sldMk cId="2392268083" sldId="12446"/>
            <ac:graphicFrameMk id="9" creationId="{B838E5E5-1CE6-49BD-BCAF-1353DE29C30E}"/>
          </ac:graphicFrameMkLst>
        </pc:graphicFrameChg>
      </pc:sldChg>
      <pc:sldChg chg="del">
        <pc:chgData name="Hein Anastasia" userId="c47377d1-ee8b-493e-b579-4fc1ef64811d" providerId="ADAL" clId="{61BD4EE1-41C0-41F6-82B4-65296D1B5EFD}" dt="2022-04-12T07:16:44.093" v="0" actId="47"/>
        <pc:sldMkLst>
          <pc:docMk/>
          <pc:sldMk cId="1342933062" sldId="14664"/>
        </pc:sldMkLst>
      </pc:sldChg>
      <pc:sldChg chg="modSp mod">
        <pc:chgData name="Hein Anastasia" userId="c47377d1-ee8b-493e-b579-4fc1ef64811d" providerId="ADAL" clId="{61BD4EE1-41C0-41F6-82B4-65296D1B5EFD}" dt="2022-04-12T07:19:50.349" v="9" actId="20577"/>
        <pc:sldMkLst>
          <pc:docMk/>
          <pc:sldMk cId="1248736049" sldId="14670"/>
        </pc:sldMkLst>
        <pc:spChg chg="mod">
          <ac:chgData name="Hein Anastasia" userId="c47377d1-ee8b-493e-b579-4fc1ef64811d" providerId="ADAL" clId="{61BD4EE1-41C0-41F6-82B4-65296D1B5EFD}" dt="2022-04-12T07:19:44.634" v="7" actId="20577"/>
          <ac:spMkLst>
            <pc:docMk/>
            <pc:sldMk cId="1248736049" sldId="14670"/>
            <ac:spMk id="70" creationId="{62D11A1A-6A05-4273-A689-D26C6B06D091}"/>
          </ac:spMkLst>
        </pc:spChg>
        <pc:graphicFrameChg chg="modGraphic">
          <ac:chgData name="Hein Anastasia" userId="c47377d1-ee8b-493e-b579-4fc1ef64811d" providerId="ADAL" clId="{61BD4EE1-41C0-41F6-82B4-65296D1B5EFD}" dt="2022-04-12T07:19:50.349" v="9" actId="20577"/>
          <ac:graphicFrameMkLst>
            <pc:docMk/>
            <pc:sldMk cId="1248736049" sldId="14670"/>
            <ac:graphicFrameMk id="69" creationId="{00953548-14A8-4C83-B5F8-124D1EC0FE1D}"/>
          </ac:graphicFrameMkLst>
        </pc:graphicFrameChg>
      </pc:sldChg>
      <pc:sldChg chg="del">
        <pc:chgData name="Hein Anastasia" userId="c47377d1-ee8b-493e-b579-4fc1ef64811d" providerId="ADAL" clId="{61BD4EE1-41C0-41F6-82B4-65296D1B5EFD}" dt="2022-04-12T07:26:53.444" v="19" actId="47"/>
        <pc:sldMkLst>
          <pc:docMk/>
          <pc:sldMk cId="2585554790" sldId="14672"/>
        </pc:sldMkLst>
      </pc:sldChg>
      <pc:sldChg chg="addSp delSp modSp mod">
        <pc:chgData name="Hein Anastasia" userId="c47377d1-ee8b-493e-b579-4fc1ef64811d" providerId="ADAL" clId="{61BD4EE1-41C0-41F6-82B4-65296D1B5EFD}" dt="2022-04-14T20:17:43.310" v="1316" actId="207"/>
        <pc:sldMkLst>
          <pc:docMk/>
          <pc:sldMk cId="1293102057" sldId="14688"/>
        </pc:sldMkLst>
        <pc:spChg chg="del mod">
          <ac:chgData name="Hein Anastasia" userId="c47377d1-ee8b-493e-b579-4fc1ef64811d" providerId="ADAL" clId="{61BD4EE1-41C0-41F6-82B4-65296D1B5EFD}" dt="2022-04-14T19:31:48.407" v="214" actId="478"/>
          <ac:spMkLst>
            <pc:docMk/>
            <pc:sldMk cId="1293102057" sldId="14688"/>
            <ac:spMk id="2" creationId="{6EEDE73E-E44C-4730-8F23-FD86071ABB86}"/>
          </ac:spMkLst>
        </pc:spChg>
        <pc:spChg chg="mod">
          <ac:chgData name="Hein Anastasia" userId="c47377d1-ee8b-493e-b579-4fc1ef64811d" providerId="ADAL" clId="{61BD4EE1-41C0-41F6-82B4-65296D1B5EFD}" dt="2022-04-14T19:57:05.158" v="718" actId="1076"/>
          <ac:spMkLst>
            <pc:docMk/>
            <pc:sldMk cId="1293102057" sldId="14688"/>
            <ac:spMk id="9" creationId="{2E55C716-A190-4A50-8009-5FED84645383}"/>
          </ac:spMkLst>
        </pc:spChg>
        <pc:spChg chg="mod">
          <ac:chgData name="Hein Anastasia" userId="c47377d1-ee8b-493e-b579-4fc1ef64811d" providerId="ADAL" clId="{61BD4EE1-41C0-41F6-82B4-65296D1B5EFD}" dt="2022-04-14T20:09:05.308" v="1095" actId="14100"/>
          <ac:spMkLst>
            <pc:docMk/>
            <pc:sldMk cId="1293102057" sldId="14688"/>
            <ac:spMk id="11" creationId="{4B6EB33B-3209-44ED-BEE8-714101AC9592}"/>
          </ac:spMkLst>
        </pc:spChg>
        <pc:spChg chg="mod">
          <ac:chgData name="Hein Anastasia" userId="c47377d1-ee8b-493e-b579-4fc1ef64811d" providerId="ADAL" clId="{61BD4EE1-41C0-41F6-82B4-65296D1B5EFD}" dt="2022-04-14T20:17:43.310" v="1316" actId="207"/>
          <ac:spMkLst>
            <pc:docMk/>
            <pc:sldMk cId="1293102057" sldId="14688"/>
            <ac:spMk id="13" creationId="{0F3580B7-AFE1-4681-BC06-4C41A5A4E829}"/>
          </ac:spMkLst>
        </pc:spChg>
        <pc:spChg chg="add mod">
          <ac:chgData name="Hein Anastasia" userId="c47377d1-ee8b-493e-b579-4fc1ef64811d" providerId="ADAL" clId="{61BD4EE1-41C0-41F6-82B4-65296D1B5EFD}" dt="2022-04-14T20:17:34.727" v="1314" actId="1076"/>
          <ac:spMkLst>
            <pc:docMk/>
            <pc:sldMk cId="1293102057" sldId="14688"/>
            <ac:spMk id="14" creationId="{E3E3D268-36E7-4A9E-813C-A3F19C937032}"/>
          </ac:spMkLst>
        </pc:spChg>
        <pc:graphicFrameChg chg="mod modGraphic">
          <ac:chgData name="Hein Anastasia" userId="c47377d1-ee8b-493e-b579-4fc1ef64811d" providerId="ADAL" clId="{61BD4EE1-41C0-41F6-82B4-65296D1B5EFD}" dt="2022-04-14T20:17:26.856" v="1312" actId="404"/>
          <ac:graphicFrameMkLst>
            <pc:docMk/>
            <pc:sldMk cId="1293102057" sldId="14688"/>
            <ac:graphicFrameMk id="8" creationId="{28A01881-8FDA-41FC-A804-614E895F4FDA}"/>
          </ac:graphicFrameMkLst>
        </pc:graphicFrameChg>
      </pc:sldChg>
      <pc:sldChg chg="addSp delSp modSp add mod">
        <pc:chgData name="Hein Anastasia" userId="c47377d1-ee8b-493e-b579-4fc1ef64811d" providerId="ADAL" clId="{61BD4EE1-41C0-41F6-82B4-65296D1B5EFD}" dt="2022-04-12T08:53:47.038" v="140" actId="27918"/>
        <pc:sldMkLst>
          <pc:docMk/>
          <pc:sldMk cId="2047137242" sldId="14696"/>
        </pc:sldMkLst>
        <pc:spChg chg="mod">
          <ac:chgData name="Hein Anastasia" userId="c47377d1-ee8b-493e-b579-4fc1ef64811d" providerId="ADAL" clId="{61BD4EE1-41C0-41F6-82B4-65296D1B5EFD}" dt="2022-04-12T07:33:14.905" v="34" actId="20577"/>
          <ac:spMkLst>
            <pc:docMk/>
            <pc:sldMk cId="2047137242" sldId="14696"/>
            <ac:spMk id="9" creationId="{E205520E-F2F5-41DA-82CC-4D80EF1EF89B}"/>
          </ac:spMkLst>
        </pc:spChg>
        <pc:spChg chg="mod">
          <ac:chgData name="Hein Anastasia" userId="c47377d1-ee8b-493e-b579-4fc1ef64811d" providerId="ADAL" clId="{61BD4EE1-41C0-41F6-82B4-65296D1B5EFD}" dt="2022-04-12T08:43:32.353" v="137" actId="20577"/>
          <ac:spMkLst>
            <pc:docMk/>
            <pc:sldMk cId="2047137242" sldId="14696"/>
            <ac:spMk id="17" creationId="{4EF7DC97-8EFE-42DA-83A7-0D31C1CE428C}"/>
          </ac:spMkLst>
        </pc:spChg>
        <pc:spChg chg="mod">
          <ac:chgData name="Hein Anastasia" userId="c47377d1-ee8b-493e-b579-4fc1ef64811d" providerId="ADAL" clId="{61BD4EE1-41C0-41F6-82B4-65296D1B5EFD}" dt="2022-04-12T08:43:22.108" v="129" actId="20577"/>
          <ac:spMkLst>
            <pc:docMk/>
            <pc:sldMk cId="2047137242" sldId="14696"/>
            <ac:spMk id="18" creationId="{537FB6DD-E781-47B1-9D34-3111ADA0BB38}"/>
          </ac:spMkLst>
        </pc:spChg>
        <pc:spChg chg="mod">
          <ac:chgData name="Hein Anastasia" userId="c47377d1-ee8b-493e-b579-4fc1ef64811d" providerId="ADAL" clId="{61BD4EE1-41C0-41F6-82B4-65296D1B5EFD}" dt="2022-04-12T08:42:51.481" v="109" actId="20577"/>
          <ac:spMkLst>
            <pc:docMk/>
            <pc:sldMk cId="2047137242" sldId="14696"/>
            <ac:spMk id="19" creationId="{40DAA3EE-1982-4FCE-A926-CDCD3A25B604}"/>
          </ac:spMkLst>
        </pc:spChg>
        <pc:spChg chg="mod">
          <ac:chgData name="Hein Anastasia" userId="c47377d1-ee8b-493e-b579-4fc1ef64811d" providerId="ADAL" clId="{61BD4EE1-41C0-41F6-82B4-65296D1B5EFD}" dt="2022-04-12T08:43:10.664" v="123" actId="20577"/>
          <ac:spMkLst>
            <pc:docMk/>
            <pc:sldMk cId="2047137242" sldId="14696"/>
            <ac:spMk id="20" creationId="{47C1A500-326E-4025-86CE-73C0C8C852E6}"/>
          </ac:spMkLst>
        </pc:spChg>
        <pc:spChg chg="mod">
          <ac:chgData name="Hein Anastasia" userId="c47377d1-ee8b-493e-b579-4fc1ef64811d" providerId="ADAL" clId="{61BD4EE1-41C0-41F6-82B4-65296D1B5EFD}" dt="2022-04-12T08:43:00.848" v="117" actId="20577"/>
          <ac:spMkLst>
            <pc:docMk/>
            <pc:sldMk cId="2047137242" sldId="14696"/>
            <ac:spMk id="21" creationId="{95E15B34-7E11-493C-8F09-AACA089689B8}"/>
          </ac:spMkLst>
        </pc:spChg>
        <pc:spChg chg="mod">
          <ac:chgData name="Hein Anastasia" userId="c47377d1-ee8b-493e-b579-4fc1ef64811d" providerId="ADAL" clId="{61BD4EE1-41C0-41F6-82B4-65296D1B5EFD}" dt="2022-04-12T08:42:41.902" v="103" actId="20577"/>
          <ac:spMkLst>
            <pc:docMk/>
            <pc:sldMk cId="2047137242" sldId="14696"/>
            <ac:spMk id="22" creationId="{402506B8-96F6-48B9-A530-8DAE56AC65AD}"/>
          </ac:spMkLst>
        </pc:spChg>
        <pc:spChg chg="mod">
          <ac:chgData name="Hein Anastasia" userId="c47377d1-ee8b-493e-b579-4fc1ef64811d" providerId="ADAL" clId="{61BD4EE1-41C0-41F6-82B4-65296D1B5EFD}" dt="2022-04-12T08:42:06.185" v="95" actId="1037"/>
          <ac:spMkLst>
            <pc:docMk/>
            <pc:sldMk cId="2047137242" sldId="14696"/>
            <ac:spMk id="23" creationId="{B1938638-9FE1-41EF-9043-3A589DA3EE49}"/>
          </ac:spMkLst>
        </pc:spChg>
        <pc:spChg chg="del">
          <ac:chgData name="Hein Anastasia" userId="c47377d1-ee8b-493e-b579-4fc1ef64811d" providerId="ADAL" clId="{61BD4EE1-41C0-41F6-82B4-65296D1B5EFD}" dt="2022-04-12T07:33:11.923" v="25" actId="478"/>
          <ac:spMkLst>
            <pc:docMk/>
            <pc:sldMk cId="2047137242" sldId="14696"/>
            <ac:spMk id="25" creationId="{EAE3D150-D8F9-491A-B6AA-00E814D8F783}"/>
          </ac:spMkLst>
        </pc:spChg>
        <pc:spChg chg="add mod">
          <ac:chgData name="Hein Anastasia" userId="c47377d1-ee8b-493e-b579-4fc1ef64811d" providerId="ADAL" clId="{61BD4EE1-41C0-41F6-82B4-65296D1B5EFD}" dt="2022-04-12T08:44:11.707" v="138" actId="207"/>
          <ac:spMkLst>
            <pc:docMk/>
            <pc:sldMk cId="2047137242" sldId="14696"/>
            <ac:spMk id="26" creationId="{A35F72AD-CEAA-4E8F-A287-221F93BD4B4E}"/>
          </ac:spMkLst>
        </pc:spChg>
        <pc:cxnChg chg="mod">
          <ac:chgData name="Hein Anastasia" userId="c47377d1-ee8b-493e-b579-4fc1ef64811d" providerId="ADAL" clId="{61BD4EE1-41C0-41F6-82B4-65296D1B5EFD}" dt="2022-04-12T08:41:47.694" v="85" actId="1038"/>
          <ac:cxnSpMkLst>
            <pc:docMk/>
            <pc:sldMk cId="2047137242" sldId="14696"/>
            <ac:cxnSpMk id="24" creationId="{99996C17-AED7-4E68-9B2B-41F1FB241761}"/>
          </ac:cxnSpMkLst>
        </pc:cxnChg>
      </pc:sldChg>
      <pc:sldChg chg="modSp mod">
        <pc:chgData name="Hein Anastasia" userId="c47377d1-ee8b-493e-b579-4fc1ef64811d" providerId="ADAL" clId="{61BD4EE1-41C0-41F6-82B4-65296D1B5EFD}" dt="2022-04-14T19:18:17.884" v="213" actId="20577"/>
        <pc:sldMkLst>
          <pc:docMk/>
          <pc:sldMk cId="3126563850" sldId="14704"/>
        </pc:sldMkLst>
        <pc:spChg chg="mod">
          <ac:chgData name="Hein Anastasia" userId="c47377d1-ee8b-493e-b579-4fc1ef64811d" providerId="ADAL" clId="{61BD4EE1-41C0-41F6-82B4-65296D1B5EFD}" dt="2022-04-14T19:18:17.884" v="213" actId="20577"/>
          <ac:spMkLst>
            <pc:docMk/>
            <pc:sldMk cId="3126563850" sldId="14704"/>
            <ac:spMk id="21" creationId="{EFE86BE5-305A-4FAB-B346-080DE94C8DC7}"/>
          </ac:spMkLst>
        </pc:spChg>
      </pc:sldChg>
      <pc:sldChg chg="addSp modSp mod">
        <pc:chgData name="Hein Anastasia" userId="c47377d1-ee8b-493e-b579-4fc1ef64811d" providerId="ADAL" clId="{61BD4EE1-41C0-41F6-82B4-65296D1B5EFD}" dt="2022-04-12T07:28:21.371" v="21" actId="1076"/>
        <pc:sldMkLst>
          <pc:docMk/>
          <pc:sldMk cId="1389853780" sldId="14705"/>
        </pc:sldMkLst>
        <pc:spChg chg="add mod">
          <ac:chgData name="Hein Anastasia" userId="c47377d1-ee8b-493e-b579-4fc1ef64811d" providerId="ADAL" clId="{61BD4EE1-41C0-41F6-82B4-65296D1B5EFD}" dt="2022-04-12T07:28:21.371" v="21" actId="1076"/>
          <ac:spMkLst>
            <pc:docMk/>
            <pc:sldMk cId="1389853780" sldId="14705"/>
            <ac:spMk id="13" creationId="{E712BFE4-C200-467B-936C-EFA5FB86A511}"/>
          </ac:spMkLst>
        </pc:spChg>
      </pc:sldChg>
      <pc:sldChg chg="add">
        <pc:chgData name="Hein Anastasia" userId="c47377d1-ee8b-493e-b579-4fc1ef64811d" providerId="ADAL" clId="{61BD4EE1-41C0-41F6-82B4-65296D1B5EFD}" dt="2022-04-12T07:37:50.917" v="37"/>
        <pc:sldMkLst>
          <pc:docMk/>
          <pc:sldMk cId="2578988418" sldId="14706"/>
        </pc:sldMkLst>
      </pc:sldChg>
      <pc:sldMasterChg chg="delSldLayout">
        <pc:chgData name="Hein Anastasia" userId="c47377d1-ee8b-493e-b579-4fc1ef64811d" providerId="ADAL" clId="{61BD4EE1-41C0-41F6-82B4-65296D1B5EFD}" dt="2022-04-12T07:16:44.093" v="0" actId="47"/>
        <pc:sldMasterMkLst>
          <pc:docMk/>
          <pc:sldMasterMk cId="0" sldId="2147483660"/>
        </pc:sldMasterMkLst>
        <pc:sldLayoutChg chg="del">
          <pc:chgData name="Hein Anastasia" userId="c47377d1-ee8b-493e-b579-4fc1ef64811d" providerId="ADAL" clId="{61BD4EE1-41C0-41F6-82B4-65296D1B5EFD}" dt="2022-04-12T07:16:44.093" v="0" actId="47"/>
          <pc:sldLayoutMkLst>
            <pc:docMk/>
            <pc:sldMasterMk cId="0" sldId="2147483660"/>
            <pc:sldLayoutMk cId="3918053770" sldId="2147483720"/>
          </pc:sldLayoutMkLst>
        </pc:sldLayoutChg>
      </pc:sldMasterChg>
    </pc:docChg>
  </pc:docChgLst>
  <pc:docChgLst>
    <pc:chgData name="Hein Anastasia" userId="c47377d1-ee8b-493e-b579-4fc1ef64811d" providerId="ADAL" clId="{DBCADC0F-3361-4715-BBBD-955EF29E7164}"/>
    <pc:docChg chg="undo custSel addSld modSld">
      <pc:chgData name="Hein Anastasia" userId="c47377d1-ee8b-493e-b579-4fc1ef64811d" providerId="ADAL" clId="{DBCADC0F-3361-4715-BBBD-955EF29E7164}" dt="2022-05-12T13:43:46.701" v="4038" actId="20577"/>
      <pc:docMkLst>
        <pc:docMk/>
      </pc:docMkLst>
      <pc:sldChg chg="addSp modSp add mod setBg">
        <pc:chgData name="Hein Anastasia" userId="c47377d1-ee8b-493e-b579-4fc1ef64811d" providerId="ADAL" clId="{DBCADC0F-3361-4715-BBBD-955EF29E7164}" dt="2022-05-04T11:12:51.539" v="1447" actId="6549"/>
        <pc:sldMkLst>
          <pc:docMk/>
          <pc:sldMk cId="3471462927" sldId="318"/>
        </pc:sldMkLst>
        <pc:spChg chg="add mod">
          <ac:chgData name="Hein Anastasia" userId="c47377d1-ee8b-493e-b579-4fc1ef64811d" providerId="ADAL" clId="{DBCADC0F-3361-4715-BBBD-955EF29E7164}" dt="2022-05-04T11:12:23.856" v="1419" actId="207"/>
          <ac:spMkLst>
            <pc:docMk/>
            <pc:sldMk cId="3471462927" sldId="318"/>
            <ac:spMk id="9" creationId="{4B9DF5DC-03FA-4799-9DF4-85C1EB719027}"/>
          </ac:spMkLst>
        </pc:spChg>
        <pc:spChg chg="add mod">
          <ac:chgData name="Hein Anastasia" userId="c47377d1-ee8b-493e-b579-4fc1ef64811d" providerId="ADAL" clId="{DBCADC0F-3361-4715-BBBD-955EF29E7164}" dt="2022-05-04T11:12:51.539" v="1447" actId="6549"/>
          <ac:spMkLst>
            <pc:docMk/>
            <pc:sldMk cId="3471462927" sldId="318"/>
            <ac:spMk id="10" creationId="{A633E9E0-F027-4C49-8217-612BB02D6C04}"/>
          </ac:spMkLst>
        </pc:spChg>
        <pc:graphicFrameChg chg="mod modGraphic">
          <ac:chgData name="Hein Anastasia" userId="c47377d1-ee8b-493e-b579-4fc1ef64811d" providerId="ADAL" clId="{DBCADC0F-3361-4715-BBBD-955EF29E7164}" dt="2022-05-04T11:12:08.789" v="1417" actId="20577"/>
          <ac:graphicFrameMkLst>
            <pc:docMk/>
            <pc:sldMk cId="3471462927" sldId="318"/>
            <ac:graphicFrameMk id="5" creationId="{75BF2E47-6601-4365-A9C1-B54BB18789FA}"/>
          </ac:graphicFrameMkLst>
        </pc:graphicFrameChg>
      </pc:sldChg>
      <pc:sldChg chg="addSp delSp modSp mod">
        <pc:chgData name="Hein Anastasia" userId="c47377d1-ee8b-493e-b579-4fc1ef64811d" providerId="ADAL" clId="{DBCADC0F-3361-4715-BBBD-955EF29E7164}" dt="2022-05-04T13:04:13.019" v="2945" actId="1076"/>
        <pc:sldMkLst>
          <pc:docMk/>
          <pc:sldMk cId="3545586522" sldId="1280"/>
        </pc:sldMkLst>
        <pc:spChg chg="add mod">
          <ac:chgData name="Hein Anastasia" userId="c47377d1-ee8b-493e-b579-4fc1ef64811d" providerId="ADAL" clId="{DBCADC0F-3361-4715-BBBD-955EF29E7164}" dt="2022-05-04T13:04:07.145" v="2944" actId="13926"/>
          <ac:spMkLst>
            <pc:docMk/>
            <pc:sldMk cId="3545586522" sldId="1280"/>
            <ac:spMk id="5" creationId="{42ED2879-A3FC-403D-AB96-A7E14D4FF792}"/>
          </ac:spMkLst>
        </pc:spChg>
        <pc:spChg chg="mod">
          <ac:chgData name="Hein Anastasia" userId="c47377d1-ee8b-493e-b579-4fc1ef64811d" providerId="ADAL" clId="{DBCADC0F-3361-4715-BBBD-955EF29E7164}" dt="2022-05-04T13:03:59.517" v="2942" actId="207"/>
          <ac:spMkLst>
            <pc:docMk/>
            <pc:sldMk cId="3545586522" sldId="1280"/>
            <ac:spMk id="6" creationId="{5D9DEFC8-35E1-4B86-A7D5-7A3965D14AC5}"/>
          </ac:spMkLst>
        </pc:spChg>
        <pc:spChg chg="mod">
          <ac:chgData name="Hein Anastasia" userId="c47377d1-ee8b-493e-b579-4fc1ef64811d" providerId="ADAL" clId="{DBCADC0F-3361-4715-BBBD-955EF29E7164}" dt="2022-05-04T13:02:19.587" v="2700" actId="1076"/>
          <ac:spMkLst>
            <pc:docMk/>
            <pc:sldMk cId="3545586522" sldId="1280"/>
            <ac:spMk id="7" creationId="{D552A783-0B65-4695-AD1D-2ABFC8991B33}"/>
          </ac:spMkLst>
        </pc:spChg>
        <pc:spChg chg="add mod">
          <ac:chgData name="Hein Anastasia" userId="c47377d1-ee8b-493e-b579-4fc1ef64811d" providerId="ADAL" clId="{DBCADC0F-3361-4715-BBBD-955EF29E7164}" dt="2022-05-04T13:04:13.019" v="2945" actId="1076"/>
          <ac:spMkLst>
            <pc:docMk/>
            <pc:sldMk cId="3545586522" sldId="1280"/>
            <ac:spMk id="11" creationId="{019A2CD6-A482-41F6-8AE0-D02E5FA9D1E8}"/>
          </ac:spMkLst>
        </pc:spChg>
        <pc:picChg chg="add mod">
          <ac:chgData name="Hein Anastasia" userId="c47377d1-ee8b-493e-b579-4fc1ef64811d" providerId="ADAL" clId="{DBCADC0F-3361-4715-BBBD-955EF29E7164}" dt="2022-05-04T13:02:44.699" v="2707" actId="1440"/>
          <ac:picMkLst>
            <pc:docMk/>
            <pc:sldMk cId="3545586522" sldId="1280"/>
            <ac:picMk id="2" creationId="{1BA41B49-E881-464E-AE1E-5175B67F5F98}"/>
          </ac:picMkLst>
        </pc:picChg>
        <pc:picChg chg="del">
          <ac:chgData name="Hein Anastasia" userId="c47377d1-ee8b-493e-b579-4fc1ef64811d" providerId="ADAL" clId="{DBCADC0F-3361-4715-BBBD-955EF29E7164}" dt="2022-05-04T13:01:53.271" v="2694" actId="478"/>
          <ac:picMkLst>
            <pc:docMk/>
            <pc:sldMk cId="3545586522" sldId="1280"/>
            <ac:picMk id="1026" creationId="{A091B1E0-E34C-4C09-8298-7AE0E931E8AB}"/>
          </ac:picMkLst>
        </pc:picChg>
      </pc:sldChg>
      <pc:sldChg chg="addSp delSp modSp mod">
        <pc:chgData name="Hein Anastasia" userId="c47377d1-ee8b-493e-b579-4fc1ef64811d" providerId="ADAL" clId="{DBCADC0F-3361-4715-BBBD-955EF29E7164}" dt="2022-05-12T13:12:34.861" v="3052" actId="207"/>
        <pc:sldMkLst>
          <pc:docMk/>
          <pc:sldMk cId="2392268083" sldId="12446"/>
        </pc:sldMkLst>
        <pc:spChg chg="add del mod">
          <ac:chgData name="Hein Anastasia" userId="c47377d1-ee8b-493e-b579-4fc1ef64811d" providerId="ADAL" clId="{DBCADC0F-3361-4715-BBBD-955EF29E7164}" dt="2022-05-12T13:12:30.504" v="3051" actId="478"/>
          <ac:spMkLst>
            <pc:docMk/>
            <pc:sldMk cId="2392268083" sldId="12446"/>
            <ac:spMk id="2" creationId="{AC2C1E51-3CD9-46A6-970D-B164C5EA4E67}"/>
          </ac:spMkLst>
        </pc:spChg>
        <pc:spChg chg="add mod">
          <ac:chgData name="Hein Anastasia" userId="c47377d1-ee8b-493e-b579-4fc1ef64811d" providerId="ADAL" clId="{DBCADC0F-3361-4715-BBBD-955EF29E7164}" dt="2022-05-12T13:12:34.861" v="3052" actId="207"/>
          <ac:spMkLst>
            <pc:docMk/>
            <pc:sldMk cId="2392268083" sldId="12446"/>
            <ac:spMk id="6" creationId="{16AE60E1-AF4A-4156-B890-8FF328F23849}"/>
          </ac:spMkLst>
        </pc:spChg>
        <pc:spChg chg="add mod">
          <ac:chgData name="Hein Anastasia" userId="c47377d1-ee8b-493e-b579-4fc1ef64811d" providerId="ADAL" clId="{DBCADC0F-3361-4715-BBBD-955EF29E7164}" dt="2022-05-04T13:01:37.125" v="2693" actId="1076"/>
          <ac:spMkLst>
            <pc:docMk/>
            <pc:sldMk cId="2392268083" sldId="12446"/>
            <ac:spMk id="8" creationId="{338B9809-4B57-44E2-9B97-3A3A6FBE267E}"/>
          </ac:spMkLst>
        </pc:spChg>
        <pc:graphicFrameChg chg="mod modGraphic">
          <ac:chgData name="Hein Anastasia" userId="c47377d1-ee8b-493e-b579-4fc1ef64811d" providerId="ADAL" clId="{DBCADC0F-3361-4715-BBBD-955EF29E7164}" dt="2022-05-12T13:12:10.834" v="3050" actId="20577"/>
          <ac:graphicFrameMkLst>
            <pc:docMk/>
            <pc:sldMk cId="2392268083" sldId="12446"/>
            <ac:graphicFrameMk id="9" creationId="{B838E5E5-1CE6-49BD-BCAF-1353DE29C30E}"/>
          </ac:graphicFrameMkLst>
        </pc:graphicFrameChg>
      </pc:sldChg>
      <pc:sldChg chg="addSp modSp mod">
        <pc:chgData name="Hein Anastasia" userId="c47377d1-ee8b-493e-b579-4fc1ef64811d" providerId="ADAL" clId="{DBCADC0F-3361-4715-BBBD-955EF29E7164}" dt="2022-05-04T08:55:20.874" v="127" actId="207"/>
        <pc:sldMkLst>
          <pc:docMk/>
          <pc:sldMk cId="452916417" sldId="12477"/>
        </pc:sldMkLst>
        <pc:spChg chg="mod">
          <ac:chgData name="Hein Anastasia" userId="c47377d1-ee8b-493e-b579-4fc1ef64811d" providerId="ADAL" clId="{DBCADC0F-3361-4715-BBBD-955EF29E7164}" dt="2022-05-04T08:55:12.278" v="125" actId="20577"/>
          <ac:spMkLst>
            <pc:docMk/>
            <pc:sldMk cId="452916417" sldId="12477"/>
            <ac:spMk id="24" creationId="{D2544339-3535-4560-B31F-01E5B544B324}"/>
          </ac:spMkLst>
        </pc:spChg>
        <pc:spChg chg="add mod">
          <ac:chgData name="Hein Anastasia" userId="c47377d1-ee8b-493e-b579-4fc1ef64811d" providerId="ADAL" clId="{DBCADC0F-3361-4715-BBBD-955EF29E7164}" dt="2022-05-04T08:55:20.874" v="127" actId="207"/>
          <ac:spMkLst>
            <pc:docMk/>
            <pc:sldMk cId="452916417" sldId="12477"/>
            <ac:spMk id="33" creationId="{252F5208-2A8E-4F41-AA53-1609AD5C182B}"/>
          </ac:spMkLst>
        </pc:spChg>
        <pc:spChg chg="mod">
          <ac:chgData name="Hein Anastasia" userId="c47377d1-ee8b-493e-b579-4fc1ef64811d" providerId="ADAL" clId="{DBCADC0F-3361-4715-BBBD-955EF29E7164}" dt="2022-05-04T08:54:43.386" v="110" actId="20577"/>
          <ac:spMkLst>
            <pc:docMk/>
            <pc:sldMk cId="452916417" sldId="12477"/>
            <ac:spMk id="40" creationId="{6A3B9D75-2A60-4425-915F-83E8BD19801D}"/>
          </ac:spMkLst>
        </pc:spChg>
        <pc:spChg chg="mod">
          <ac:chgData name="Hein Anastasia" userId="c47377d1-ee8b-493e-b579-4fc1ef64811d" providerId="ADAL" clId="{DBCADC0F-3361-4715-BBBD-955EF29E7164}" dt="2022-05-04T08:54:53.299" v="115" actId="14100"/>
          <ac:spMkLst>
            <pc:docMk/>
            <pc:sldMk cId="452916417" sldId="12477"/>
            <ac:spMk id="42" creationId="{3BE24F0A-8FA7-4CE6-805B-2DFA5899C72F}"/>
          </ac:spMkLst>
        </pc:spChg>
        <pc:spChg chg="mod">
          <ac:chgData name="Hein Anastasia" userId="c47377d1-ee8b-493e-b579-4fc1ef64811d" providerId="ADAL" clId="{DBCADC0F-3361-4715-BBBD-955EF29E7164}" dt="2022-05-04T08:53:58.167" v="82" actId="20577"/>
          <ac:spMkLst>
            <pc:docMk/>
            <pc:sldMk cId="452916417" sldId="12477"/>
            <ac:spMk id="43" creationId="{E6E0CFD8-CA77-4450-9706-653C53758E76}"/>
          </ac:spMkLst>
        </pc:spChg>
        <pc:spChg chg="mod">
          <ac:chgData name="Hein Anastasia" userId="c47377d1-ee8b-493e-b579-4fc1ef64811d" providerId="ADAL" clId="{DBCADC0F-3361-4715-BBBD-955EF29E7164}" dt="2022-05-04T08:53:53.352" v="77" actId="20577"/>
          <ac:spMkLst>
            <pc:docMk/>
            <pc:sldMk cId="452916417" sldId="12477"/>
            <ac:spMk id="44" creationId="{892939E8-6699-4325-BFBC-D7BA92EFB525}"/>
          </ac:spMkLst>
        </pc:spChg>
        <pc:graphicFrameChg chg="modGraphic">
          <ac:chgData name="Hein Anastasia" userId="c47377d1-ee8b-493e-b579-4fc1ef64811d" providerId="ADAL" clId="{DBCADC0F-3361-4715-BBBD-955EF29E7164}" dt="2022-05-04T08:53:45.146" v="72" actId="20577"/>
          <ac:graphicFrameMkLst>
            <pc:docMk/>
            <pc:sldMk cId="452916417" sldId="12477"/>
            <ac:graphicFrameMk id="36" creationId="{61AF0325-185F-407D-91BF-CC47F4ADE754}"/>
          </ac:graphicFrameMkLst>
        </pc:graphicFrameChg>
        <pc:graphicFrameChg chg="modGraphic">
          <ac:chgData name="Hein Anastasia" userId="c47377d1-ee8b-493e-b579-4fc1ef64811d" providerId="ADAL" clId="{DBCADC0F-3361-4715-BBBD-955EF29E7164}" dt="2022-05-04T08:53:07.097" v="44" actId="20577"/>
          <ac:graphicFrameMkLst>
            <pc:docMk/>
            <pc:sldMk cId="452916417" sldId="12477"/>
            <ac:graphicFrameMk id="39" creationId="{75F37DDE-E445-4713-A699-7FA3DC07360F}"/>
          </ac:graphicFrameMkLst>
        </pc:graphicFrameChg>
        <pc:graphicFrameChg chg="modGraphic">
          <ac:chgData name="Hein Anastasia" userId="c47377d1-ee8b-493e-b579-4fc1ef64811d" providerId="ADAL" clId="{DBCADC0F-3361-4715-BBBD-955EF29E7164}" dt="2022-05-04T08:54:30.170" v="108" actId="20577"/>
          <ac:graphicFrameMkLst>
            <pc:docMk/>
            <pc:sldMk cId="452916417" sldId="12477"/>
            <ac:graphicFrameMk id="41" creationId="{BA0FA46D-D23F-4B79-AD09-8261BE21CF09}"/>
          </ac:graphicFrameMkLst>
        </pc:graphicFrameChg>
        <pc:graphicFrameChg chg="modGraphic">
          <ac:chgData name="Hein Anastasia" userId="c47377d1-ee8b-493e-b579-4fc1ef64811d" providerId="ADAL" clId="{DBCADC0F-3361-4715-BBBD-955EF29E7164}" dt="2022-05-04T08:54:06.248" v="86" actId="20577"/>
          <ac:graphicFrameMkLst>
            <pc:docMk/>
            <pc:sldMk cId="452916417" sldId="12477"/>
            <ac:graphicFrameMk id="46" creationId="{DCB9FD13-7D6B-4445-BCF4-503D539AEA28}"/>
          </ac:graphicFrameMkLst>
        </pc:graphicFrameChg>
      </pc:sldChg>
      <pc:sldChg chg="addSp modSp mod">
        <pc:chgData name="Hein Anastasia" userId="c47377d1-ee8b-493e-b579-4fc1ef64811d" providerId="ADAL" clId="{DBCADC0F-3361-4715-BBBD-955EF29E7164}" dt="2022-05-04T13:01:20.107" v="2689" actId="6549"/>
        <pc:sldMkLst>
          <pc:docMk/>
          <pc:sldMk cId="1885077286" sldId="14647"/>
        </pc:sldMkLst>
        <pc:spChg chg="add mod">
          <ac:chgData name="Hein Anastasia" userId="c47377d1-ee8b-493e-b579-4fc1ef64811d" providerId="ADAL" clId="{DBCADC0F-3361-4715-BBBD-955EF29E7164}" dt="2022-05-04T10:02:23.430" v="791" actId="207"/>
          <ac:spMkLst>
            <pc:docMk/>
            <pc:sldMk cId="1885077286" sldId="14647"/>
            <ac:spMk id="6" creationId="{E2F4376A-DC99-4DA2-BB07-5CCDB9482545}"/>
          </ac:spMkLst>
        </pc:spChg>
        <pc:graphicFrameChg chg="modGraphic">
          <ac:chgData name="Hein Anastasia" userId="c47377d1-ee8b-493e-b579-4fc1ef64811d" providerId="ADAL" clId="{DBCADC0F-3361-4715-BBBD-955EF29E7164}" dt="2022-05-04T13:01:20.107" v="2689" actId="6549"/>
          <ac:graphicFrameMkLst>
            <pc:docMk/>
            <pc:sldMk cId="1885077286" sldId="14647"/>
            <ac:graphicFrameMk id="9" creationId="{F96C027B-BF99-4256-977D-6818AB9DD783}"/>
          </ac:graphicFrameMkLst>
        </pc:graphicFrameChg>
      </pc:sldChg>
      <pc:sldChg chg="addSp delSp modSp mod">
        <pc:chgData name="Hein Anastasia" userId="c47377d1-ee8b-493e-b579-4fc1ef64811d" providerId="ADAL" clId="{DBCADC0F-3361-4715-BBBD-955EF29E7164}" dt="2022-05-04T09:08:58.456" v="217" actId="207"/>
        <pc:sldMkLst>
          <pc:docMk/>
          <pc:sldMk cId="1984370883" sldId="14665"/>
        </pc:sldMkLst>
        <pc:spChg chg="add mod">
          <ac:chgData name="Hein Anastasia" userId="c47377d1-ee8b-493e-b579-4fc1ef64811d" providerId="ADAL" clId="{DBCADC0F-3361-4715-BBBD-955EF29E7164}" dt="2022-05-04T09:08:58.456" v="217" actId="207"/>
          <ac:spMkLst>
            <pc:docMk/>
            <pc:sldMk cId="1984370883" sldId="14665"/>
            <ac:spMk id="10" creationId="{FD8A7BEB-F28D-4570-9736-B4993B8AD49E}"/>
          </ac:spMkLst>
        </pc:spChg>
        <pc:picChg chg="add mod modCrop">
          <ac:chgData name="Hein Anastasia" userId="c47377d1-ee8b-493e-b579-4fc1ef64811d" providerId="ADAL" clId="{DBCADC0F-3361-4715-BBBD-955EF29E7164}" dt="2022-05-04T09:08:52.509" v="216" actId="732"/>
          <ac:picMkLst>
            <pc:docMk/>
            <pc:sldMk cId="1984370883" sldId="14665"/>
            <ac:picMk id="7" creationId="{4CE7A114-8D7F-4183-8F7B-F416D4404A9F}"/>
          </ac:picMkLst>
        </pc:picChg>
        <pc:picChg chg="del">
          <ac:chgData name="Hein Anastasia" userId="c47377d1-ee8b-493e-b579-4fc1ef64811d" providerId="ADAL" clId="{DBCADC0F-3361-4715-BBBD-955EF29E7164}" dt="2022-05-04T09:08:40.646" v="212" actId="478"/>
          <ac:picMkLst>
            <pc:docMk/>
            <pc:sldMk cId="1984370883" sldId="14665"/>
            <ac:picMk id="8" creationId="{72C3B2FD-D80B-4856-9AB8-29521C4053E7}"/>
          </ac:picMkLst>
        </pc:picChg>
      </pc:sldChg>
      <pc:sldChg chg="addSp modSp mod">
        <pc:chgData name="Hein Anastasia" userId="c47377d1-ee8b-493e-b579-4fc1ef64811d" providerId="ADAL" clId="{DBCADC0F-3361-4715-BBBD-955EF29E7164}" dt="2022-05-04T09:09:21.652" v="227" actId="1076"/>
        <pc:sldMkLst>
          <pc:docMk/>
          <pc:sldMk cId="2733565723" sldId="14666"/>
        </pc:sldMkLst>
        <pc:spChg chg="mod">
          <ac:chgData name="Hein Anastasia" userId="c47377d1-ee8b-493e-b579-4fc1ef64811d" providerId="ADAL" clId="{DBCADC0F-3361-4715-BBBD-955EF29E7164}" dt="2022-05-04T09:09:15.422" v="225" actId="20577"/>
          <ac:spMkLst>
            <pc:docMk/>
            <pc:sldMk cId="2733565723" sldId="14666"/>
            <ac:spMk id="13" creationId="{0C107BD7-1DDA-420C-B2EA-9E9B9FC8D3AF}"/>
          </ac:spMkLst>
        </pc:spChg>
        <pc:spChg chg="add mod">
          <ac:chgData name="Hein Anastasia" userId="c47377d1-ee8b-493e-b579-4fc1ef64811d" providerId="ADAL" clId="{DBCADC0F-3361-4715-BBBD-955EF29E7164}" dt="2022-05-04T09:09:21.652" v="227" actId="1076"/>
          <ac:spMkLst>
            <pc:docMk/>
            <pc:sldMk cId="2733565723" sldId="14666"/>
            <ac:spMk id="17" creationId="{443A5B37-5177-4B5D-AF9B-C5A7E949E794}"/>
          </ac:spMkLst>
        </pc:spChg>
      </pc:sldChg>
      <pc:sldChg chg="addSp delSp modSp add mod">
        <pc:chgData name="Hein Anastasia" userId="c47377d1-ee8b-493e-b579-4fc1ef64811d" providerId="ADAL" clId="{DBCADC0F-3361-4715-BBBD-955EF29E7164}" dt="2022-05-04T11:04:00.438" v="1054" actId="1076"/>
        <pc:sldMkLst>
          <pc:docMk/>
          <pc:sldMk cId="3236936588" sldId="14669"/>
        </pc:sldMkLst>
        <pc:spChg chg="mod">
          <ac:chgData name="Hein Anastasia" userId="c47377d1-ee8b-493e-b579-4fc1ef64811d" providerId="ADAL" clId="{DBCADC0F-3361-4715-BBBD-955EF29E7164}" dt="2022-05-04T11:04:00.438" v="1054" actId="1076"/>
          <ac:spMkLst>
            <pc:docMk/>
            <pc:sldMk cId="3236936588" sldId="14669"/>
            <ac:spMk id="2" creationId="{269D4E0F-CE51-40B4-9D1A-BB058566B0D5}"/>
          </ac:spMkLst>
        </pc:spChg>
        <pc:spChg chg="mod">
          <ac:chgData name="Hein Anastasia" userId="c47377d1-ee8b-493e-b579-4fc1ef64811d" providerId="ADAL" clId="{DBCADC0F-3361-4715-BBBD-955EF29E7164}" dt="2022-05-04T09:05:52.492" v="208" actId="13926"/>
          <ac:spMkLst>
            <pc:docMk/>
            <pc:sldMk cId="3236936588" sldId="14669"/>
            <ac:spMk id="58" creationId="{10FBDDE0-5015-4454-828D-CDF272C2B58F}"/>
          </ac:spMkLst>
        </pc:spChg>
        <pc:spChg chg="mod">
          <ac:chgData name="Hein Anastasia" userId="c47377d1-ee8b-493e-b579-4fc1ef64811d" providerId="ADAL" clId="{DBCADC0F-3361-4715-BBBD-955EF29E7164}" dt="2022-05-04T09:05:58.591" v="209" actId="13926"/>
          <ac:spMkLst>
            <pc:docMk/>
            <pc:sldMk cId="3236936588" sldId="14669"/>
            <ac:spMk id="68" creationId="{CD91D99B-CA10-4037-8A09-17384093D1AB}"/>
          </ac:spMkLst>
        </pc:spChg>
        <pc:spChg chg="del">
          <ac:chgData name="Hein Anastasia" userId="c47377d1-ee8b-493e-b579-4fc1ef64811d" providerId="ADAL" clId="{DBCADC0F-3361-4715-BBBD-955EF29E7164}" dt="2022-05-04T09:04:03.822" v="175" actId="478"/>
          <ac:spMkLst>
            <pc:docMk/>
            <pc:sldMk cId="3236936588" sldId="14669"/>
            <ac:spMk id="69" creationId="{02291F42-C291-4463-9E96-6451A6D71858}"/>
          </ac:spMkLst>
        </pc:spChg>
        <pc:spChg chg="add mod">
          <ac:chgData name="Hein Anastasia" userId="c47377d1-ee8b-493e-b579-4fc1ef64811d" providerId="ADAL" clId="{DBCADC0F-3361-4715-BBBD-955EF29E7164}" dt="2022-05-04T11:03:58.686" v="1053" actId="1076"/>
          <ac:spMkLst>
            <pc:docMk/>
            <pc:sldMk cId="3236936588" sldId="14669"/>
            <ac:spMk id="70" creationId="{E5D08A68-8499-410F-BE75-B337C5AC882B}"/>
          </ac:spMkLst>
        </pc:spChg>
        <pc:spChg chg="add del mod">
          <ac:chgData name="Hein Anastasia" userId="c47377d1-ee8b-493e-b579-4fc1ef64811d" providerId="ADAL" clId="{DBCADC0F-3361-4715-BBBD-955EF29E7164}" dt="2022-05-04T11:03:55.481" v="1051" actId="478"/>
          <ac:spMkLst>
            <pc:docMk/>
            <pc:sldMk cId="3236936588" sldId="14669"/>
            <ac:spMk id="71" creationId="{29F61342-C588-47C5-ADCF-3A065FE36175}"/>
          </ac:spMkLst>
        </pc:spChg>
        <pc:graphicFrameChg chg="modGraphic">
          <ac:chgData name="Hein Anastasia" userId="c47377d1-ee8b-493e-b579-4fc1ef64811d" providerId="ADAL" clId="{DBCADC0F-3361-4715-BBBD-955EF29E7164}" dt="2022-05-04T11:03:44.259" v="1049" actId="20577"/>
          <ac:graphicFrameMkLst>
            <pc:docMk/>
            <pc:sldMk cId="3236936588" sldId="14669"/>
            <ac:graphicFrameMk id="67" creationId="{8CA09710-E8EC-43F5-AE5C-AC62F07DCB47}"/>
          </ac:graphicFrameMkLst>
        </pc:graphicFrameChg>
        <pc:picChg chg="mod">
          <ac:chgData name="Hein Anastasia" userId="c47377d1-ee8b-493e-b579-4fc1ef64811d" providerId="ADAL" clId="{DBCADC0F-3361-4715-BBBD-955EF29E7164}" dt="2022-05-04T09:05:44.211" v="205" actId="1076"/>
          <ac:picMkLst>
            <pc:docMk/>
            <pc:sldMk cId="3236936588" sldId="14669"/>
            <ac:picMk id="57" creationId="{781B23A2-C840-4CAD-A609-A1D923EAFAF3}"/>
          </ac:picMkLst>
        </pc:picChg>
      </pc:sldChg>
      <pc:sldChg chg="addSp delSp modSp mod">
        <pc:chgData name="Hein Anastasia" userId="c47377d1-ee8b-493e-b579-4fc1ef64811d" providerId="ADAL" clId="{DBCADC0F-3361-4715-BBBD-955EF29E7164}" dt="2022-05-04T11:05:01.916" v="1083" actId="207"/>
        <pc:sldMkLst>
          <pc:docMk/>
          <pc:sldMk cId="1248736049" sldId="14670"/>
        </pc:sldMkLst>
        <pc:spChg chg="add del mod">
          <ac:chgData name="Hein Anastasia" userId="c47377d1-ee8b-493e-b579-4fc1ef64811d" providerId="ADAL" clId="{DBCADC0F-3361-4715-BBBD-955EF29E7164}" dt="2022-05-04T11:04:04.674" v="1055" actId="478"/>
          <ac:spMkLst>
            <pc:docMk/>
            <pc:sldMk cId="1248736049" sldId="14670"/>
            <ac:spMk id="2" creationId="{46084DA6-4BFB-4F4A-A5CD-2F7D911C9F4A}"/>
          </ac:spMkLst>
        </pc:spChg>
        <pc:spChg chg="mod">
          <ac:chgData name="Hein Anastasia" userId="c47377d1-ee8b-493e-b579-4fc1ef64811d" providerId="ADAL" clId="{DBCADC0F-3361-4715-BBBD-955EF29E7164}" dt="2022-05-04T11:04:34.375" v="1080" actId="20577"/>
          <ac:spMkLst>
            <pc:docMk/>
            <pc:sldMk cId="1248736049" sldId="14670"/>
            <ac:spMk id="70" creationId="{62D11A1A-6A05-4273-A689-D26C6B06D091}"/>
          </ac:spMkLst>
        </pc:spChg>
        <pc:spChg chg="add mod">
          <ac:chgData name="Hein Anastasia" userId="c47377d1-ee8b-493e-b579-4fc1ef64811d" providerId="ADAL" clId="{DBCADC0F-3361-4715-BBBD-955EF29E7164}" dt="2022-05-04T11:05:01.916" v="1083" actId="207"/>
          <ac:spMkLst>
            <pc:docMk/>
            <pc:sldMk cId="1248736049" sldId="14670"/>
            <ac:spMk id="71" creationId="{052BDAEC-8843-4686-96CD-275CB77AD7C4}"/>
          </ac:spMkLst>
        </pc:spChg>
        <pc:graphicFrameChg chg="modGraphic">
          <ac:chgData name="Hein Anastasia" userId="c47377d1-ee8b-493e-b579-4fc1ef64811d" providerId="ADAL" clId="{DBCADC0F-3361-4715-BBBD-955EF29E7164}" dt="2022-05-04T11:04:46.074" v="1082" actId="20577"/>
          <ac:graphicFrameMkLst>
            <pc:docMk/>
            <pc:sldMk cId="1248736049" sldId="14670"/>
            <ac:graphicFrameMk id="69" creationId="{00953548-14A8-4C83-B5F8-124D1EC0FE1D}"/>
          </ac:graphicFrameMkLst>
        </pc:graphicFrameChg>
        <pc:picChg chg="mod">
          <ac:chgData name="Hein Anastasia" userId="c47377d1-ee8b-493e-b579-4fc1ef64811d" providerId="ADAL" clId="{DBCADC0F-3361-4715-BBBD-955EF29E7164}" dt="2022-05-04T09:06:12.900" v="211" actId="1076"/>
          <ac:picMkLst>
            <pc:docMk/>
            <pc:sldMk cId="1248736049" sldId="14670"/>
            <ac:picMk id="57" creationId="{8D1A359A-1EC1-4A2B-A562-386118DA776A}"/>
          </ac:picMkLst>
        </pc:picChg>
      </pc:sldChg>
      <pc:sldChg chg="addSp delSp modSp mod">
        <pc:chgData name="Hein Anastasia" userId="c47377d1-ee8b-493e-b579-4fc1ef64811d" providerId="ADAL" clId="{DBCADC0F-3361-4715-BBBD-955EF29E7164}" dt="2022-05-12T13:30:38.298" v="3783" actId="207"/>
        <pc:sldMkLst>
          <pc:docMk/>
          <pc:sldMk cId="1293102057" sldId="14688"/>
        </pc:sldMkLst>
        <pc:spChg chg="add mod">
          <ac:chgData name="Hein Anastasia" userId="c47377d1-ee8b-493e-b579-4fc1ef64811d" providerId="ADAL" clId="{DBCADC0F-3361-4715-BBBD-955EF29E7164}" dt="2022-05-12T13:30:38.298" v="3783" actId="207"/>
          <ac:spMkLst>
            <pc:docMk/>
            <pc:sldMk cId="1293102057" sldId="14688"/>
            <ac:spMk id="7" creationId="{17BC51C8-C8A1-42E3-90DD-FCA0735C643B}"/>
          </ac:spMkLst>
        </pc:spChg>
        <pc:spChg chg="add del mod">
          <ac:chgData name="Hein Anastasia" userId="c47377d1-ee8b-493e-b579-4fc1ef64811d" providerId="ADAL" clId="{DBCADC0F-3361-4715-BBBD-955EF29E7164}" dt="2022-05-12T13:30:35.667" v="3782" actId="478"/>
          <ac:spMkLst>
            <pc:docMk/>
            <pc:sldMk cId="1293102057" sldId="14688"/>
            <ac:spMk id="9" creationId="{E81EA887-D8B2-410B-8952-8FD94F03211C}"/>
          </ac:spMkLst>
        </pc:spChg>
        <pc:spChg chg="add mod">
          <ac:chgData name="Hein Anastasia" userId="c47377d1-ee8b-493e-b579-4fc1ef64811d" providerId="ADAL" clId="{DBCADC0F-3361-4715-BBBD-955EF29E7164}" dt="2022-05-04T13:01:33.695" v="2691" actId="1076"/>
          <ac:spMkLst>
            <pc:docMk/>
            <pc:sldMk cId="1293102057" sldId="14688"/>
            <ac:spMk id="11" creationId="{A27C6C04-D8F6-4FED-9B78-3B04DDF30B51}"/>
          </ac:spMkLst>
        </pc:spChg>
        <pc:graphicFrameChg chg="mod modGraphic">
          <ac:chgData name="Hein Anastasia" userId="c47377d1-ee8b-493e-b579-4fc1ef64811d" providerId="ADAL" clId="{DBCADC0F-3361-4715-BBBD-955EF29E7164}" dt="2022-05-12T13:30:30.590" v="3781" actId="1076"/>
          <ac:graphicFrameMkLst>
            <pc:docMk/>
            <pc:sldMk cId="1293102057" sldId="14688"/>
            <ac:graphicFrameMk id="8" creationId="{28A01881-8FDA-41FC-A804-614E895F4FDA}"/>
          </ac:graphicFrameMkLst>
        </pc:graphicFrameChg>
      </pc:sldChg>
      <pc:sldChg chg="addSp modSp mod">
        <pc:chgData name="Hein Anastasia" userId="c47377d1-ee8b-493e-b579-4fc1ef64811d" providerId="ADAL" clId="{DBCADC0F-3361-4715-BBBD-955EF29E7164}" dt="2022-05-12T13:30:56.969" v="3785" actId="1035"/>
        <pc:sldMkLst>
          <pc:docMk/>
          <pc:sldMk cId="2047137242" sldId="14696"/>
        </pc:sldMkLst>
        <pc:spChg chg="mod">
          <ac:chgData name="Hein Anastasia" userId="c47377d1-ee8b-493e-b579-4fc1ef64811d" providerId="ADAL" clId="{DBCADC0F-3361-4715-BBBD-955EF29E7164}" dt="2022-05-04T10:58:40.653" v="937" actId="1076"/>
          <ac:spMkLst>
            <pc:docMk/>
            <pc:sldMk cId="2047137242" sldId="14696"/>
            <ac:spMk id="17" creationId="{4EF7DC97-8EFE-42DA-83A7-0D31C1CE428C}"/>
          </ac:spMkLst>
        </pc:spChg>
        <pc:spChg chg="mod">
          <ac:chgData name="Hein Anastasia" userId="c47377d1-ee8b-493e-b579-4fc1ef64811d" providerId="ADAL" clId="{DBCADC0F-3361-4715-BBBD-955EF29E7164}" dt="2022-05-04T10:58:18.757" v="925" actId="1076"/>
          <ac:spMkLst>
            <pc:docMk/>
            <pc:sldMk cId="2047137242" sldId="14696"/>
            <ac:spMk id="18" creationId="{537FB6DD-E781-47B1-9D34-3111ADA0BB38}"/>
          </ac:spMkLst>
        </pc:spChg>
        <pc:spChg chg="mod">
          <ac:chgData name="Hein Anastasia" userId="c47377d1-ee8b-493e-b579-4fc1ef64811d" providerId="ADAL" clId="{DBCADC0F-3361-4715-BBBD-955EF29E7164}" dt="2022-05-04T10:58:11.379" v="923" actId="1076"/>
          <ac:spMkLst>
            <pc:docMk/>
            <pc:sldMk cId="2047137242" sldId="14696"/>
            <ac:spMk id="19" creationId="{40DAA3EE-1982-4FCE-A926-CDCD3A25B604}"/>
          </ac:spMkLst>
        </pc:spChg>
        <pc:spChg chg="mod">
          <ac:chgData name="Hein Anastasia" userId="c47377d1-ee8b-493e-b579-4fc1ef64811d" providerId="ADAL" clId="{DBCADC0F-3361-4715-BBBD-955EF29E7164}" dt="2022-05-04T10:58:15.052" v="924" actId="1076"/>
          <ac:spMkLst>
            <pc:docMk/>
            <pc:sldMk cId="2047137242" sldId="14696"/>
            <ac:spMk id="20" creationId="{47C1A500-326E-4025-86CE-73C0C8C852E6}"/>
          </ac:spMkLst>
        </pc:spChg>
        <pc:spChg chg="mod">
          <ac:chgData name="Hein Anastasia" userId="c47377d1-ee8b-493e-b579-4fc1ef64811d" providerId="ADAL" clId="{DBCADC0F-3361-4715-BBBD-955EF29E7164}" dt="2022-05-04T10:58:45.845" v="938" actId="1076"/>
          <ac:spMkLst>
            <pc:docMk/>
            <pc:sldMk cId="2047137242" sldId="14696"/>
            <ac:spMk id="21" creationId="{95E15B34-7E11-493C-8F09-AACA089689B8}"/>
          </ac:spMkLst>
        </pc:spChg>
        <pc:spChg chg="mod">
          <ac:chgData name="Hein Anastasia" userId="c47377d1-ee8b-493e-b579-4fc1ef64811d" providerId="ADAL" clId="{DBCADC0F-3361-4715-BBBD-955EF29E7164}" dt="2022-05-04T10:58:49.846" v="939" actId="1076"/>
          <ac:spMkLst>
            <pc:docMk/>
            <pc:sldMk cId="2047137242" sldId="14696"/>
            <ac:spMk id="22" creationId="{402506B8-96F6-48B9-A530-8DAE56AC65AD}"/>
          </ac:spMkLst>
        </pc:spChg>
        <pc:spChg chg="mod">
          <ac:chgData name="Hein Anastasia" userId="c47377d1-ee8b-493e-b579-4fc1ef64811d" providerId="ADAL" clId="{DBCADC0F-3361-4715-BBBD-955EF29E7164}" dt="2022-05-04T10:59:03.558" v="942" actId="1076"/>
          <ac:spMkLst>
            <pc:docMk/>
            <pc:sldMk cId="2047137242" sldId="14696"/>
            <ac:spMk id="23" creationId="{B1938638-9FE1-41EF-9043-3A589DA3EE49}"/>
          </ac:spMkLst>
        </pc:spChg>
        <pc:spChg chg="add mod">
          <ac:chgData name="Hein Anastasia" userId="c47377d1-ee8b-493e-b579-4fc1ef64811d" providerId="ADAL" clId="{DBCADC0F-3361-4715-BBBD-955EF29E7164}" dt="2022-05-04T10:59:08.316" v="944" actId="1076"/>
          <ac:spMkLst>
            <pc:docMk/>
            <pc:sldMk cId="2047137242" sldId="14696"/>
            <ac:spMk id="25" creationId="{1973AF58-AE2E-4AA0-8ED7-8A6F16065302}"/>
          </ac:spMkLst>
        </pc:spChg>
        <pc:graphicFrameChg chg="mod">
          <ac:chgData name="Hein Anastasia" userId="c47377d1-ee8b-493e-b579-4fc1ef64811d" providerId="ADAL" clId="{DBCADC0F-3361-4715-BBBD-955EF29E7164}" dt="2022-05-11T14:13:24.467" v="2974"/>
          <ac:graphicFrameMkLst>
            <pc:docMk/>
            <pc:sldMk cId="2047137242" sldId="14696"/>
            <ac:graphicFrameMk id="16" creationId="{09DAA854-476F-47E0-950C-2C6354CC2166}"/>
          </ac:graphicFrameMkLst>
        </pc:graphicFrameChg>
        <pc:cxnChg chg="mod">
          <ac:chgData name="Hein Anastasia" userId="c47377d1-ee8b-493e-b579-4fc1ef64811d" providerId="ADAL" clId="{DBCADC0F-3361-4715-BBBD-955EF29E7164}" dt="2022-05-12T13:30:56.969" v="3785" actId="1035"/>
          <ac:cxnSpMkLst>
            <pc:docMk/>
            <pc:sldMk cId="2047137242" sldId="14696"/>
            <ac:cxnSpMk id="24" creationId="{99996C17-AED7-4E68-9B2B-41F1FB241761}"/>
          </ac:cxnSpMkLst>
        </pc:cxnChg>
      </pc:sldChg>
      <pc:sldChg chg="addSp delSp modSp mod">
        <pc:chgData name="Hein Anastasia" userId="c47377d1-ee8b-493e-b579-4fc1ef64811d" providerId="ADAL" clId="{DBCADC0F-3361-4715-BBBD-955EF29E7164}" dt="2022-05-04T09:50:41.716" v="666" actId="20577"/>
        <pc:sldMkLst>
          <pc:docMk/>
          <pc:sldMk cId="3394207660" sldId="14703"/>
        </pc:sldMkLst>
        <pc:spChg chg="add mod">
          <ac:chgData name="Hein Anastasia" userId="c47377d1-ee8b-493e-b579-4fc1ef64811d" providerId="ADAL" clId="{DBCADC0F-3361-4715-BBBD-955EF29E7164}" dt="2022-05-04T09:50:41.716" v="666" actId="20577"/>
          <ac:spMkLst>
            <pc:docMk/>
            <pc:sldMk cId="3394207660" sldId="14703"/>
            <ac:spMk id="11" creationId="{1EB390B6-DCE2-430A-B979-1EB1C7F61BBF}"/>
          </ac:spMkLst>
        </pc:spChg>
        <pc:spChg chg="add mod">
          <ac:chgData name="Hein Anastasia" userId="c47377d1-ee8b-493e-b579-4fc1ef64811d" providerId="ADAL" clId="{DBCADC0F-3361-4715-BBBD-955EF29E7164}" dt="2022-05-04T09:50:28.469" v="653" actId="1076"/>
          <ac:spMkLst>
            <pc:docMk/>
            <pc:sldMk cId="3394207660" sldId="14703"/>
            <ac:spMk id="22" creationId="{CD5821C7-7B01-4309-8A97-7092AA28FC6E}"/>
          </ac:spMkLst>
        </pc:spChg>
        <pc:spChg chg="add del mod">
          <ac:chgData name="Hein Anastasia" userId="c47377d1-ee8b-493e-b579-4fc1ef64811d" providerId="ADAL" clId="{DBCADC0F-3361-4715-BBBD-955EF29E7164}" dt="2022-05-04T09:48:54.550" v="360" actId="1076"/>
          <ac:spMkLst>
            <pc:docMk/>
            <pc:sldMk cId="3394207660" sldId="14703"/>
            <ac:spMk id="42" creationId="{84ADB9BD-9CCE-4A3A-80C0-9B07BAA03903}"/>
          </ac:spMkLst>
        </pc:spChg>
        <pc:picChg chg="add del mod ord">
          <ac:chgData name="Hein Anastasia" userId="c47377d1-ee8b-493e-b579-4fc1ef64811d" providerId="ADAL" clId="{DBCADC0F-3361-4715-BBBD-955EF29E7164}" dt="2022-05-04T09:48:19.186" v="351" actId="478"/>
          <ac:picMkLst>
            <pc:docMk/>
            <pc:sldMk cId="3394207660" sldId="14703"/>
            <ac:picMk id="3" creationId="{D06D18A6-C9F8-4816-8081-0AC0A399F6B4}"/>
          </ac:picMkLst>
        </pc:picChg>
        <pc:picChg chg="add del mod">
          <ac:chgData name="Hein Anastasia" userId="c47377d1-ee8b-493e-b579-4fc1ef64811d" providerId="ADAL" clId="{DBCADC0F-3361-4715-BBBD-955EF29E7164}" dt="2022-05-04T09:48:16.232" v="348" actId="22"/>
          <ac:picMkLst>
            <pc:docMk/>
            <pc:sldMk cId="3394207660" sldId="14703"/>
            <ac:picMk id="8" creationId="{BC223393-EE7C-4EF1-A95D-0D71AD84B50F}"/>
          </ac:picMkLst>
        </pc:picChg>
        <pc:picChg chg="add mod ord">
          <ac:chgData name="Hein Anastasia" userId="c47377d1-ee8b-493e-b579-4fc1ef64811d" providerId="ADAL" clId="{DBCADC0F-3361-4715-BBBD-955EF29E7164}" dt="2022-05-04T09:48:57.518" v="361" actId="1440"/>
          <ac:picMkLst>
            <pc:docMk/>
            <pc:sldMk cId="3394207660" sldId="14703"/>
            <ac:picMk id="10" creationId="{214061EE-26B9-4DDB-A9FA-4BDFC5C7CFA0}"/>
          </ac:picMkLst>
        </pc:picChg>
        <pc:picChg chg="del">
          <ac:chgData name="Hein Anastasia" userId="c47377d1-ee8b-493e-b579-4fc1ef64811d" providerId="ADAL" clId="{DBCADC0F-3361-4715-BBBD-955EF29E7164}" dt="2022-05-04T09:47:01.914" v="331" actId="478"/>
          <ac:picMkLst>
            <pc:docMk/>
            <pc:sldMk cId="3394207660" sldId="14703"/>
            <ac:picMk id="41" creationId="{A485F738-C67A-4569-9C40-C97D02348EAD}"/>
          </ac:picMkLst>
        </pc:picChg>
      </pc:sldChg>
      <pc:sldChg chg="addSp delSp modSp mod modNotesTx">
        <pc:chgData name="Hein Anastasia" userId="c47377d1-ee8b-493e-b579-4fc1ef64811d" providerId="ADAL" clId="{DBCADC0F-3361-4715-BBBD-955EF29E7164}" dt="2022-05-12T13:43:46.701" v="4038" actId="20577"/>
        <pc:sldMkLst>
          <pc:docMk/>
          <pc:sldMk cId="3126563850" sldId="14704"/>
        </pc:sldMkLst>
        <pc:spChg chg="add mod">
          <ac:chgData name="Hein Anastasia" userId="c47377d1-ee8b-493e-b579-4fc1ef64811d" providerId="ADAL" clId="{DBCADC0F-3361-4715-BBBD-955EF29E7164}" dt="2022-05-04T09:51:02.190" v="667" actId="1076"/>
          <ac:spMkLst>
            <pc:docMk/>
            <pc:sldMk cId="3126563850" sldId="14704"/>
            <ac:spMk id="2" creationId="{531C3FC9-1B13-48C2-BD1F-5DB1CFF1F459}"/>
          </ac:spMkLst>
        </pc:spChg>
        <pc:spChg chg="mod">
          <ac:chgData name="Hein Anastasia" userId="c47377d1-ee8b-493e-b579-4fc1ef64811d" providerId="ADAL" clId="{DBCADC0F-3361-4715-BBBD-955EF29E7164}" dt="2022-05-04T09:40:17.792" v="328" actId="1035"/>
          <ac:spMkLst>
            <pc:docMk/>
            <pc:sldMk cId="3126563850" sldId="14704"/>
            <ac:spMk id="16" creationId="{F2CA43A9-2D25-4382-BD05-825BBE62DC69}"/>
          </ac:spMkLst>
        </pc:spChg>
        <pc:spChg chg="mod">
          <ac:chgData name="Hein Anastasia" userId="c47377d1-ee8b-493e-b579-4fc1ef64811d" providerId="ADAL" clId="{DBCADC0F-3361-4715-BBBD-955EF29E7164}" dt="2022-05-04T09:14:19.770" v="271" actId="1036"/>
          <ac:spMkLst>
            <pc:docMk/>
            <pc:sldMk cId="3126563850" sldId="14704"/>
            <ac:spMk id="17" creationId="{6ED982BF-06D7-4E36-B464-4667BC8E6D77}"/>
          </ac:spMkLst>
        </pc:spChg>
        <pc:spChg chg="mod">
          <ac:chgData name="Hein Anastasia" userId="c47377d1-ee8b-493e-b579-4fc1ef64811d" providerId="ADAL" clId="{DBCADC0F-3361-4715-BBBD-955EF29E7164}" dt="2022-05-04T09:15:01.332" v="288" actId="1037"/>
          <ac:spMkLst>
            <pc:docMk/>
            <pc:sldMk cId="3126563850" sldId="14704"/>
            <ac:spMk id="18" creationId="{F0A768AD-FDF0-4119-95ED-3E8FCD0E5255}"/>
          </ac:spMkLst>
        </pc:spChg>
        <pc:spChg chg="mod">
          <ac:chgData name="Hein Anastasia" userId="c47377d1-ee8b-493e-b579-4fc1ef64811d" providerId="ADAL" clId="{DBCADC0F-3361-4715-BBBD-955EF29E7164}" dt="2022-05-04T09:14:45.006" v="275" actId="20577"/>
          <ac:spMkLst>
            <pc:docMk/>
            <pc:sldMk cId="3126563850" sldId="14704"/>
            <ac:spMk id="19" creationId="{CDAFAE71-E29A-448F-BD0B-7AA54659717D}"/>
          </ac:spMkLst>
        </pc:spChg>
        <pc:spChg chg="mod">
          <ac:chgData name="Hein Anastasia" userId="c47377d1-ee8b-493e-b579-4fc1ef64811d" providerId="ADAL" clId="{DBCADC0F-3361-4715-BBBD-955EF29E7164}" dt="2022-05-04T09:14:03.582" v="266" actId="1035"/>
          <ac:spMkLst>
            <pc:docMk/>
            <pc:sldMk cId="3126563850" sldId="14704"/>
            <ac:spMk id="20" creationId="{87C111A6-CC1C-4322-B624-35ACE8D7CE21}"/>
          </ac:spMkLst>
        </pc:spChg>
        <pc:picChg chg="add mod ord">
          <ac:chgData name="Hein Anastasia" userId="c47377d1-ee8b-493e-b579-4fc1ef64811d" providerId="ADAL" clId="{DBCADC0F-3361-4715-BBBD-955EF29E7164}" dt="2022-05-04T09:11:22.198" v="232" actId="167"/>
          <ac:picMkLst>
            <pc:docMk/>
            <pc:sldMk cId="3126563850" sldId="14704"/>
            <ac:picMk id="7" creationId="{F40A9293-BDB3-4266-BAEC-DDC626A3B36A}"/>
          </ac:picMkLst>
        </pc:picChg>
        <pc:picChg chg="add del mod ord">
          <ac:chgData name="Hein Anastasia" userId="c47377d1-ee8b-493e-b579-4fc1ef64811d" providerId="ADAL" clId="{DBCADC0F-3361-4715-BBBD-955EF29E7164}" dt="2022-05-04T09:13:37.496" v="254" actId="478"/>
          <ac:picMkLst>
            <pc:docMk/>
            <pc:sldMk cId="3126563850" sldId="14704"/>
            <ac:picMk id="9" creationId="{76E0C461-5D06-452C-942B-4F1B4532B2E6}"/>
          </ac:picMkLst>
        </pc:picChg>
        <pc:picChg chg="add mod ord">
          <ac:chgData name="Hein Anastasia" userId="c47377d1-ee8b-493e-b579-4fc1ef64811d" providerId="ADAL" clId="{DBCADC0F-3361-4715-BBBD-955EF29E7164}" dt="2022-05-04T09:13:53.805" v="259" actId="167"/>
          <ac:picMkLst>
            <pc:docMk/>
            <pc:sldMk cId="3126563850" sldId="14704"/>
            <ac:picMk id="21" creationId="{9EDCBD80-57D7-4018-8D79-DC89B5C52B95}"/>
          </ac:picMkLst>
        </pc:picChg>
        <pc:picChg chg="del">
          <ac:chgData name="Hein Anastasia" userId="c47377d1-ee8b-493e-b579-4fc1ef64811d" providerId="ADAL" clId="{DBCADC0F-3361-4715-BBBD-955EF29E7164}" dt="2022-05-04T09:11:10.507" v="228" actId="478"/>
          <ac:picMkLst>
            <pc:docMk/>
            <pc:sldMk cId="3126563850" sldId="14704"/>
            <ac:picMk id="22" creationId="{F0FA6EBF-5018-457D-A849-02B72F72E475}"/>
          </ac:picMkLst>
        </pc:picChg>
        <pc:picChg chg="del">
          <ac:chgData name="Hein Anastasia" userId="c47377d1-ee8b-493e-b579-4fc1ef64811d" providerId="ADAL" clId="{DBCADC0F-3361-4715-BBBD-955EF29E7164}" dt="2022-05-04T09:11:39.306" v="233" actId="478"/>
          <ac:picMkLst>
            <pc:docMk/>
            <pc:sldMk cId="3126563850" sldId="14704"/>
            <ac:picMk id="24" creationId="{4C6AF232-E887-4602-B840-E6F82E8F4C55}"/>
          </ac:picMkLst>
        </pc:picChg>
        <pc:picChg chg="add del mod">
          <ac:chgData name="Hein Anastasia" userId="c47377d1-ee8b-493e-b579-4fc1ef64811d" providerId="ADAL" clId="{DBCADC0F-3361-4715-BBBD-955EF29E7164}" dt="2022-05-04T09:38:10.247" v="294" actId="478"/>
          <ac:picMkLst>
            <pc:docMk/>
            <pc:sldMk cId="3126563850" sldId="14704"/>
            <ac:picMk id="25" creationId="{CD2F34C6-8A40-4A93-8E93-1A6FCA06DDC2}"/>
          </ac:picMkLst>
        </pc:picChg>
        <pc:picChg chg="del">
          <ac:chgData name="Hein Anastasia" userId="c47377d1-ee8b-493e-b579-4fc1ef64811d" providerId="ADAL" clId="{DBCADC0F-3361-4715-BBBD-955EF29E7164}" dt="2022-05-04T09:39:41.982" v="303" actId="478"/>
          <ac:picMkLst>
            <pc:docMk/>
            <pc:sldMk cId="3126563850" sldId="14704"/>
            <ac:picMk id="26" creationId="{926B9B24-7F03-4229-9849-56637704B8DF}"/>
          </ac:picMkLst>
        </pc:picChg>
        <pc:picChg chg="del">
          <ac:chgData name="Hein Anastasia" userId="c47377d1-ee8b-493e-b579-4fc1ef64811d" providerId="ADAL" clId="{DBCADC0F-3361-4715-BBBD-955EF29E7164}" dt="2022-05-04T09:37:41.101" v="289" actId="478"/>
          <ac:picMkLst>
            <pc:docMk/>
            <pc:sldMk cId="3126563850" sldId="14704"/>
            <ac:picMk id="28" creationId="{2A8A0283-62CC-4D6D-AF28-6F82100CB6C6}"/>
          </ac:picMkLst>
        </pc:picChg>
        <pc:picChg chg="add del">
          <ac:chgData name="Hein Anastasia" userId="c47377d1-ee8b-493e-b579-4fc1ef64811d" providerId="ADAL" clId="{DBCADC0F-3361-4715-BBBD-955EF29E7164}" dt="2022-05-04T09:38:31.601" v="296" actId="478"/>
          <ac:picMkLst>
            <pc:docMk/>
            <pc:sldMk cId="3126563850" sldId="14704"/>
            <ac:picMk id="29" creationId="{4358DB58-6B9C-413A-8D9C-B1B1B19DA6B5}"/>
          </ac:picMkLst>
        </pc:picChg>
        <pc:picChg chg="add mod ord">
          <ac:chgData name="Hein Anastasia" userId="c47377d1-ee8b-493e-b579-4fc1ef64811d" providerId="ADAL" clId="{DBCADC0F-3361-4715-BBBD-955EF29E7164}" dt="2022-05-04T09:38:51.412" v="302" actId="167"/>
          <ac:picMkLst>
            <pc:docMk/>
            <pc:sldMk cId="3126563850" sldId="14704"/>
            <ac:picMk id="31" creationId="{BDD411AF-F866-4549-9020-CA9492EB858D}"/>
          </ac:picMkLst>
        </pc:picChg>
        <pc:picChg chg="add mod ord">
          <ac:chgData name="Hein Anastasia" userId="c47377d1-ee8b-493e-b579-4fc1ef64811d" providerId="ADAL" clId="{DBCADC0F-3361-4715-BBBD-955EF29E7164}" dt="2022-05-04T09:40:17.792" v="328" actId="1035"/>
          <ac:picMkLst>
            <pc:docMk/>
            <pc:sldMk cId="3126563850" sldId="14704"/>
            <ac:picMk id="33" creationId="{D24ACDB3-3F1E-4E48-B678-F7F8790246E9}"/>
          </ac:picMkLst>
        </pc:picChg>
      </pc:sldChg>
      <pc:sldChg chg="addSp delSp modSp mod">
        <pc:chgData name="Hein Anastasia" userId="c47377d1-ee8b-493e-b579-4fc1ef64811d" providerId="ADAL" clId="{DBCADC0F-3361-4715-BBBD-955EF29E7164}" dt="2022-05-04T10:01:44.880" v="789" actId="1076"/>
        <pc:sldMkLst>
          <pc:docMk/>
          <pc:sldMk cId="1389853780" sldId="14705"/>
        </pc:sldMkLst>
        <pc:spChg chg="add mod">
          <ac:chgData name="Hein Anastasia" userId="c47377d1-ee8b-493e-b579-4fc1ef64811d" providerId="ADAL" clId="{DBCADC0F-3361-4715-BBBD-955EF29E7164}" dt="2022-05-04T10:01:44.880" v="789" actId="1076"/>
          <ac:spMkLst>
            <pc:docMk/>
            <pc:sldMk cId="1389853780" sldId="14705"/>
            <ac:spMk id="11" creationId="{1E8EE6C3-3FFB-4306-9111-277B74F4E22C}"/>
          </ac:spMkLst>
        </pc:spChg>
        <pc:graphicFrameChg chg="mod modGraphic">
          <ac:chgData name="Hein Anastasia" userId="c47377d1-ee8b-493e-b579-4fc1ef64811d" providerId="ADAL" clId="{DBCADC0F-3361-4715-BBBD-955EF29E7164}" dt="2022-05-04T10:00:55.193" v="787" actId="2165"/>
          <ac:graphicFrameMkLst>
            <pc:docMk/>
            <pc:sldMk cId="1389853780" sldId="14705"/>
            <ac:graphicFrameMk id="17" creationId="{542DED1B-2A20-46EE-AE8D-77178926E45A}"/>
          </ac:graphicFrameMkLst>
        </pc:graphicFrameChg>
        <pc:picChg chg="add mod">
          <ac:chgData name="Hein Anastasia" userId="c47377d1-ee8b-493e-b579-4fc1ef64811d" providerId="ADAL" clId="{DBCADC0F-3361-4715-BBBD-955EF29E7164}" dt="2022-05-04T09:59:23.663" v="781" actId="1076"/>
          <ac:picMkLst>
            <pc:docMk/>
            <pc:sldMk cId="1389853780" sldId="14705"/>
            <ac:picMk id="3" creationId="{C39B8C3F-18AA-4A5E-8B20-09904E62A4C4}"/>
          </ac:picMkLst>
        </pc:picChg>
        <pc:picChg chg="add mod">
          <ac:chgData name="Hein Anastasia" userId="c47377d1-ee8b-493e-b579-4fc1ef64811d" providerId="ADAL" clId="{DBCADC0F-3361-4715-BBBD-955EF29E7164}" dt="2022-05-04T09:59:23.663" v="781" actId="1076"/>
          <ac:picMkLst>
            <pc:docMk/>
            <pc:sldMk cId="1389853780" sldId="14705"/>
            <ac:picMk id="9" creationId="{EEE4ED10-60F1-42F2-8D91-54ECF0FEF67C}"/>
          </ac:picMkLst>
        </pc:picChg>
        <pc:picChg chg="mod">
          <ac:chgData name="Hein Anastasia" userId="c47377d1-ee8b-493e-b579-4fc1ef64811d" providerId="ADAL" clId="{DBCADC0F-3361-4715-BBBD-955EF29E7164}" dt="2022-05-04T09:59:23.663" v="781" actId="1076"/>
          <ac:picMkLst>
            <pc:docMk/>
            <pc:sldMk cId="1389853780" sldId="14705"/>
            <ac:picMk id="15" creationId="{8218CD76-F6AD-4CC6-B717-343119D41CE0}"/>
          </ac:picMkLst>
        </pc:picChg>
        <pc:picChg chg="del">
          <ac:chgData name="Hein Anastasia" userId="c47377d1-ee8b-493e-b579-4fc1ef64811d" providerId="ADAL" clId="{DBCADC0F-3361-4715-BBBD-955EF29E7164}" dt="2022-05-04T09:59:05.191" v="776" actId="478"/>
          <ac:picMkLst>
            <pc:docMk/>
            <pc:sldMk cId="1389853780" sldId="14705"/>
            <ac:picMk id="18" creationId="{FEB54A41-A0BA-4DB9-A4F4-6620338D2E31}"/>
          </ac:picMkLst>
        </pc:picChg>
        <pc:picChg chg="del">
          <ac:chgData name="Hein Anastasia" userId="c47377d1-ee8b-493e-b579-4fc1ef64811d" providerId="ADAL" clId="{DBCADC0F-3361-4715-BBBD-955EF29E7164}" dt="2022-05-04T09:58:15.827" v="769" actId="478"/>
          <ac:picMkLst>
            <pc:docMk/>
            <pc:sldMk cId="1389853780" sldId="14705"/>
            <ac:picMk id="19" creationId="{51F1E0DE-CB10-4745-AF78-8EA43A193151}"/>
          </ac:picMkLst>
        </pc:picChg>
      </pc:sldChg>
    </pc:docChg>
  </pc:docChgLst>
  <pc:docChgLst>
    <pc:chgData name="Wirbel Martin" userId="d6a352b5-7021-406e-80ae-0bf19c6a8dab" providerId="ADAL" clId="{2FC3F0A5-868D-4314-BBE2-29E7D0A6C2AE}"/>
    <pc:docChg chg="undo custSel delSld modSld modSection">
      <pc:chgData name="Wirbel Martin" userId="d6a352b5-7021-406e-80ae-0bf19c6a8dab" providerId="ADAL" clId="{2FC3F0A5-868D-4314-BBE2-29E7D0A6C2AE}" dt="2022-05-12T07:26:14.601" v="669" actId="47"/>
      <pc:docMkLst>
        <pc:docMk/>
      </pc:docMkLst>
      <pc:sldChg chg="del">
        <pc:chgData name="Wirbel Martin" userId="d6a352b5-7021-406e-80ae-0bf19c6a8dab" providerId="ADAL" clId="{2FC3F0A5-868D-4314-BBE2-29E7D0A6C2AE}" dt="2022-05-05T08:32:32.891" v="354" actId="47"/>
        <pc:sldMkLst>
          <pc:docMk/>
          <pc:sldMk cId="648388816" sldId="264"/>
        </pc:sldMkLst>
      </pc:sldChg>
      <pc:sldChg chg="del">
        <pc:chgData name="Wirbel Martin" userId="d6a352b5-7021-406e-80ae-0bf19c6a8dab" providerId="ADAL" clId="{2FC3F0A5-868D-4314-BBE2-29E7D0A6C2AE}" dt="2022-05-12T07:02:41.040" v="467" actId="2696"/>
        <pc:sldMkLst>
          <pc:docMk/>
          <pc:sldMk cId="3471462927" sldId="318"/>
        </pc:sldMkLst>
      </pc:sldChg>
      <pc:sldChg chg="del">
        <pc:chgData name="Wirbel Martin" userId="d6a352b5-7021-406e-80ae-0bf19c6a8dab" providerId="ADAL" clId="{2FC3F0A5-868D-4314-BBE2-29E7D0A6C2AE}" dt="2022-05-12T07:03:41.757" v="470" actId="2696"/>
        <pc:sldMkLst>
          <pc:docMk/>
          <pc:sldMk cId="3723122074" sldId="410"/>
        </pc:sldMkLst>
      </pc:sldChg>
      <pc:sldChg chg="delSp modSp mod">
        <pc:chgData name="Wirbel Martin" userId="d6a352b5-7021-406e-80ae-0bf19c6a8dab" providerId="ADAL" clId="{2FC3F0A5-868D-4314-BBE2-29E7D0A6C2AE}" dt="2022-05-12T07:05:32.724" v="487" actId="478"/>
        <pc:sldMkLst>
          <pc:docMk/>
          <pc:sldMk cId="3545586522" sldId="1280"/>
        </pc:sldMkLst>
        <pc:spChg chg="mod">
          <ac:chgData name="Wirbel Martin" userId="d6a352b5-7021-406e-80ae-0bf19c6a8dab" providerId="ADAL" clId="{2FC3F0A5-868D-4314-BBE2-29E7D0A6C2AE}" dt="2022-05-02T11:08:04.010" v="55" actId="20577"/>
          <ac:spMkLst>
            <pc:docMk/>
            <pc:sldMk cId="3545586522" sldId="1280"/>
            <ac:spMk id="3" creationId="{C4029A63-E840-458A-9883-FD14E8474E4D}"/>
          </ac:spMkLst>
        </pc:spChg>
        <pc:spChg chg="del">
          <ac:chgData name="Wirbel Martin" userId="d6a352b5-7021-406e-80ae-0bf19c6a8dab" providerId="ADAL" clId="{2FC3F0A5-868D-4314-BBE2-29E7D0A6C2AE}" dt="2022-05-12T07:05:29.757" v="486" actId="478"/>
          <ac:spMkLst>
            <pc:docMk/>
            <pc:sldMk cId="3545586522" sldId="1280"/>
            <ac:spMk id="5" creationId="{42ED2879-A3FC-403D-AB96-A7E14D4FF792}"/>
          </ac:spMkLst>
        </pc:spChg>
        <pc:spChg chg="mod">
          <ac:chgData name="Wirbel Martin" userId="d6a352b5-7021-406e-80ae-0bf19c6a8dab" providerId="ADAL" clId="{2FC3F0A5-868D-4314-BBE2-29E7D0A6C2AE}" dt="2022-05-12T07:05:15.007" v="485" actId="207"/>
          <ac:spMkLst>
            <pc:docMk/>
            <pc:sldMk cId="3545586522" sldId="1280"/>
            <ac:spMk id="6" creationId="{5D9DEFC8-35E1-4B86-A7D5-7A3965D14AC5}"/>
          </ac:spMkLst>
        </pc:spChg>
        <pc:spChg chg="del">
          <ac:chgData name="Wirbel Martin" userId="d6a352b5-7021-406e-80ae-0bf19c6a8dab" providerId="ADAL" clId="{2FC3F0A5-868D-4314-BBE2-29E7D0A6C2AE}" dt="2022-05-12T07:05:32.724" v="487" actId="478"/>
          <ac:spMkLst>
            <pc:docMk/>
            <pc:sldMk cId="3545586522" sldId="1280"/>
            <ac:spMk id="11" creationId="{019A2CD6-A482-41F6-8AE0-D02E5FA9D1E8}"/>
          </ac:spMkLst>
        </pc:spChg>
      </pc:sldChg>
      <pc:sldChg chg="delSp modSp mod">
        <pc:chgData name="Wirbel Martin" userId="d6a352b5-7021-406e-80ae-0bf19c6a8dab" providerId="ADAL" clId="{2FC3F0A5-868D-4314-BBE2-29E7D0A6C2AE}" dt="2022-05-12T07:02:05.674" v="465" actId="478"/>
        <pc:sldMkLst>
          <pc:docMk/>
          <pc:sldMk cId="452916417" sldId="12477"/>
        </pc:sldMkLst>
        <pc:spChg chg="mod">
          <ac:chgData name="Wirbel Martin" userId="d6a352b5-7021-406e-80ae-0bf19c6a8dab" providerId="ADAL" clId="{2FC3F0A5-868D-4314-BBE2-29E7D0A6C2AE}" dt="2022-05-02T11:07:54.228" v="44" actId="20577"/>
          <ac:spMkLst>
            <pc:docMk/>
            <pc:sldMk cId="452916417" sldId="12477"/>
            <ac:spMk id="24" creationId="{D2544339-3535-4560-B31F-01E5B544B324}"/>
          </ac:spMkLst>
        </pc:spChg>
        <pc:spChg chg="del">
          <ac:chgData name="Wirbel Martin" userId="d6a352b5-7021-406e-80ae-0bf19c6a8dab" providerId="ADAL" clId="{2FC3F0A5-868D-4314-BBE2-29E7D0A6C2AE}" dt="2022-05-12T07:02:05.674" v="465" actId="478"/>
          <ac:spMkLst>
            <pc:docMk/>
            <pc:sldMk cId="452916417" sldId="12477"/>
            <ac:spMk id="33" creationId="{252F5208-2A8E-4F41-AA53-1609AD5C182B}"/>
          </ac:spMkLst>
        </pc:spChg>
      </pc:sldChg>
      <pc:sldChg chg="delSp modSp mod">
        <pc:chgData name="Wirbel Martin" userId="d6a352b5-7021-406e-80ae-0bf19c6a8dab" providerId="ADAL" clId="{2FC3F0A5-868D-4314-BBE2-29E7D0A6C2AE}" dt="2022-05-12T07:25:14.441" v="666" actId="478"/>
        <pc:sldMkLst>
          <pc:docMk/>
          <pc:sldMk cId="1885077286" sldId="14647"/>
        </pc:sldMkLst>
        <pc:spChg chg="del">
          <ac:chgData name="Wirbel Martin" userId="d6a352b5-7021-406e-80ae-0bf19c6a8dab" providerId="ADAL" clId="{2FC3F0A5-868D-4314-BBE2-29E7D0A6C2AE}" dt="2022-05-12T07:25:14.441" v="666" actId="478"/>
          <ac:spMkLst>
            <pc:docMk/>
            <pc:sldMk cId="1885077286" sldId="14647"/>
            <ac:spMk id="6" creationId="{E2F4376A-DC99-4DA2-BB07-5CCDB9482545}"/>
          </ac:spMkLst>
        </pc:spChg>
        <pc:spChg chg="mod">
          <ac:chgData name="Wirbel Martin" userId="d6a352b5-7021-406e-80ae-0bf19c6a8dab" providerId="ADAL" clId="{2FC3F0A5-868D-4314-BBE2-29E7D0A6C2AE}" dt="2022-05-09T12:17:02.290" v="407" actId="20577"/>
          <ac:spMkLst>
            <pc:docMk/>
            <pc:sldMk cId="1885077286" sldId="14647"/>
            <ac:spMk id="10" creationId="{C127DA24-8F5A-4868-9177-39E462BA74F4}"/>
          </ac:spMkLst>
        </pc:spChg>
        <pc:graphicFrameChg chg="mod modGraphic">
          <ac:chgData name="Wirbel Martin" userId="d6a352b5-7021-406e-80ae-0bf19c6a8dab" providerId="ADAL" clId="{2FC3F0A5-868D-4314-BBE2-29E7D0A6C2AE}" dt="2022-05-12T07:24:58.507" v="665" actId="20577"/>
          <ac:graphicFrameMkLst>
            <pc:docMk/>
            <pc:sldMk cId="1885077286" sldId="14647"/>
            <ac:graphicFrameMk id="9" creationId="{F96C027B-BF99-4256-977D-6818AB9DD783}"/>
          </ac:graphicFrameMkLst>
        </pc:graphicFrameChg>
      </pc:sldChg>
      <pc:sldChg chg="del">
        <pc:chgData name="Wirbel Martin" userId="d6a352b5-7021-406e-80ae-0bf19c6a8dab" providerId="ADAL" clId="{2FC3F0A5-868D-4314-BBE2-29E7D0A6C2AE}" dt="2022-05-12T07:26:14.601" v="669" actId="47"/>
        <pc:sldMkLst>
          <pc:docMk/>
          <pc:sldMk cId="1984370883" sldId="14665"/>
        </pc:sldMkLst>
      </pc:sldChg>
      <pc:sldChg chg="delSp mod">
        <pc:chgData name="Wirbel Martin" userId="d6a352b5-7021-406e-80ae-0bf19c6a8dab" providerId="ADAL" clId="{2FC3F0A5-868D-4314-BBE2-29E7D0A6C2AE}" dt="2022-05-12T07:02:09.407" v="466" actId="478"/>
        <pc:sldMkLst>
          <pc:docMk/>
          <pc:sldMk cId="2733565723" sldId="14666"/>
        </pc:sldMkLst>
        <pc:spChg chg="del">
          <ac:chgData name="Wirbel Martin" userId="d6a352b5-7021-406e-80ae-0bf19c6a8dab" providerId="ADAL" clId="{2FC3F0A5-868D-4314-BBE2-29E7D0A6C2AE}" dt="2022-05-12T07:02:09.407" v="466" actId="478"/>
          <ac:spMkLst>
            <pc:docMk/>
            <pc:sldMk cId="2733565723" sldId="14666"/>
            <ac:spMk id="17" creationId="{443A5B37-5177-4B5D-AF9B-C5A7E949E794}"/>
          </ac:spMkLst>
        </pc:spChg>
      </pc:sldChg>
      <pc:sldChg chg="del">
        <pc:chgData name="Wirbel Martin" userId="d6a352b5-7021-406e-80ae-0bf19c6a8dab" providerId="ADAL" clId="{2FC3F0A5-868D-4314-BBE2-29E7D0A6C2AE}" dt="2022-05-12T07:02:51.239" v="468" actId="2696"/>
        <pc:sldMkLst>
          <pc:docMk/>
          <pc:sldMk cId="3236936588" sldId="14669"/>
        </pc:sldMkLst>
      </pc:sldChg>
      <pc:sldChg chg="delSp modSp mod">
        <pc:chgData name="Wirbel Martin" userId="d6a352b5-7021-406e-80ae-0bf19c6a8dab" providerId="ADAL" clId="{2FC3F0A5-868D-4314-BBE2-29E7D0A6C2AE}" dt="2022-05-12T07:05:42.690" v="488" actId="478"/>
        <pc:sldMkLst>
          <pc:docMk/>
          <pc:sldMk cId="1248736049" sldId="14670"/>
        </pc:sldMkLst>
        <pc:spChg chg="mod">
          <ac:chgData name="Wirbel Martin" userId="d6a352b5-7021-406e-80ae-0bf19c6a8dab" providerId="ADAL" clId="{2FC3F0A5-868D-4314-BBE2-29E7D0A6C2AE}" dt="2022-05-02T11:08:22.143" v="75" actId="20577"/>
          <ac:spMkLst>
            <pc:docMk/>
            <pc:sldMk cId="1248736049" sldId="14670"/>
            <ac:spMk id="67" creationId="{252FF819-C585-4A11-91E0-6853F8051539}"/>
          </ac:spMkLst>
        </pc:spChg>
        <pc:spChg chg="del">
          <ac:chgData name="Wirbel Martin" userId="d6a352b5-7021-406e-80ae-0bf19c6a8dab" providerId="ADAL" clId="{2FC3F0A5-868D-4314-BBE2-29E7D0A6C2AE}" dt="2022-05-12T07:05:42.690" v="488" actId="478"/>
          <ac:spMkLst>
            <pc:docMk/>
            <pc:sldMk cId="1248736049" sldId="14670"/>
            <ac:spMk id="71" creationId="{052BDAEC-8843-4686-96CD-275CB77AD7C4}"/>
          </ac:spMkLst>
        </pc:spChg>
      </pc:sldChg>
      <pc:sldChg chg="del">
        <pc:chgData name="Wirbel Martin" userId="d6a352b5-7021-406e-80ae-0bf19c6a8dab" providerId="ADAL" clId="{2FC3F0A5-868D-4314-BBE2-29E7D0A6C2AE}" dt="2022-05-12T07:03:31.190" v="469" actId="2696"/>
        <pc:sldMkLst>
          <pc:docMk/>
          <pc:sldMk cId="711125582" sldId="14686"/>
        </pc:sldMkLst>
      </pc:sldChg>
      <pc:sldChg chg="delSp modSp mod">
        <pc:chgData name="Wirbel Martin" userId="d6a352b5-7021-406e-80ae-0bf19c6a8dab" providerId="ADAL" clId="{2FC3F0A5-868D-4314-BBE2-29E7D0A6C2AE}" dt="2022-05-12T07:25:53.793" v="668" actId="478"/>
        <pc:sldMkLst>
          <pc:docMk/>
          <pc:sldMk cId="2047137242" sldId="14696"/>
        </pc:sldMkLst>
        <pc:spChg chg="mod">
          <ac:chgData name="Wirbel Martin" userId="d6a352b5-7021-406e-80ae-0bf19c6a8dab" providerId="ADAL" clId="{2FC3F0A5-868D-4314-BBE2-29E7D0A6C2AE}" dt="2022-05-02T11:09:04.507" v="123" actId="20577"/>
          <ac:spMkLst>
            <pc:docMk/>
            <pc:sldMk cId="2047137242" sldId="14696"/>
            <ac:spMk id="9" creationId="{E205520E-F2F5-41DA-82CC-4D80EF1EF89B}"/>
          </ac:spMkLst>
        </pc:spChg>
        <pc:spChg chg="del">
          <ac:chgData name="Wirbel Martin" userId="d6a352b5-7021-406e-80ae-0bf19c6a8dab" providerId="ADAL" clId="{2FC3F0A5-868D-4314-BBE2-29E7D0A6C2AE}" dt="2022-05-12T07:25:53.793" v="668" actId="478"/>
          <ac:spMkLst>
            <pc:docMk/>
            <pc:sldMk cId="2047137242" sldId="14696"/>
            <ac:spMk id="25" creationId="{1973AF58-AE2E-4AA0-8ED7-8A6F16065302}"/>
          </ac:spMkLst>
        </pc:spChg>
      </pc:sldChg>
      <pc:sldChg chg="delSp modSp mod">
        <pc:chgData name="Wirbel Martin" userId="d6a352b5-7021-406e-80ae-0bf19c6a8dab" providerId="ADAL" clId="{2FC3F0A5-868D-4314-BBE2-29E7D0A6C2AE}" dt="2022-05-12T07:01:35.677" v="464" actId="478"/>
        <pc:sldMkLst>
          <pc:docMk/>
          <pc:sldMk cId="3394207660" sldId="14703"/>
        </pc:sldMkLst>
        <pc:spChg chg="del mod">
          <ac:chgData name="Wirbel Martin" userId="d6a352b5-7021-406e-80ae-0bf19c6a8dab" providerId="ADAL" clId="{2FC3F0A5-868D-4314-BBE2-29E7D0A6C2AE}" dt="2022-05-09T13:01:17.452" v="409" actId="478"/>
          <ac:spMkLst>
            <pc:docMk/>
            <pc:sldMk cId="3394207660" sldId="14703"/>
            <ac:spMk id="11" creationId="{1EB390B6-DCE2-430A-B979-1EB1C7F61BBF}"/>
          </ac:spMkLst>
        </pc:spChg>
        <pc:spChg chg="del">
          <ac:chgData name="Wirbel Martin" userId="d6a352b5-7021-406e-80ae-0bf19c6a8dab" providerId="ADAL" clId="{2FC3F0A5-868D-4314-BBE2-29E7D0A6C2AE}" dt="2022-05-12T07:01:35.677" v="464" actId="478"/>
          <ac:spMkLst>
            <pc:docMk/>
            <pc:sldMk cId="3394207660" sldId="14703"/>
            <ac:spMk id="22" creationId="{CD5821C7-7B01-4309-8A97-7092AA28FC6E}"/>
          </ac:spMkLst>
        </pc:spChg>
        <pc:spChg chg="mod">
          <ac:chgData name="Wirbel Martin" userId="d6a352b5-7021-406e-80ae-0bf19c6a8dab" providerId="ADAL" clId="{2FC3F0A5-868D-4314-BBE2-29E7D0A6C2AE}" dt="2022-05-09T11:27:43.721" v="358" actId="20577"/>
          <ac:spMkLst>
            <pc:docMk/>
            <pc:sldMk cId="3394207660" sldId="14703"/>
            <ac:spMk id="42" creationId="{84ADB9BD-9CCE-4A3A-80C0-9B07BAA03903}"/>
          </ac:spMkLst>
        </pc:spChg>
      </pc:sldChg>
      <pc:sldChg chg="delSp modSp mod">
        <pc:chgData name="Wirbel Martin" userId="d6a352b5-7021-406e-80ae-0bf19c6a8dab" providerId="ADAL" clId="{2FC3F0A5-868D-4314-BBE2-29E7D0A6C2AE}" dt="2022-05-12T07:01:26.870" v="463" actId="478"/>
        <pc:sldMkLst>
          <pc:docMk/>
          <pc:sldMk cId="3126563850" sldId="14704"/>
        </pc:sldMkLst>
        <pc:spChg chg="del">
          <ac:chgData name="Wirbel Martin" userId="d6a352b5-7021-406e-80ae-0bf19c6a8dab" providerId="ADAL" clId="{2FC3F0A5-868D-4314-BBE2-29E7D0A6C2AE}" dt="2022-05-12T07:01:26.870" v="463" actId="478"/>
          <ac:spMkLst>
            <pc:docMk/>
            <pc:sldMk cId="3126563850" sldId="14704"/>
            <ac:spMk id="2" creationId="{531C3FC9-1B13-48C2-BD1F-5DB1CFF1F459}"/>
          </ac:spMkLst>
        </pc:spChg>
        <pc:spChg chg="mod">
          <ac:chgData name="Wirbel Martin" userId="d6a352b5-7021-406e-80ae-0bf19c6a8dab" providerId="ADAL" clId="{2FC3F0A5-868D-4314-BBE2-29E7D0A6C2AE}" dt="2022-05-02T11:07:19.511" v="19" actId="20577"/>
          <ac:spMkLst>
            <pc:docMk/>
            <pc:sldMk cId="3126563850" sldId="14704"/>
            <ac:spMk id="13" creationId="{41DF6BBB-9A37-4BF2-8EB0-5E918B5D4A12}"/>
          </ac:spMkLst>
        </pc:spChg>
      </pc:sldChg>
      <pc:sldChg chg="delSp modSp mod">
        <pc:chgData name="Wirbel Martin" userId="d6a352b5-7021-406e-80ae-0bf19c6a8dab" providerId="ADAL" clId="{2FC3F0A5-868D-4314-BBE2-29E7D0A6C2AE}" dt="2022-05-12T07:25:35.619" v="667" actId="478"/>
        <pc:sldMkLst>
          <pc:docMk/>
          <pc:sldMk cId="1389853780" sldId="14705"/>
        </pc:sldMkLst>
        <pc:spChg chg="mod">
          <ac:chgData name="Wirbel Martin" userId="d6a352b5-7021-406e-80ae-0bf19c6a8dab" providerId="ADAL" clId="{2FC3F0A5-868D-4314-BBE2-29E7D0A6C2AE}" dt="2022-05-02T11:08:52.415" v="101" actId="20577"/>
          <ac:spMkLst>
            <pc:docMk/>
            <pc:sldMk cId="1389853780" sldId="14705"/>
            <ac:spMk id="7" creationId="{9ABE98CE-1E9B-42CC-B4F8-0E253FE89E22}"/>
          </ac:spMkLst>
        </pc:spChg>
        <pc:spChg chg="del">
          <ac:chgData name="Wirbel Martin" userId="d6a352b5-7021-406e-80ae-0bf19c6a8dab" providerId="ADAL" clId="{2FC3F0A5-868D-4314-BBE2-29E7D0A6C2AE}" dt="2022-05-12T07:25:35.619" v="667" actId="478"/>
          <ac:spMkLst>
            <pc:docMk/>
            <pc:sldMk cId="1389853780" sldId="14705"/>
            <ac:spMk id="11" creationId="{1E8EE6C3-3FFB-4306-9111-277B74F4E22C}"/>
          </ac:spMkLst>
        </pc:spChg>
      </pc:sldChg>
    </pc:docChg>
  </pc:docChgLst>
  <pc:docChgLst>
    <pc:chgData name="Wirbel Martin" userId="d6a352b5-7021-406e-80ae-0bf19c6a8dab" providerId="ADAL" clId="{41A57E2E-0C67-4892-A066-9127B8FA6C21}"/>
    <pc:docChg chg="undo custSel addSld delSld modSld sldOrd modSection">
      <pc:chgData name="Wirbel Martin" userId="d6a352b5-7021-406e-80ae-0bf19c6a8dab" providerId="ADAL" clId="{41A57E2E-0C67-4892-A066-9127B8FA6C21}" dt="2022-05-02T09:36:08.836" v="678" actId="478"/>
      <pc:docMkLst>
        <pc:docMk/>
      </pc:docMkLst>
      <pc:sldChg chg="del">
        <pc:chgData name="Wirbel Martin" userId="d6a352b5-7021-406e-80ae-0bf19c6a8dab" providerId="ADAL" clId="{41A57E2E-0C67-4892-A066-9127B8FA6C21}" dt="2022-04-21T11:13:19.111" v="305" actId="47"/>
        <pc:sldMkLst>
          <pc:docMk/>
          <pc:sldMk cId="3471462927" sldId="318"/>
        </pc:sldMkLst>
      </pc:sldChg>
      <pc:sldChg chg="addSp delSp modSp mod">
        <pc:chgData name="Wirbel Martin" userId="d6a352b5-7021-406e-80ae-0bf19c6a8dab" providerId="ADAL" clId="{41A57E2E-0C67-4892-A066-9127B8FA6C21}" dt="2022-05-02T09:00:46.721" v="647" actId="478"/>
        <pc:sldMkLst>
          <pc:docMk/>
          <pc:sldMk cId="3723122074" sldId="410"/>
        </pc:sldMkLst>
        <pc:spChg chg="add del mod">
          <ac:chgData name="Wirbel Martin" userId="d6a352b5-7021-406e-80ae-0bf19c6a8dab" providerId="ADAL" clId="{41A57E2E-0C67-4892-A066-9127B8FA6C21}" dt="2022-05-02T09:00:46.721" v="647" actId="478"/>
          <ac:spMkLst>
            <pc:docMk/>
            <pc:sldMk cId="3723122074" sldId="410"/>
            <ac:spMk id="23" creationId="{DAAAD66C-CE4E-4783-965A-AB9BDC5490B6}"/>
          </ac:spMkLst>
        </pc:spChg>
      </pc:sldChg>
      <pc:sldChg chg="addSp delSp modSp add del mod">
        <pc:chgData name="Wirbel Martin" userId="d6a352b5-7021-406e-80ae-0bf19c6a8dab" providerId="ADAL" clId="{41A57E2E-0C67-4892-A066-9127B8FA6C21}" dt="2022-05-02T09:36:08.836" v="678" actId="478"/>
        <pc:sldMkLst>
          <pc:docMk/>
          <pc:sldMk cId="3545586522" sldId="1280"/>
        </pc:sldMkLst>
        <pc:spChg chg="del">
          <ac:chgData name="Wirbel Martin" userId="d6a352b5-7021-406e-80ae-0bf19c6a8dab" providerId="ADAL" clId="{41A57E2E-0C67-4892-A066-9127B8FA6C21}" dt="2022-05-02T08:23:40.478" v="422" actId="478"/>
          <ac:spMkLst>
            <pc:docMk/>
            <pc:sldMk cId="3545586522" sldId="1280"/>
            <ac:spMk id="2" creationId="{8F505E31-D57A-4900-9A1D-C0DC1954E151}"/>
          </ac:spMkLst>
        </pc:spChg>
        <pc:spChg chg="mod">
          <ac:chgData name="Wirbel Martin" userId="d6a352b5-7021-406e-80ae-0bf19c6a8dab" providerId="ADAL" clId="{41A57E2E-0C67-4892-A066-9127B8FA6C21}" dt="2022-05-02T09:35:51.082" v="677" actId="20577"/>
          <ac:spMkLst>
            <pc:docMk/>
            <pc:sldMk cId="3545586522" sldId="1280"/>
            <ac:spMk id="6" creationId="{5D9DEFC8-35E1-4B86-A7D5-7A3965D14AC5}"/>
          </ac:spMkLst>
        </pc:spChg>
        <pc:spChg chg="del">
          <ac:chgData name="Wirbel Martin" userId="d6a352b5-7021-406e-80ae-0bf19c6a8dab" providerId="ADAL" clId="{41A57E2E-0C67-4892-A066-9127B8FA6C21}" dt="2022-05-02T09:36:08.836" v="678" actId="478"/>
          <ac:spMkLst>
            <pc:docMk/>
            <pc:sldMk cId="3545586522" sldId="1280"/>
            <ac:spMk id="11" creationId="{576D77C2-9CEF-4D30-A922-69BCA0378F19}"/>
          </ac:spMkLst>
        </pc:spChg>
        <pc:picChg chg="del">
          <ac:chgData name="Wirbel Martin" userId="d6a352b5-7021-406e-80ae-0bf19c6a8dab" providerId="ADAL" clId="{41A57E2E-0C67-4892-A066-9127B8FA6C21}" dt="2022-05-02T08:59:22.364" v="639" actId="478"/>
          <ac:picMkLst>
            <pc:docMk/>
            <pc:sldMk cId="3545586522" sldId="1280"/>
            <ac:picMk id="8" creationId="{84C93C2D-EC42-42D1-9345-5345E789ED59}"/>
          </ac:picMkLst>
        </pc:picChg>
        <pc:picChg chg="add mod">
          <ac:chgData name="Wirbel Martin" userId="d6a352b5-7021-406e-80ae-0bf19c6a8dab" providerId="ADAL" clId="{41A57E2E-0C67-4892-A066-9127B8FA6C21}" dt="2022-05-02T09:34:25.242" v="661" actId="1076"/>
          <ac:picMkLst>
            <pc:docMk/>
            <pc:sldMk cId="3545586522" sldId="1280"/>
            <ac:picMk id="1026" creationId="{A091B1E0-E34C-4C09-8298-7AE0E931E8AB}"/>
          </ac:picMkLst>
        </pc:picChg>
      </pc:sldChg>
      <pc:sldChg chg="del">
        <pc:chgData name="Wirbel Martin" userId="d6a352b5-7021-406e-80ae-0bf19c6a8dab" providerId="ADAL" clId="{41A57E2E-0C67-4892-A066-9127B8FA6C21}" dt="2022-04-21T09:37:55.706" v="54" actId="47"/>
        <pc:sldMkLst>
          <pc:docMk/>
          <pc:sldMk cId="4140091977" sldId="2580"/>
        </pc:sldMkLst>
      </pc:sldChg>
      <pc:sldChg chg="del">
        <pc:chgData name="Wirbel Martin" userId="d6a352b5-7021-406e-80ae-0bf19c6a8dab" providerId="ADAL" clId="{41A57E2E-0C67-4892-A066-9127B8FA6C21}" dt="2022-04-26T12:38:05.736" v="419" actId="2696"/>
        <pc:sldMkLst>
          <pc:docMk/>
          <pc:sldMk cId="3551168933" sldId="2581"/>
        </pc:sldMkLst>
      </pc:sldChg>
      <pc:sldChg chg="modSp add mod">
        <pc:chgData name="Wirbel Martin" userId="d6a352b5-7021-406e-80ae-0bf19c6a8dab" providerId="ADAL" clId="{41A57E2E-0C67-4892-A066-9127B8FA6C21}" dt="2022-04-22T08:33:27.533" v="400" actId="1076"/>
        <pc:sldMkLst>
          <pc:docMk/>
          <pc:sldMk cId="1666816421" sldId="2643"/>
        </pc:sldMkLst>
        <pc:spChg chg="mod">
          <ac:chgData name="Wirbel Martin" userId="d6a352b5-7021-406e-80ae-0bf19c6a8dab" providerId="ADAL" clId="{41A57E2E-0C67-4892-A066-9127B8FA6C21}" dt="2022-04-22T08:33:27.533" v="400" actId="1076"/>
          <ac:spMkLst>
            <pc:docMk/>
            <pc:sldMk cId="1666816421" sldId="2643"/>
            <ac:spMk id="114" creationId="{0BC479EC-25DE-428D-8691-02D1F5AAF422}"/>
          </ac:spMkLst>
        </pc:spChg>
      </pc:sldChg>
      <pc:sldChg chg="delSp mod">
        <pc:chgData name="Wirbel Martin" userId="d6a352b5-7021-406e-80ae-0bf19c6a8dab" providerId="ADAL" clId="{41A57E2E-0C67-4892-A066-9127B8FA6C21}" dt="2022-05-02T09:01:07.013" v="648" actId="478"/>
        <pc:sldMkLst>
          <pc:docMk/>
          <pc:sldMk cId="2392268083" sldId="12446"/>
        </pc:sldMkLst>
        <pc:spChg chg="del">
          <ac:chgData name="Wirbel Martin" userId="d6a352b5-7021-406e-80ae-0bf19c6a8dab" providerId="ADAL" clId="{41A57E2E-0C67-4892-A066-9127B8FA6C21}" dt="2022-05-02T09:01:07.013" v="648" actId="478"/>
          <ac:spMkLst>
            <pc:docMk/>
            <pc:sldMk cId="2392268083" sldId="12446"/>
            <ac:spMk id="6" creationId="{6D3A7DBD-D0D6-4224-B40D-CEA0496313A1}"/>
          </ac:spMkLst>
        </pc:spChg>
      </pc:sldChg>
      <pc:sldChg chg="ord">
        <pc:chgData name="Wirbel Martin" userId="d6a352b5-7021-406e-80ae-0bf19c6a8dab" providerId="ADAL" clId="{41A57E2E-0C67-4892-A066-9127B8FA6C21}" dt="2022-04-26T09:15:59.214" v="418"/>
        <pc:sldMkLst>
          <pc:docMk/>
          <pc:sldMk cId="2339576071" sldId="12453"/>
        </pc:sldMkLst>
      </pc:sldChg>
      <pc:sldChg chg="delSp modSp mod">
        <pc:chgData name="Wirbel Martin" userId="d6a352b5-7021-406e-80ae-0bf19c6a8dab" providerId="ADAL" clId="{41A57E2E-0C67-4892-A066-9127B8FA6C21}" dt="2022-05-02T09:01:22.149" v="650" actId="478"/>
        <pc:sldMkLst>
          <pc:docMk/>
          <pc:sldMk cId="452916417" sldId="12477"/>
        </pc:sldMkLst>
        <pc:spChg chg="del">
          <ac:chgData name="Wirbel Martin" userId="d6a352b5-7021-406e-80ae-0bf19c6a8dab" providerId="ADAL" clId="{41A57E2E-0C67-4892-A066-9127B8FA6C21}" dt="2022-05-02T09:01:22.149" v="650" actId="478"/>
          <ac:spMkLst>
            <pc:docMk/>
            <pc:sldMk cId="452916417" sldId="12477"/>
            <ac:spMk id="35" creationId="{EF3A6047-7FC9-40D3-AB0D-A645873C2D4C}"/>
          </ac:spMkLst>
        </pc:spChg>
        <pc:graphicFrameChg chg="modGraphic">
          <ac:chgData name="Wirbel Martin" userId="d6a352b5-7021-406e-80ae-0bf19c6a8dab" providerId="ADAL" clId="{41A57E2E-0C67-4892-A066-9127B8FA6C21}" dt="2022-05-02T08:59:34.681" v="642" actId="13926"/>
          <ac:graphicFrameMkLst>
            <pc:docMk/>
            <pc:sldMk cId="452916417" sldId="12477"/>
            <ac:graphicFrameMk id="46" creationId="{DCB9FD13-7D6B-4445-BCF4-503D539AEA28}"/>
          </ac:graphicFrameMkLst>
        </pc:graphicFrameChg>
      </pc:sldChg>
      <pc:sldChg chg="delSp modSp mod">
        <pc:chgData name="Wirbel Martin" userId="d6a352b5-7021-406e-80ae-0bf19c6a8dab" providerId="ADAL" clId="{41A57E2E-0C67-4892-A066-9127B8FA6C21}" dt="2022-04-26T08:20:39.429" v="413" actId="478"/>
        <pc:sldMkLst>
          <pc:docMk/>
          <pc:sldMk cId="1885077286" sldId="14647"/>
        </pc:sldMkLst>
        <pc:spChg chg="del">
          <ac:chgData name="Wirbel Martin" userId="d6a352b5-7021-406e-80ae-0bf19c6a8dab" providerId="ADAL" clId="{41A57E2E-0C67-4892-A066-9127B8FA6C21}" dt="2022-04-26T08:20:36.574" v="412" actId="478"/>
          <ac:spMkLst>
            <pc:docMk/>
            <pc:sldMk cId="1885077286" sldId="14647"/>
            <ac:spMk id="7" creationId="{B0E3509D-EE97-4EF3-9F7A-97AC21E1F686}"/>
          </ac:spMkLst>
        </pc:spChg>
        <pc:spChg chg="mod">
          <ac:chgData name="Wirbel Martin" userId="d6a352b5-7021-406e-80ae-0bf19c6a8dab" providerId="ADAL" clId="{41A57E2E-0C67-4892-A066-9127B8FA6C21}" dt="2022-04-21T10:02:31.417" v="303" actId="20577"/>
          <ac:spMkLst>
            <pc:docMk/>
            <pc:sldMk cId="1885077286" sldId="14647"/>
            <ac:spMk id="10" creationId="{C127DA24-8F5A-4868-9177-39E462BA74F4}"/>
          </ac:spMkLst>
        </pc:spChg>
        <pc:spChg chg="del">
          <ac:chgData name="Wirbel Martin" userId="d6a352b5-7021-406e-80ae-0bf19c6a8dab" providerId="ADAL" clId="{41A57E2E-0C67-4892-A066-9127B8FA6C21}" dt="2022-04-26T08:20:39.429" v="413" actId="478"/>
          <ac:spMkLst>
            <pc:docMk/>
            <pc:sldMk cId="1885077286" sldId="14647"/>
            <ac:spMk id="12" creationId="{FD5674E8-C727-4325-A584-D9F6C80FD9E3}"/>
          </ac:spMkLst>
        </pc:spChg>
        <pc:graphicFrameChg chg="modGraphic">
          <ac:chgData name="Wirbel Martin" userId="d6a352b5-7021-406e-80ae-0bf19c6a8dab" providerId="ADAL" clId="{41A57E2E-0C67-4892-A066-9127B8FA6C21}" dt="2022-04-21T10:02:39.238" v="304" actId="21"/>
          <ac:graphicFrameMkLst>
            <pc:docMk/>
            <pc:sldMk cId="1885077286" sldId="14647"/>
            <ac:graphicFrameMk id="9" creationId="{F96C027B-BF99-4256-977D-6818AB9DD783}"/>
          </ac:graphicFrameMkLst>
        </pc:graphicFrameChg>
      </pc:sldChg>
      <pc:sldChg chg="mod ord modShow">
        <pc:chgData name="Wirbel Martin" userId="d6a352b5-7021-406e-80ae-0bf19c6a8dab" providerId="ADAL" clId="{41A57E2E-0C67-4892-A066-9127B8FA6C21}" dt="2022-04-22T09:55:49.962" v="404"/>
        <pc:sldMkLst>
          <pc:docMk/>
          <pc:sldMk cId="1984370883" sldId="14665"/>
        </pc:sldMkLst>
      </pc:sldChg>
      <pc:sldChg chg="delSp mod">
        <pc:chgData name="Wirbel Martin" userId="d6a352b5-7021-406e-80ae-0bf19c6a8dab" providerId="ADAL" clId="{41A57E2E-0C67-4892-A066-9127B8FA6C21}" dt="2022-05-02T09:01:25.674" v="651" actId="478"/>
        <pc:sldMkLst>
          <pc:docMk/>
          <pc:sldMk cId="2733565723" sldId="14666"/>
        </pc:sldMkLst>
        <pc:spChg chg="del">
          <ac:chgData name="Wirbel Martin" userId="d6a352b5-7021-406e-80ae-0bf19c6a8dab" providerId="ADAL" clId="{41A57E2E-0C67-4892-A066-9127B8FA6C21}" dt="2022-05-02T09:01:25.674" v="651" actId="478"/>
          <ac:spMkLst>
            <pc:docMk/>
            <pc:sldMk cId="2733565723" sldId="14666"/>
            <ac:spMk id="18" creationId="{33A1FE14-DC17-4068-8153-AD3DA3509A4B}"/>
          </ac:spMkLst>
        </pc:spChg>
      </pc:sldChg>
      <pc:sldChg chg="addSp delSp modSp mod">
        <pc:chgData name="Wirbel Martin" userId="d6a352b5-7021-406e-80ae-0bf19c6a8dab" providerId="ADAL" clId="{41A57E2E-0C67-4892-A066-9127B8FA6C21}" dt="2022-04-21T13:35:49.245" v="397"/>
        <pc:sldMkLst>
          <pc:docMk/>
          <pc:sldMk cId="2439488696" sldId="14668"/>
        </pc:sldMkLst>
        <pc:picChg chg="del">
          <ac:chgData name="Wirbel Martin" userId="d6a352b5-7021-406e-80ae-0bf19c6a8dab" providerId="ADAL" clId="{41A57E2E-0C67-4892-A066-9127B8FA6C21}" dt="2022-04-21T13:35:48.722" v="396" actId="478"/>
          <ac:picMkLst>
            <pc:docMk/>
            <pc:sldMk cId="2439488696" sldId="14668"/>
            <ac:picMk id="2" creationId="{0F77573D-A224-46B9-8848-1826724B8AD6}"/>
          </ac:picMkLst>
        </pc:picChg>
        <pc:picChg chg="add mod">
          <ac:chgData name="Wirbel Martin" userId="d6a352b5-7021-406e-80ae-0bf19c6a8dab" providerId="ADAL" clId="{41A57E2E-0C67-4892-A066-9127B8FA6C21}" dt="2022-04-21T13:35:49.245" v="397"/>
          <ac:picMkLst>
            <pc:docMk/>
            <pc:sldMk cId="2439488696" sldId="14668"/>
            <ac:picMk id="11" creationId="{03E9982B-5C0D-4B3F-B3AF-5D24686EF341}"/>
          </ac:picMkLst>
        </pc:picChg>
      </pc:sldChg>
      <pc:sldChg chg="del">
        <pc:chgData name="Wirbel Martin" userId="d6a352b5-7021-406e-80ae-0bf19c6a8dab" providerId="ADAL" clId="{41A57E2E-0C67-4892-A066-9127B8FA6C21}" dt="2022-04-21T11:13:31.754" v="306" actId="47"/>
        <pc:sldMkLst>
          <pc:docMk/>
          <pc:sldMk cId="3236936588" sldId="14669"/>
        </pc:sldMkLst>
      </pc:sldChg>
      <pc:sldChg chg="delSp mod">
        <pc:chgData name="Wirbel Martin" userId="d6a352b5-7021-406e-80ae-0bf19c6a8dab" providerId="ADAL" clId="{41A57E2E-0C67-4892-A066-9127B8FA6C21}" dt="2022-05-02T09:01:13.230" v="649" actId="478"/>
        <pc:sldMkLst>
          <pc:docMk/>
          <pc:sldMk cId="1248736049" sldId="14670"/>
        </pc:sldMkLst>
        <pc:spChg chg="del">
          <ac:chgData name="Wirbel Martin" userId="d6a352b5-7021-406e-80ae-0bf19c6a8dab" providerId="ADAL" clId="{41A57E2E-0C67-4892-A066-9127B8FA6C21}" dt="2022-05-02T09:01:13.230" v="649" actId="478"/>
          <ac:spMkLst>
            <pc:docMk/>
            <pc:sldMk cId="1248736049" sldId="14670"/>
            <ac:spMk id="72" creationId="{5B486468-6F45-46A8-B352-C0430E2CDF9B}"/>
          </ac:spMkLst>
        </pc:spChg>
      </pc:sldChg>
      <pc:sldChg chg="delSp mod">
        <pc:chgData name="Wirbel Martin" userId="d6a352b5-7021-406e-80ae-0bf19c6a8dab" providerId="ADAL" clId="{41A57E2E-0C67-4892-A066-9127B8FA6C21}" dt="2022-05-02T09:00:34.730" v="646" actId="478"/>
        <pc:sldMkLst>
          <pc:docMk/>
          <pc:sldMk cId="1587277375" sldId="14676"/>
        </pc:sldMkLst>
        <pc:spChg chg="del">
          <ac:chgData name="Wirbel Martin" userId="d6a352b5-7021-406e-80ae-0bf19c6a8dab" providerId="ADAL" clId="{41A57E2E-0C67-4892-A066-9127B8FA6C21}" dt="2022-05-02T09:00:34.730" v="646" actId="478"/>
          <ac:spMkLst>
            <pc:docMk/>
            <pc:sldMk cId="1587277375" sldId="14676"/>
            <ac:spMk id="2" creationId="{B4BCCDB1-7DFA-489F-9030-634C4DA5D6AF}"/>
          </ac:spMkLst>
        </pc:spChg>
      </pc:sldChg>
      <pc:sldChg chg="delSp modSp mod">
        <pc:chgData name="Wirbel Martin" userId="d6a352b5-7021-406e-80ae-0bf19c6a8dab" providerId="ADAL" clId="{41A57E2E-0C67-4892-A066-9127B8FA6C21}" dt="2022-04-26T08:20:29.352" v="411" actId="478"/>
        <pc:sldMkLst>
          <pc:docMk/>
          <pc:sldMk cId="1293102057" sldId="14688"/>
        </pc:sldMkLst>
        <pc:spChg chg="del mod">
          <ac:chgData name="Wirbel Martin" userId="d6a352b5-7021-406e-80ae-0bf19c6a8dab" providerId="ADAL" clId="{41A57E2E-0C67-4892-A066-9127B8FA6C21}" dt="2022-04-26T08:20:19.787" v="408" actId="478"/>
          <ac:spMkLst>
            <pc:docMk/>
            <pc:sldMk cId="1293102057" sldId="14688"/>
            <ac:spMk id="9" creationId="{2E55C716-A190-4A50-8009-5FED84645383}"/>
          </ac:spMkLst>
        </pc:spChg>
        <pc:spChg chg="del">
          <ac:chgData name="Wirbel Martin" userId="d6a352b5-7021-406e-80ae-0bf19c6a8dab" providerId="ADAL" clId="{41A57E2E-0C67-4892-A066-9127B8FA6C21}" dt="2022-04-26T08:20:13.288" v="406" actId="478"/>
          <ac:spMkLst>
            <pc:docMk/>
            <pc:sldMk cId="1293102057" sldId="14688"/>
            <ac:spMk id="11" creationId="{4B6EB33B-3209-44ED-BEE8-714101AC9592}"/>
          </ac:spMkLst>
        </pc:spChg>
        <pc:spChg chg="del mod">
          <ac:chgData name="Wirbel Martin" userId="d6a352b5-7021-406e-80ae-0bf19c6a8dab" providerId="ADAL" clId="{41A57E2E-0C67-4892-A066-9127B8FA6C21}" dt="2022-04-26T08:20:29.352" v="411" actId="478"/>
          <ac:spMkLst>
            <pc:docMk/>
            <pc:sldMk cId="1293102057" sldId="14688"/>
            <ac:spMk id="13" creationId="{0F3580B7-AFE1-4681-BC06-4C41A5A4E829}"/>
          </ac:spMkLst>
        </pc:spChg>
        <pc:spChg chg="del">
          <ac:chgData name="Wirbel Martin" userId="d6a352b5-7021-406e-80ae-0bf19c6a8dab" providerId="ADAL" clId="{41A57E2E-0C67-4892-A066-9127B8FA6C21}" dt="2022-04-26T08:20:25.205" v="409" actId="478"/>
          <ac:spMkLst>
            <pc:docMk/>
            <pc:sldMk cId="1293102057" sldId="14688"/>
            <ac:spMk id="14" creationId="{E3E3D268-36E7-4A9E-813C-A3F19C937032}"/>
          </ac:spMkLst>
        </pc:spChg>
        <pc:graphicFrameChg chg="modGraphic">
          <ac:chgData name="Wirbel Martin" userId="d6a352b5-7021-406e-80ae-0bf19c6a8dab" providerId="ADAL" clId="{41A57E2E-0C67-4892-A066-9127B8FA6C21}" dt="2022-04-26T08:20:08.071" v="405" actId="20577"/>
          <ac:graphicFrameMkLst>
            <pc:docMk/>
            <pc:sldMk cId="1293102057" sldId="14688"/>
            <ac:graphicFrameMk id="8" creationId="{28A01881-8FDA-41FC-A804-614E895F4FDA}"/>
          </ac:graphicFrameMkLst>
        </pc:graphicFrameChg>
      </pc:sldChg>
      <pc:sldChg chg="delSp mod">
        <pc:chgData name="Wirbel Martin" userId="d6a352b5-7021-406e-80ae-0bf19c6a8dab" providerId="ADAL" clId="{41A57E2E-0C67-4892-A066-9127B8FA6C21}" dt="2022-05-02T08:59:55.467" v="645" actId="478"/>
        <pc:sldMkLst>
          <pc:docMk/>
          <pc:sldMk cId="2047137242" sldId="14696"/>
        </pc:sldMkLst>
        <pc:spChg chg="del">
          <ac:chgData name="Wirbel Martin" userId="d6a352b5-7021-406e-80ae-0bf19c6a8dab" providerId="ADAL" clId="{41A57E2E-0C67-4892-A066-9127B8FA6C21}" dt="2022-05-02T08:59:55.467" v="645" actId="478"/>
          <ac:spMkLst>
            <pc:docMk/>
            <pc:sldMk cId="2047137242" sldId="14696"/>
            <ac:spMk id="26" creationId="{A35F72AD-CEAA-4E8F-A287-221F93BD4B4E}"/>
          </ac:spMkLst>
        </pc:spChg>
      </pc:sldChg>
      <pc:sldChg chg="ord">
        <pc:chgData name="Wirbel Martin" userId="d6a352b5-7021-406e-80ae-0bf19c6a8dab" providerId="ADAL" clId="{41A57E2E-0C67-4892-A066-9127B8FA6C21}" dt="2022-04-26T12:38:13.700" v="421"/>
        <pc:sldMkLst>
          <pc:docMk/>
          <pc:sldMk cId="3469557055" sldId="14702"/>
        </pc:sldMkLst>
      </pc:sldChg>
      <pc:sldChg chg="delSp modSp mod ord">
        <pc:chgData name="Wirbel Martin" userId="d6a352b5-7021-406e-80ae-0bf19c6a8dab" providerId="ADAL" clId="{41A57E2E-0C67-4892-A066-9127B8FA6C21}" dt="2022-05-02T09:01:36.783" v="654" actId="478"/>
        <pc:sldMkLst>
          <pc:docMk/>
          <pc:sldMk cId="3394207660" sldId="14703"/>
        </pc:sldMkLst>
        <pc:spChg chg="del">
          <ac:chgData name="Wirbel Martin" userId="d6a352b5-7021-406e-80ae-0bf19c6a8dab" providerId="ADAL" clId="{41A57E2E-0C67-4892-A066-9127B8FA6C21}" dt="2022-05-02T09:01:36.783" v="654" actId="478"/>
          <ac:spMkLst>
            <pc:docMk/>
            <pc:sldMk cId="3394207660" sldId="14703"/>
            <ac:spMk id="2" creationId="{AC00A387-0AF5-4B9E-9613-D04FA26AAC73}"/>
          </ac:spMkLst>
        </pc:spChg>
        <pc:spChg chg="del mod">
          <ac:chgData name="Wirbel Martin" userId="d6a352b5-7021-406e-80ae-0bf19c6a8dab" providerId="ADAL" clId="{41A57E2E-0C67-4892-A066-9127B8FA6C21}" dt="2022-05-02T09:01:34.845" v="653" actId="478"/>
          <ac:spMkLst>
            <pc:docMk/>
            <pc:sldMk cId="3394207660" sldId="14703"/>
            <ac:spMk id="43" creationId="{9D2A7320-01D4-4568-ACD2-BB4660D8E3B7}"/>
          </ac:spMkLst>
        </pc:spChg>
      </pc:sldChg>
      <pc:sldChg chg="delSp mod">
        <pc:chgData name="Wirbel Martin" userId="d6a352b5-7021-406e-80ae-0bf19c6a8dab" providerId="ADAL" clId="{41A57E2E-0C67-4892-A066-9127B8FA6C21}" dt="2022-05-02T09:01:44.046" v="656" actId="478"/>
        <pc:sldMkLst>
          <pc:docMk/>
          <pc:sldMk cId="3126563850" sldId="14704"/>
        </pc:sldMkLst>
        <pc:spChg chg="del">
          <ac:chgData name="Wirbel Martin" userId="d6a352b5-7021-406e-80ae-0bf19c6a8dab" providerId="ADAL" clId="{41A57E2E-0C67-4892-A066-9127B8FA6C21}" dt="2022-05-02T09:01:44.046" v="656" actId="478"/>
          <ac:spMkLst>
            <pc:docMk/>
            <pc:sldMk cId="3126563850" sldId="14704"/>
            <ac:spMk id="2" creationId="{AC00A387-0AF5-4B9E-9613-D04FA26AAC73}"/>
          </ac:spMkLst>
        </pc:spChg>
        <pc:spChg chg="del">
          <ac:chgData name="Wirbel Martin" userId="d6a352b5-7021-406e-80ae-0bf19c6a8dab" providerId="ADAL" clId="{41A57E2E-0C67-4892-A066-9127B8FA6C21}" dt="2022-05-02T09:01:41.693" v="655" actId="478"/>
          <ac:spMkLst>
            <pc:docMk/>
            <pc:sldMk cId="3126563850" sldId="14704"/>
            <ac:spMk id="21" creationId="{EFE86BE5-305A-4FAB-B346-080DE94C8DC7}"/>
          </ac:spMkLst>
        </pc:spChg>
      </pc:sldChg>
      <pc:sldChg chg="delSp modSp mod">
        <pc:chgData name="Wirbel Martin" userId="d6a352b5-7021-406e-80ae-0bf19c6a8dab" providerId="ADAL" clId="{41A57E2E-0C67-4892-A066-9127B8FA6C21}" dt="2022-05-02T08:59:51.798" v="644" actId="478"/>
        <pc:sldMkLst>
          <pc:docMk/>
          <pc:sldMk cId="1389853780" sldId="14705"/>
        </pc:sldMkLst>
        <pc:spChg chg="del">
          <ac:chgData name="Wirbel Martin" userId="d6a352b5-7021-406e-80ae-0bf19c6a8dab" providerId="ADAL" clId="{41A57E2E-0C67-4892-A066-9127B8FA6C21}" dt="2022-05-02T08:59:51.798" v="644" actId="478"/>
          <ac:spMkLst>
            <pc:docMk/>
            <pc:sldMk cId="1389853780" sldId="14705"/>
            <ac:spMk id="12" creationId="{E1383178-5963-4146-880D-635AA6FB5BB7}"/>
          </ac:spMkLst>
        </pc:spChg>
        <pc:spChg chg="del">
          <ac:chgData name="Wirbel Martin" userId="d6a352b5-7021-406e-80ae-0bf19c6a8dab" providerId="ADAL" clId="{41A57E2E-0C67-4892-A066-9127B8FA6C21}" dt="2022-05-02T08:59:48.791" v="643" actId="478"/>
          <ac:spMkLst>
            <pc:docMk/>
            <pc:sldMk cId="1389853780" sldId="14705"/>
            <ac:spMk id="13" creationId="{E712BFE4-C200-467B-936C-EFA5FB86A511}"/>
          </ac:spMkLst>
        </pc:spChg>
        <pc:graphicFrameChg chg="modGraphic">
          <ac:chgData name="Wirbel Martin" userId="d6a352b5-7021-406e-80ae-0bf19c6a8dab" providerId="ADAL" clId="{41A57E2E-0C67-4892-A066-9127B8FA6C21}" dt="2022-04-26T08:21:13.097" v="416" actId="207"/>
          <ac:graphicFrameMkLst>
            <pc:docMk/>
            <pc:sldMk cId="1389853780" sldId="14705"/>
            <ac:graphicFrameMk id="17" creationId="{542DED1B-2A20-46EE-AE8D-77178926E45A}"/>
          </ac:graphicFrameMkLst>
        </pc:graphicFrame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s://myenbw.sharepoint.com/sites/mobilesNetzlabor/Shared%20Documents/fahrplan1923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2.xml"/><Relationship Id="rId1" Type="http://schemas.microsoft.com/office/2011/relationships/chartStyle" Target="style2.xml"/><Relationship Id="rId5" Type="http://schemas.openxmlformats.org/officeDocument/2006/relationships/chartUserShapes" Target="../drawings/drawing1.xml"/><Relationship Id="rId4" Type="http://schemas.openxmlformats.org/officeDocument/2006/relationships/package" Target="../embeddings/Microsoft_Excel_Worksheet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EnBW DIN Pro" panose="020B0504020101020102" pitchFamily="34" charset="0"/>
                <a:ea typeface="+mn-ea"/>
                <a:cs typeface="EnBW DIN Pro" panose="020B0504020101020102" pitchFamily="34" charset="0"/>
              </a:defRPr>
            </a:pPr>
            <a:r>
              <a:rPr lang="de-DE" sz="1800" dirty="0">
                <a:solidFill>
                  <a:schemeClr val="tx1"/>
                </a:solidFill>
                <a:latin typeface="EnBW DIN Pro" panose="020B0504020101020102" pitchFamily="34" charset="0"/>
                <a:cs typeface="EnBW DIN Pro" panose="020B0504020101020102" pitchFamily="34" charset="0"/>
              </a:rPr>
              <a:t>Statisches</a:t>
            </a:r>
            <a:r>
              <a:rPr lang="de-DE" sz="1800" baseline="0" dirty="0">
                <a:solidFill>
                  <a:schemeClr val="tx1"/>
                </a:solidFill>
                <a:latin typeface="EnBW DIN Pro" panose="020B0504020101020102" pitchFamily="34" charset="0"/>
                <a:cs typeface="EnBW DIN Pro" panose="020B0504020101020102" pitchFamily="34" charset="0"/>
              </a:rPr>
              <a:t> Lademanagement über Zeitfenster</a:t>
            </a:r>
            <a:endParaRPr lang="de-DE" sz="1800" dirty="0">
              <a:solidFill>
                <a:schemeClr val="tx1"/>
              </a:solidFill>
              <a:latin typeface="EnBW DIN Pro" panose="020B0504020101020102" pitchFamily="34" charset="0"/>
              <a:cs typeface="EnBW DIN Pro" panose="020B0504020101020102" pitchFamily="34" charset="0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EnBW DIN Pro" panose="020B0504020101020102" pitchFamily="34" charset="0"/>
              <a:ea typeface="+mn-ea"/>
              <a:cs typeface="EnBW DIN Pro" panose="020B0504020101020102" pitchFamily="34" charset="0"/>
            </a:defRPr>
          </a:pPr>
          <a:endParaRPr lang="de-DE"/>
        </a:p>
      </c:txPr>
    </c:title>
    <c:autoTitleDeleted val="0"/>
    <c:plotArea>
      <c:layout/>
      <c:areaChart>
        <c:grouping val="standard"/>
        <c:varyColors val="0"/>
        <c:ser>
          <c:idx val="1"/>
          <c:order val="1"/>
          <c:tx>
            <c:strRef>
              <c:f>Tabelle1!$C$1</c:f>
              <c:strCache>
                <c:ptCount val="1"/>
                <c:pt idx="0">
                  <c:v>freigegebene Ladeleistung</c:v>
                </c:pt>
              </c:strCache>
            </c:strRef>
          </c:tx>
          <c:spPr>
            <a:solidFill>
              <a:schemeClr val="accent4"/>
            </a:solidFill>
            <a:ln>
              <a:solidFill>
                <a:schemeClr val="bg1">
                  <a:lumMod val="85000"/>
                </a:schemeClr>
              </a:solidFill>
            </a:ln>
            <a:effectLst/>
          </c:spPr>
          <c:cat>
            <c:numRef>
              <c:f>Tabelle1!$A$2:$A$1441</c:f>
              <c:numCache>
                <c:formatCode>h:mm;@</c:formatCode>
                <c:ptCount val="1440"/>
                <c:pt idx="0">
                  <c:v>0</c:v>
                </c:pt>
                <c:pt idx="1">
                  <c:v>6.9444444444444447E-4</c:v>
                </c:pt>
                <c:pt idx="2">
                  <c:v>1.38888888888889E-3</c:v>
                </c:pt>
                <c:pt idx="3">
                  <c:v>2.0833333333333298E-3</c:v>
                </c:pt>
                <c:pt idx="4">
                  <c:v>2.7777777777777801E-3</c:v>
                </c:pt>
                <c:pt idx="5">
                  <c:v>3.4722222222222199E-3</c:v>
                </c:pt>
                <c:pt idx="6">
                  <c:v>4.1666666666666701E-3</c:v>
                </c:pt>
                <c:pt idx="7">
                  <c:v>4.8611111111111103E-3</c:v>
                </c:pt>
                <c:pt idx="8">
                  <c:v>5.5555555555555601E-3</c:v>
                </c:pt>
                <c:pt idx="9">
                  <c:v>6.2500000000000003E-3</c:v>
                </c:pt>
                <c:pt idx="10">
                  <c:v>6.9444444444444397E-3</c:v>
                </c:pt>
                <c:pt idx="11">
                  <c:v>7.6388888888888904E-3</c:v>
                </c:pt>
                <c:pt idx="12">
                  <c:v>8.3333333333333297E-3</c:v>
                </c:pt>
                <c:pt idx="13">
                  <c:v>9.0277777777777804E-3</c:v>
                </c:pt>
                <c:pt idx="14">
                  <c:v>9.7222222222222206E-3</c:v>
                </c:pt>
                <c:pt idx="15">
                  <c:v>1.0416666666666701E-2</c:v>
                </c:pt>
                <c:pt idx="16">
                  <c:v>1.1111111111111099E-2</c:v>
                </c:pt>
                <c:pt idx="17">
                  <c:v>1.18055555555556E-2</c:v>
                </c:pt>
                <c:pt idx="18">
                  <c:v>1.2500000000000001E-2</c:v>
                </c:pt>
                <c:pt idx="19">
                  <c:v>1.3194444444444399E-2</c:v>
                </c:pt>
                <c:pt idx="20">
                  <c:v>1.38888888888889E-2</c:v>
                </c:pt>
                <c:pt idx="21">
                  <c:v>1.4583333333333301E-2</c:v>
                </c:pt>
                <c:pt idx="22">
                  <c:v>1.52777777777778E-2</c:v>
                </c:pt>
                <c:pt idx="23">
                  <c:v>1.59722222222222E-2</c:v>
                </c:pt>
                <c:pt idx="24">
                  <c:v>1.6666666666666701E-2</c:v>
                </c:pt>
                <c:pt idx="25">
                  <c:v>1.7361111111111101E-2</c:v>
                </c:pt>
                <c:pt idx="26">
                  <c:v>1.8055555555555599E-2</c:v>
                </c:pt>
                <c:pt idx="27">
                  <c:v>1.8749999999999999E-2</c:v>
                </c:pt>
                <c:pt idx="28">
                  <c:v>1.94444444444444E-2</c:v>
                </c:pt>
                <c:pt idx="29">
                  <c:v>2.0138888888888901E-2</c:v>
                </c:pt>
                <c:pt idx="30">
                  <c:v>2.0833333333333301E-2</c:v>
                </c:pt>
                <c:pt idx="31">
                  <c:v>2.1527777777777798E-2</c:v>
                </c:pt>
                <c:pt idx="32">
                  <c:v>2.2222222222222199E-2</c:v>
                </c:pt>
                <c:pt idx="33">
                  <c:v>2.29166666666667E-2</c:v>
                </c:pt>
                <c:pt idx="34">
                  <c:v>2.36111111111111E-2</c:v>
                </c:pt>
                <c:pt idx="35">
                  <c:v>2.4305555555555601E-2</c:v>
                </c:pt>
                <c:pt idx="36">
                  <c:v>2.5000000000000001E-2</c:v>
                </c:pt>
                <c:pt idx="37">
                  <c:v>2.5694444444444402E-2</c:v>
                </c:pt>
                <c:pt idx="38">
                  <c:v>2.6388888888888899E-2</c:v>
                </c:pt>
                <c:pt idx="39">
                  <c:v>2.70833333333333E-2</c:v>
                </c:pt>
                <c:pt idx="40">
                  <c:v>2.7777777777777801E-2</c:v>
                </c:pt>
                <c:pt idx="41">
                  <c:v>2.8472222222222201E-2</c:v>
                </c:pt>
                <c:pt idx="42">
                  <c:v>2.9166666666666698E-2</c:v>
                </c:pt>
                <c:pt idx="43">
                  <c:v>2.9861111111111099E-2</c:v>
                </c:pt>
                <c:pt idx="44">
                  <c:v>3.05555555555556E-2</c:v>
                </c:pt>
                <c:pt idx="45">
                  <c:v>3.125E-2</c:v>
                </c:pt>
                <c:pt idx="46">
                  <c:v>3.19444444444444E-2</c:v>
                </c:pt>
                <c:pt idx="47">
                  <c:v>3.2638888888888898E-2</c:v>
                </c:pt>
                <c:pt idx="48">
                  <c:v>3.3333333333333298E-2</c:v>
                </c:pt>
                <c:pt idx="49">
                  <c:v>3.4027777777777803E-2</c:v>
                </c:pt>
                <c:pt idx="50">
                  <c:v>3.4722222222222203E-2</c:v>
                </c:pt>
                <c:pt idx="51">
                  <c:v>3.54166666666667E-2</c:v>
                </c:pt>
                <c:pt idx="52">
                  <c:v>3.6111111111111101E-2</c:v>
                </c:pt>
                <c:pt idx="53">
                  <c:v>3.6805555555555598E-2</c:v>
                </c:pt>
                <c:pt idx="54">
                  <c:v>3.7499999999999999E-2</c:v>
                </c:pt>
                <c:pt idx="55">
                  <c:v>3.8194444444444399E-2</c:v>
                </c:pt>
                <c:pt idx="56">
                  <c:v>3.8888888888888903E-2</c:v>
                </c:pt>
                <c:pt idx="57">
                  <c:v>3.9583333333333297E-2</c:v>
                </c:pt>
                <c:pt idx="58">
                  <c:v>4.0277777777777801E-2</c:v>
                </c:pt>
                <c:pt idx="59">
                  <c:v>4.0972222222222202E-2</c:v>
                </c:pt>
                <c:pt idx="60">
                  <c:v>4.1666666666666699E-2</c:v>
                </c:pt>
                <c:pt idx="61">
                  <c:v>4.2361111111111099E-2</c:v>
                </c:pt>
                <c:pt idx="62">
                  <c:v>4.3055555555555597E-2</c:v>
                </c:pt>
                <c:pt idx="63">
                  <c:v>4.3749999999999997E-2</c:v>
                </c:pt>
                <c:pt idx="64">
                  <c:v>4.4444444444444398E-2</c:v>
                </c:pt>
                <c:pt idx="65">
                  <c:v>4.5138888888888902E-2</c:v>
                </c:pt>
                <c:pt idx="66">
                  <c:v>4.5833333333333302E-2</c:v>
                </c:pt>
                <c:pt idx="67">
                  <c:v>4.65277777777778E-2</c:v>
                </c:pt>
                <c:pt idx="68">
                  <c:v>4.72222222222222E-2</c:v>
                </c:pt>
                <c:pt idx="69">
                  <c:v>4.7916666666666698E-2</c:v>
                </c:pt>
                <c:pt idx="70">
                  <c:v>4.8611111111111098E-2</c:v>
                </c:pt>
                <c:pt idx="71">
                  <c:v>4.9305555555555602E-2</c:v>
                </c:pt>
                <c:pt idx="72">
                  <c:v>0.05</c:v>
                </c:pt>
                <c:pt idx="73">
                  <c:v>5.0694444444444403E-2</c:v>
                </c:pt>
                <c:pt idx="74">
                  <c:v>5.1388888888888901E-2</c:v>
                </c:pt>
                <c:pt idx="75">
                  <c:v>5.2083333333333301E-2</c:v>
                </c:pt>
                <c:pt idx="76">
                  <c:v>5.2777777777777798E-2</c:v>
                </c:pt>
                <c:pt idx="77">
                  <c:v>5.3472222222222199E-2</c:v>
                </c:pt>
                <c:pt idx="78">
                  <c:v>5.4166666666666703E-2</c:v>
                </c:pt>
                <c:pt idx="79">
                  <c:v>5.4861111111111097E-2</c:v>
                </c:pt>
                <c:pt idx="80">
                  <c:v>5.5555555555555601E-2</c:v>
                </c:pt>
                <c:pt idx="81">
                  <c:v>5.6250000000000001E-2</c:v>
                </c:pt>
                <c:pt idx="82">
                  <c:v>5.6944444444444402E-2</c:v>
                </c:pt>
                <c:pt idx="83">
                  <c:v>5.7638888888888899E-2</c:v>
                </c:pt>
                <c:pt idx="84">
                  <c:v>5.83333333333333E-2</c:v>
                </c:pt>
                <c:pt idx="85">
                  <c:v>5.9027777777777797E-2</c:v>
                </c:pt>
                <c:pt idx="86">
                  <c:v>5.9722222222222197E-2</c:v>
                </c:pt>
                <c:pt idx="87">
                  <c:v>6.0416666666666702E-2</c:v>
                </c:pt>
                <c:pt idx="88">
                  <c:v>6.1111111111111102E-2</c:v>
                </c:pt>
                <c:pt idx="89">
                  <c:v>6.18055555555556E-2</c:v>
                </c:pt>
                <c:pt idx="90">
                  <c:v>6.25E-2</c:v>
                </c:pt>
                <c:pt idx="91">
                  <c:v>6.31944444444444E-2</c:v>
                </c:pt>
                <c:pt idx="92">
                  <c:v>6.3888888888888898E-2</c:v>
                </c:pt>
                <c:pt idx="93">
                  <c:v>6.4583333333333298E-2</c:v>
                </c:pt>
                <c:pt idx="94">
                  <c:v>6.5277777777777796E-2</c:v>
                </c:pt>
                <c:pt idx="95">
                  <c:v>6.5972222222222196E-2</c:v>
                </c:pt>
                <c:pt idx="96">
                  <c:v>6.6666666666666693E-2</c:v>
                </c:pt>
                <c:pt idx="97">
                  <c:v>6.7361111111111094E-2</c:v>
                </c:pt>
                <c:pt idx="98">
                  <c:v>6.8055555555555605E-2</c:v>
                </c:pt>
                <c:pt idx="99">
                  <c:v>6.8750000000000006E-2</c:v>
                </c:pt>
                <c:pt idx="100">
                  <c:v>6.9444444444444406E-2</c:v>
                </c:pt>
                <c:pt idx="101">
                  <c:v>7.0138888888888903E-2</c:v>
                </c:pt>
                <c:pt idx="102">
                  <c:v>7.0833333333333304E-2</c:v>
                </c:pt>
                <c:pt idx="103">
                  <c:v>7.1527777777777801E-2</c:v>
                </c:pt>
                <c:pt idx="104">
                  <c:v>7.2222222222222202E-2</c:v>
                </c:pt>
                <c:pt idx="105">
                  <c:v>7.2916666666666699E-2</c:v>
                </c:pt>
                <c:pt idx="106">
                  <c:v>7.3611111111111099E-2</c:v>
                </c:pt>
                <c:pt idx="107">
                  <c:v>7.4305555555555597E-2</c:v>
                </c:pt>
                <c:pt idx="108">
                  <c:v>7.4999999999999997E-2</c:v>
                </c:pt>
                <c:pt idx="109">
                  <c:v>7.5694444444444495E-2</c:v>
                </c:pt>
                <c:pt idx="110">
                  <c:v>7.6388888888888895E-2</c:v>
                </c:pt>
                <c:pt idx="111">
                  <c:v>7.7083333333333295E-2</c:v>
                </c:pt>
                <c:pt idx="112">
                  <c:v>7.7777777777777807E-2</c:v>
                </c:pt>
                <c:pt idx="113">
                  <c:v>7.8472222222222193E-2</c:v>
                </c:pt>
                <c:pt idx="114">
                  <c:v>7.9166666666666705E-2</c:v>
                </c:pt>
                <c:pt idx="115">
                  <c:v>7.9861111111111105E-2</c:v>
                </c:pt>
                <c:pt idx="116">
                  <c:v>8.0555555555555602E-2</c:v>
                </c:pt>
                <c:pt idx="117">
                  <c:v>8.1250000000000003E-2</c:v>
                </c:pt>
                <c:pt idx="118">
                  <c:v>8.1944444444444403E-2</c:v>
                </c:pt>
                <c:pt idx="119">
                  <c:v>8.2638888888888901E-2</c:v>
                </c:pt>
                <c:pt idx="120">
                  <c:v>8.3333333333333301E-2</c:v>
                </c:pt>
                <c:pt idx="121">
                  <c:v>8.4027777777777798E-2</c:v>
                </c:pt>
                <c:pt idx="122">
                  <c:v>8.4722222222222199E-2</c:v>
                </c:pt>
                <c:pt idx="123">
                  <c:v>8.5416666666666696E-2</c:v>
                </c:pt>
                <c:pt idx="124">
                  <c:v>8.6111111111111097E-2</c:v>
                </c:pt>
                <c:pt idx="125">
                  <c:v>8.6805555555555594E-2</c:v>
                </c:pt>
                <c:pt idx="126">
                  <c:v>8.7499999999999994E-2</c:v>
                </c:pt>
                <c:pt idx="127">
                  <c:v>8.8194444444444506E-2</c:v>
                </c:pt>
                <c:pt idx="128">
                  <c:v>8.8888888888888906E-2</c:v>
                </c:pt>
                <c:pt idx="129">
                  <c:v>8.9583333333333307E-2</c:v>
                </c:pt>
                <c:pt idx="130">
                  <c:v>9.0277777777777804E-2</c:v>
                </c:pt>
                <c:pt idx="131">
                  <c:v>9.0972222222222204E-2</c:v>
                </c:pt>
                <c:pt idx="132">
                  <c:v>9.1666666666666702E-2</c:v>
                </c:pt>
                <c:pt idx="133">
                  <c:v>9.2361111111111102E-2</c:v>
                </c:pt>
                <c:pt idx="134">
                  <c:v>9.30555555555556E-2</c:v>
                </c:pt>
                <c:pt idx="135">
                  <c:v>9.375E-2</c:v>
                </c:pt>
                <c:pt idx="136">
                  <c:v>9.44444444444444E-2</c:v>
                </c:pt>
                <c:pt idx="137">
                  <c:v>9.5138888888888898E-2</c:v>
                </c:pt>
                <c:pt idx="138">
                  <c:v>9.5833333333333298E-2</c:v>
                </c:pt>
                <c:pt idx="139">
                  <c:v>9.6527777777777796E-2</c:v>
                </c:pt>
                <c:pt idx="140">
                  <c:v>9.7222222222222196E-2</c:v>
                </c:pt>
                <c:pt idx="141">
                  <c:v>9.7916666666666693E-2</c:v>
                </c:pt>
                <c:pt idx="142">
                  <c:v>9.8611111111111094E-2</c:v>
                </c:pt>
                <c:pt idx="143">
                  <c:v>9.9305555555555605E-2</c:v>
                </c:pt>
                <c:pt idx="144">
                  <c:v>0.1</c:v>
                </c:pt>
                <c:pt idx="145">
                  <c:v>0.100694444444444</c:v>
                </c:pt>
                <c:pt idx="146">
                  <c:v>0.101388888888889</c:v>
                </c:pt>
                <c:pt idx="147">
                  <c:v>0.102083333333333</c:v>
                </c:pt>
                <c:pt idx="148">
                  <c:v>0.102777777777778</c:v>
                </c:pt>
                <c:pt idx="149">
                  <c:v>0.10347222222222199</c:v>
                </c:pt>
                <c:pt idx="150">
                  <c:v>0.104166666666667</c:v>
                </c:pt>
                <c:pt idx="151">
                  <c:v>0.104861111111111</c:v>
                </c:pt>
                <c:pt idx="152">
                  <c:v>0.105555555555556</c:v>
                </c:pt>
                <c:pt idx="153">
                  <c:v>0.10625</c:v>
                </c:pt>
                <c:pt idx="154">
                  <c:v>0.106944444444444</c:v>
                </c:pt>
                <c:pt idx="155">
                  <c:v>0.10763888888888901</c:v>
                </c:pt>
                <c:pt idx="156">
                  <c:v>0.108333333333333</c:v>
                </c:pt>
                <c:pt idx="157">
                  <c:v>0.109027777777778</c:v>
                </c:pt>
                <c:pt idx="158">
                  <c:v>0.109722222222222</c:v>
                </c:pt>
                <c:pt idx="159">
                  <c:v>0.110416666666667</c:v>
                </c:pt>
                <c:pt idx="160">
                  <c:v>0.11111111111111099</c:v>
                </c:pt>
                <c:pt idx="161">
                  <c:v>0.111805555555556</c:v>
                </c:pt>
                <c:pt idx="162">
                  <c:v>0.1125</c:v>
                </c:pt>
                <c:pt idx="163">
                  <c:v>0.113194444444444</c:v>
                </c:pt>
                <c:pt idx="164">
                  <c:v>0.113888888888889</c:v>
                </c:pt>
                <c:pt idx="165">
                  <c:v>0.114583333333333</c:v>
                </c:pt>
                <c:pt idx="166">
                  <c:v>0.11527777777777801</c:v>
                </c:pt>
                <c:pt idx="167">
                  <c:v>0.115972222222222</c:v>
                </c:pt>
                <c:pt idx="168">
                  <c:v>0.116666666666667</c:v>
                </c:pt>
                <c:pt idx="169">
                  <c:v>0.117361111111111</c:v>
                </c:pt>
                <c:pt idx="170">
                  <c:v>0.118055555555556</c:v>
                </c:pt>
                <c:pt idx="171">
                  <c:v>0.11874999999999999</c:v>
                </c:pt>
                <c:pt idx="172">
                  <c:v>0.11944444444444401</c:v>
                </c:pt>
                <c:pt idx="173">
                  <c:v>0.120138888888889</c:v>
                </c:pt>
                <c:pt idx="174">
                  <c:v>0.120833333333333</c:v>
                </c:pt>
                <c:pt idx="175">
                  <c:v>0.121527777777778</c:v>
                </c:pt>
                <c:pt idx="176">
                  <c:v>0.122222222222222</c:v>
                </c:pt>
                <c:pt idx="177">
                  <c:v>0.12291666666666699</c:v>
                </c:pt>
                <c:pt idx="178">
                  <c:v>0.12361111111111101</c:v>
                </c:pt>
                <c:pt idx="179">
                  <c:v>0.124305555555556</c:v>
                </c:pt>
                <c:pt idx="180">
                  <c:v>0.125</c:v>
                </c:pt>
                <c:pt idx="181">
                  <c:v>0.125694444444444</c:v>
                </c:pt>
                <c:pt idx="182">
                  <c:v>0.12638888888888899</c:v>
                </c:pt>
                <c:pt idx="183">
                  <c:v>0.12708333333333299</c:v>
                </c:pt>
                <c:pt idx="184">
                  <c:v>0.12777777777777799</c:v>
                </c:pt>
                <c:pt idx="185">
                  <c:v>0.12847222222222199</c:v>
                </c:pt>
                <c:pt idx="186">
                  <c:v>0.12916666666666701</c:v>
                </c:pt>
                <c:pt idx="187">
                  <c:v>0.12986111111111101</c:v>
                </c:pt>
                <c:pt idx="188">
                  <c:v>0.13055555555555601</c:v>
                </c:pt>
                <c:pt idx="189">
                  <c:v>0.13125000000000001</c:v>
                </c:pt>
                <c:pt idx="190">
                  <c:v>0.131944444444444</c:v>
                </c:pt>
                <c:pt idx="191">
                  <c:v>0.132638888888889</c:v>
                </c:pt>
                <c:pt idx="192">
                  <c:v>0.133333333333333</c:v>
                </c:pt>
                <c:pt idx="193">
                  <c:v>0.134027777777778</c:v>
                </c:pt>
                <c:pt idx="194">
                  <c:v>0.13472222222222199</c:v>
                </c:pt>
                <c:pt idx="195">
                  <c:v>0.13541666666666699</c:v>
                </c:pt>
                <c:pt idx="196">
                  <c:v>0.13611111111111099</c:v>
                </c:pt>
                <c:pt idx="197">
                  <c:v>0.13680555555555601</c:v>
                </c:pt>
                <c:pt idx="198">
                  <c:v>0.13750000000000001</c:v>
                </c:pt>
                <c:pt idx="199">
                  <c:v>0.13819444444444401</c:v>
                </c:pt>
                <c:pt idx="200">
                  <c:v>0.13888888888888901</c:v>
                </c:pt>
                <c:pt idx="201">
                  <c:v>0.139583333333333</c:v>
                </c:pt>
                <c:pt idx="202">
                  <c:v>0.140277777777778</c:v>
                </c:pt>
                <c:pt idx="203">
                  <c:v>0.140972222222222</c:v>
                </c:pt>
                <c:pt idx="204">
                  <c:v>0.141666666666667</c:v>
                </c:pt>
                <c:pt idx="205">
                  <c:v>0.14236111111111099</c:v>
                </c:pt>
                <c:pt idx="206">
                  <c:v>0.14305555555555599</c:v>
                </c:pt>
                <c:pt idx="207">
                  <c:v>0.14374999999999999</c:v>
                </c:pt>
                <c:pt idx="208">
                  <c:v>0.14444444444444399</c:v>
                </c:pt>
                <c:pt idx="209">
                  <c:v>0.14513888888888901</c:v>
                </c:pt>
                <c:pt idx="210">
                  <c:v>0.14583333333333301</c:v>
                </c:pt>
                <c:pt idx="211">
                  <c:v>0.14652777777777801</c:v>
                </c:pt>
                <c:pt idx="212">
                  <c:v>0.147222222222222</c:v>
                </c:pt>
                <c:pt idx="213">
                  <c:v>0.147916666666667</c:v>
                </c:pt>
                <c:pt idx="214">
                  <c:v>0.148611111111111</c:v>
                </c:pt>
                <c:pt idx="215">
                  <c:v>0.149305555555556</c:v>
                </c:pt>
                <c:pt idx="216">
                  <c:v>0.15</c:v>
                </c:pt>
                <c:pt idx="217">
                  <c:v>0.15069444444444399</c:v>
                </c:pt>
                <c:pt idx="218">
                  <c:v>0.15138888888888899</c:v>
                </c:pt>
                <c:pt idx="219">
                  <c:v>0.15208333333333299</c:v>
                </c:pt>
                <c:pt idx="220">
                  <c:v>0.15277777777777801</c:v>
                </c:pt>
                <c:pt idx="221">
                  <c:v>0.15347222222222201</c:v>
                </c:pt>
                <c:pt idx="222">
                  <c:v>0.15416666666666701</c:v>
                </c:pt>
                <c:pt idx="223">
                  <c:v>0.15486111111111101</c:v>
                </c:pt>
                <c:pt idx="224">
                  <c:v>0.155555555555556</c:v>
                </c:pt>
                <c:pt idx="225">
                  <c:v>0.15625</c:v>
                </c:pt>
                <c:pt idx="226">
                  <c:v>0.156944444444444</c:v>
                </c:pt>
                <c:pt idx="227">
                  <c:v>0.15763888888888899</c:v>
                </c:pt>
                <c:pt idx="228">
                  <c:v>0.15833333333333299</c:v>
                </c:pt>
                <c:pt idx="229">
                  <c:v>0.15902777777777799</c:v>
                </c:pt>
                <c:pt idx="230">
                  <c:v>0.15972222222222199</c:v>
                </c:pt>
                <c:pt idx="231">
                  <c:v>0.16041666666666701</c:v>
                </c:pt>
                <c:pt idx="232">
                  <c:v>0.16111111111111101</c:v>
                </c:pt>
                <c:pt idx="233">
                  <c:v>0.16180555555555601</c:v>
                </c:pt>
                <c:pt idx="234">
                  <c:v>0.16250000000000001</c:v>
                </c:pt>
                <c:pt idx="235">
                  <c:v>0.163194444444444</c:v>
                </c:pt>
                <c:pt idx="236">
                  <c:v>0.163888888888889</c:v>
                </c:pt>
                <c:pt idx="237">
                  <c:v>0.164583333333333</c:v>
                </c:pt>
                <c:pt idx="238">
                  <c:v>0.165277777777778</c:v>
                </c:pt>
                <c:pt idx="239">
                  <c:v>0.16597222222222199</c:v>
                </c:pt>
                <c:pt idx="240">
                  <c:v>0.16666666666666699</c:v>
                </c:pt>
                <c:pt idx="241">
                  <c:v>0.16736111111111099</c:v>
                </c:pt>
                <c:pt idx="242">
                  <c:v>0.16805555555555601</c:v>
                </c:pt>
                <c:pt idx="243">
                  <c:v>0.16875000000000001</c:v>
                </c:pt>
                <c:pt idx="244">
                  <c:v>0.16944444444444401</c:v>
                </c:pt>
                <c:pt idx="245">
                  <c:v>0.17013888888888901</c:v>
                </c:pt>
                <c:pt idx="246">
                  <c:v>0.170833333333333</c:v>
                </c:pt>
                <c:pt idx="247">
                  <c:v>0.171527777777778</c:v>
                </c:pt>
                <c:pt idx="248">
                  <c:v>0.172222222222222</c:v>
                </c:pt>
                <c:pt idx="249">
                  <c:v>0.172916666666667</c:v>
                </c:pt>
                <c:pt idx="250">
                  <c:v>0.17361111111111099</c:v>
                </c:pt>
                <c:pt idx="251">
                  <c:v>0.17430555555555599</c:v>
                </c:pt>
                <c:pt idx="252">
                  <c:v>0.17499999999999999</c:v>
                </c:pt>
                <c:pt idx="253">
                  <c:v>0.17569444444444399</c:v>
                </c:pt>
                <c:pt idx="254">
                  <c:v>0.17638888888888901</c:v>
                </c:pt>
                <c:pt idx="255">
                  <c:v>0.17708333333333301</c:v>
                </c:pt>
                <c:pt idx="256">
                  <c:v>0.17777777777777801</c:v>
                </c:pt>
                <c:pt idx="257">
                  <c:v>0.178472222222222</c:v>
                </c:pt>
                <c:pt idx="258">
                  <c:v>0.179166666666667</c:v>
                </c:pt>
                <c:pt idx="259">
                  <c:v>0.179861111111111</c:v>
                </c:pt>
                <c:pt idx="260">
                  <c:v>0.180555555555556</c:v>
                </c:pt>
                <c:pt idx="261">
                  <c:v>0.18124999999999999</c:v>
                </c:pt>
                <c:pt idx="262">
                  <c:v>0.18194444444444399</c:v>
                </c:pt>
                <c:pt idx="263">
                  <c:v>0.18263888888888899</c:v>
                </c:pt>
                <c:pt idx="264">
                  <c:v>0.18333333333333299</c:v>
                </c:pt>
                <c:pt idx="265">
                  <c:v>0.18402777777777801</c:v>
                </c:pt>
                <c:pt idx="266">
                  <c:v>0.18472222222222201</c:v>
                </c:pt>
                <c:pt idx="267">
                  <c:v>0.18541666666666701</c:v>
                </c:pt>
                <c:pt idx="268">
                  <c:v>0.18611111111111101</c:v>
                </c:pt>
                <c:pt idx="269">
                  <c:v>0.186805555555556</c:v>
                </c:pt>
                <c:pt idx="270">
                  <c:v>0.1875</c:v>
                </c:pt>
                <c:pt idx="271">
                  <c:v>0.188194444444444</c:v>
                </c:pt>
                <c:pt idx="272">
                  <c:v>0.18888888888888899</c:v>
                </c:pt>
                <c:pt idx="273">
                  <c:v>0.18958333333333299</c:v>
                </c:pt>
                <c:pt idx="274">
                  <c:v>0.19027777777777799</c:v>
                </c:pt>
                <c:pt idx="275">
                  <c:v>0.19097222222222199</c:v>
                </c:pt>
                <c:pt idx="276">
                  <c:v>0.19166666666666701</c:v>
                </c:pt>
                <c:pt idx="277">
                  <c:v>0.19236111111111101</c:v>
                </c:pt>
                <c:pt idx="278">
                  <c:v>0.19305555555555601</c:v>
                </c:pt>
                <c:pt idx="279">
                  <c:v>0.19375000000000001</c:v>
                </c:pt>
                <c:pt idx="280">
                  <c:v>0.194444444444444</c:v>
                </c:pt>
                <c:pt idx="281">
                  <c:v>0.195138888888889</c:v>
                </c:pt>
                <c:pt idx="282">
                  <c:v>0.195833333333333</c:v>
                </c:pt>
                <c:pt idx="283">
                  <c:v>0.196527777777778</c:v>
                </c:pt>
                <c:pt idx="284">
                  <c:v>0.19722222222222199</c:v>
                </c:pt>
                <c:pt idx="285">
                  <c:v>0.19791666666666699</c:v>
                </c:pt>
                <c:pt idx="286">
                  <c:v>0.19861111111111099</c:v>
                </c:pt>
                <c:pt idx="287">
                  <c:v>0.19930555555555601</c:v>
                </c:pt>
                <c:pt idx="288">
                  <c:v>0.2</c:v>
                </c:pt>
                <c:pt idx="289">
                  <c:v>0.20069444444444401</c:v>
                </c:pt>
                <c:pt idx="290">
                  <c:v>0.20138888888888901</c:v>
                </c:pt>
                <c:pt idx="291">
                  <c:v>0.202083333333333</c:v>
                </c:pt>
                <c:pt idx="292">
                  <c:v>0.202777777777778</c:v>
                </c:pt>
                <c:pt idx="293">
                  <c:v>0.203472222222222</c:v>
                </c:pt>
                <c:pt idx="294">
                  <c:v>0.204166666666667</c:v>
                </c:pt>
                <c:pt idx="295">
                  <c:v>0.20486111111111099</c:v>
                </c:pt>
                <c:pt idx="296">
                  <c:v>0.20555555555555599</c:v>
                </c:pt>
                <c:pt idx="297">
                  <c:v>0.20624999999999999</c:v>
                </c:pt>
                <c:pt idx="298">
                  <c:v>0.20694444444444399</c:v>
                </c:pt>
                <c:pt idx="299">
                  <c:v>0.20763888888888901</c:v>
                </c:pt>
                <c:pt idx="300">
                  <c:v>0.20833333333333301</c:v>
                </c:pt>
                <c:pt idx="301">
                  <c:v>0.20902777777777801</c:v>
                </c:pt>
                <c:pt idx="302">
                  <c:v>0.209722222222222</c:v>
                </c:pt>
                <c:pt idx="303">
                  <c:v>0.210416666666667</c:v>
                </c:pt>
                <c:pt idx="304">
                  <c:v>0.211111111111111</c:v>
                </c:pt>
                <c:pt idx="305">
                  <c:v>0.211805555555556</c:v>
                </c:pt>
                <c:pt idx="306">
                  <c:v>0.21249999999999999</c:v>
                </c:pt>
                <c:pt idx="307">
                  <c:v>0.21319444444444399</c:v>
                </c:pt>
                <c:pt idx="308">
                  <c:v>0.21388888888888899</c:v>
                </c:pt>
                <c:pt idx="309">
                  <c:v>0.21458333333333299</c:v>
                </c:pt>
                <c:pt idx="310">
                  <c:v>0.21527777777777801</c:v>
                </c:pt>
                <c:pt idx="311">
                  <c:v>0.21597222222222201</c:v>
                </c:pt>
                <c:pt idx="312">
                  <c:v>0.21666666666666701</c:v>
                </c:pt>
                <c:pt idx="313">
                  <c:v>0.21736111111111101</c:v>
                </c:pt>
                <c:pt idx="314">
                  <c:v>0.218055555555556</c:v>
                </c:pt>
                <c:pt idx="315">
                  <c:v>0.21875</c:v>
                </c:pt>
                <c:pt idx="316">
                  <c:v>0.219444444444444</c:v>
                </c:pt>
                <c:pt idx="317">
                  <c:v>0.22013888888888899</c:v>
                </c:pt>
                <c:pt idx="318">
                  <c:v>0.22083333333333299</c:v>
                </c:pt>
                <c:pt idx="319">
                  <c:v>0.22152777777777799</c:v>
                </c:pt>
                <c:pt idx="320">
                  <c:v>0.22222222222222199</c:v>
                </c:pt>
                <c:pt idx="321">
                  <c:v>0.22291666666666701</c:v>
                </c:pt>
                <c:pt idx="322">
                  <c:v>0.22361111111111101</c:v>
                </c:pt>
                <c:pt idx="323">
                  <c:v>0.22430555555555601</c:v>
                </c:pt>
                <c:pt idx="324">
                  <c:v>0.22500000000000001</c:v>
                </c:pt>
                <c:pt idx="325">
                  <c:v>0.225694444444444</c:v>
                </c:pt>
                <c:pt idx="326">
                  <c:v>0.226388888888889</c:v>
                </c:pt>
                <c:pt idx="327">
                  <c:v>0.227083333333333</c:v>
                </c:pt>
                <c:pt idx="328">
                  <c:v>0.227777777777778</c:v>
                </c:pt>
                <c:pt idx="329">
                  <c:v>0.22847222222222199</c:v>
                </c:pt>
                <c:pt idx="330">
                  <c:v>0.22916666666666699</c:v>
                </c:pt>
                <c:pt idx="331">
                  <c:v>0.22986111111111099</c:v>
                </c:pt>
                <c:pt idx="332">
                  <c:v>0.23055555555555601</c:v>
                </c:pt>
                <c:pt idx="333">
                  <c:v>0.23125000000000001</c:v>
                </c:pt>
                <c:pt idx="334">
                  <c:v>0.23194444444444401</c:v>
                </c:pt>
                <c:pt idx="335">
                  <c:v>0.23263888888888901</c:v>
                </c:pt>
                <c:pt idx="336">
                  <c:v>0.233333333333333</c:v>
                </c:pt>
                <c:pt idx="337">
                  <c:v>0.234027777777778</c:v>
                </c:pt>
                <c:pt idx="338">
                  <c:v>0.234722222222222</c:v>
                </c:pt>
                <c:pt idx="339">
                  <c:v>0.235416666666667</c:v>
                </c:pt>
                <c:pt idx="340">
                  <c:v>0.23611111111111099</c:v>
                </c:pt>
                <c:pt idx="341">
                  <c:v>0.23680555555555599</c:v>
                </c:pt>
                <c:pt idx="342">
                  <c:v>0.23749999999999999</c:v>
                </c:pt>
                <c:pt idx="343">
                  <c:v>0.23819444444444399</c:v>
                </c:pt>
                <c:pt idx="344">
                  <c:v>0.23888888888888901</c:v>
                </c:pt>
                <c:pt idx="345">
                  <c:v>0.23958333333333301</c:v>
                </c:pt>
                <c:pt idx="346">
                  <c:v>0.24027777777777801</c:v>
                </c:pt>
                <c:pt idx="347">
                  <c:v>0.240972222222222</c:v>
                </c:pt>
                <c:pt idx="348">
                  <c:v>0.241666666666667</c:v>
                </c:pt>
                <c:pt idx="349">
                  <c:v>0.242361111111111</c:v>
                </c:pt>
                <c:pt idx="350">
                  <c:v>0.243055555555556</c:v>
                </c:pt>
                <c:pt idx="351">
                  <c:v>0.24374999999999999</c:v>
                </c:pt>
                <c:pt idx="352">
                  <c:v>0.24444444444444399</c:v>
                </c:pt>
                <c:pt idx="353">
                  <c:v>0.24513888888888899</c:v>
                </c:pt>
                <c:pt idx="354">
                  <c:v>0.24583333333333299</c:v>
                </c:pt>
                <c:pt idx="355">
                  <c:v>0.24652777777777801</c:v>
                </c:pt>
                <c:pt idx="356">
                  <c:v>0.24722222222222201</c:v>
                </c:pt>
                <c:pt idx="357">
                  <c:v>0.24791666666666701</c:v>
                </c:pt>
                <c:pt idx="358">
                  <c:v>0.24861111111111101</c:v>
                </c:pt>
                <c:pt idx="359">
                  <c:v>0.249305555555556</c:v>
                </c:pt>
                <c:pt idx="360">
                  <c:v>0.25</c:v>
                </c:pt>
                <c:pt idx="361">
                  <c:v>0.250694444444444</c:v>
                </c:pt>
                <c:pt idx="362">
                  <c:v>0.25138888888888899</c:v>
                </c:pt>
                <c:pt idx="363">
                  <c:v>0.25208333333333299</c:v>
                </c:pt>
                <c:pt idx="364">
                  <c:v>0.25277777777777799</c:v>
                </c:pt>
                <c:pt idx="365">
                  <c:v>0.25347222222222199</c:v>
                </c:pt>
                <c:pt idx="366">
                  <c:v>0.25416666666666698</c:v>
                </c:pt>
                <c:pt idx="367">
                  <c:v>0.25486111111111098</c:v>
                </c:pt>
                <c:pt idx="368">
                  <c:v>0.25555555555555598</c:v>
                </c:pt>
                <c:pt idx="369">
                  <c:v>0.25624999999999998</c:v>
                </c:pt>
                <c:pt idx="370">
                  <c:v>0.25694444444444398</c:v>
                </c:pt>
                <c:pt idx="371">
                  <c:v>0.25763888888888897</c:v>
                </c:pt>
                <c:pt idx="372">
                  <c:v>0.25833333333333303</c:v>
                </c:pt>
                <c:pt idx="373">
                  <c:v>0.25902777777777802</c:v>
                </c:pt>
                <c:pt idx="374">
                  <c:v>0.25972222222222202</c:v>
                </c:pt>
                <c:pt idx="375">
                  <c:v>0.26041666666666702</c:v>
                </c:pt>
                <c:pt idx="376">
                  <c:v>0.26111111111111102</c:v>
                </c:pt>
                <c:pt idx="377">
                  <c:v>0.26180555555555601</c:v>
                </c:pt>
                <c:pt idx="378">
                  <c:v>0.26250000000000001</c:v>
                </c:pt>
                <c:pt idx="379">
                  <c:v>0.26319444444444401</c:v>
                </c:pt>
                <c:pt idx="380">
                  <c:v>0.26388888888888901</c:v>
                </c:pt>
                <c:pt idx="381">
                  <c:v>0.264583333333333</c:v>
                </c:pt>
                <c:pt idx="382">
                  <c:v>0.265277777777778</c:v>
                </c:pt>
                <c:pt idx="383">
                  <c:v>0.265972222222222</c:v>
                </c:pt>
                <c:pt idx="384">
                  <c:v>0.266666666666667</c:v>
                </c:pt>
                <c:pt idx="385">
                  <c:v>0.26736111111111099</c:v>
                </c:pt>
                <c:pt idx="386">
                  <c:v>0.26805555555555599</c:v>
                </c:pt>
                <c:pt idx="387">
                  <c:v>0.26874999999999999</c:v>
                </c:pt>
                <c:pt idx="388">
                  <c:v>0.26944444444444399</c:v>
                </c:pt>
                <c:pt idx="389">
                  <c:v>0.27013888888888898</c:v>
                </c:pt>
                <c:pt idx="390">
                  <c:v>0.27083333333333298</c:v>
                </c:pt>
                <c:pt idx="391">
                  <c:v>0.27152777777777798</c:v>
                </c:pt>
                <c:pt idx="392">
                  <c:v>0.27222222222222198</c:v>
                </c:pt>
                <c:pt idx="393">
                  <c:v>0.27291666666666697</c:v>
                </c:pt>
                <c:pt idx="394">
                  <c:v>0.27361111111111103</c:v>
                </c:pt>
                <c:pt idx="395">
                  <c:v>0.27430555555555602</c:v>
                </c:pt>
                <c:pt idx="396">
                  <c:v>0.27500000000000002</c:v>
                </c:pt>
                <c:pt idx="397">
                  <c:v>0.27569444444444402</c:v>
                </c:pt>
                <c:pt idx="398">
                  <c:v>0.27638888888888902</c:v>
                </c:pt>
                <c:pt idx="399">
                  <c:v>0.27708333333333302</c:v>
                </c:pt>
                <c:pt idx="400">
                  <c:v>0.27777777777777801</c:v>
                </c:pt>
                <c:pt idx="401">
                  <c:v>0.27847222222222201</c:v>
                </c:pt>
                <c:pt idx="402">
                  <c:v>0.27916666666666701</c:v>
                </c:pt>
                <c:pt idx="403">
                  <c:v>0.27986111111111101</c:v>
                </c:pt>
                <c:pt idx="404">
                  <c:v>0.280555555555556</c:v>
                </c:pt>
                <c:pt idx="405">
                  <c:v>0.28125</c:v>
                </c:pt>
                <c:pt idx="406">
                  <c:v>0.281944444444444</c:v>
                </c:pt>
                <c:pt idx="407">
                  <c:v>0.28263888888888899</c:v>
                </c:pt>
                <c:pt idx="408">
                  <c:v>0.28333333333333299</c:v>
                </c:pt>
                <c:pt idx="409">
                  <c:v>0.28402777777777799</c:v>
                </c:pt>
                <c:pt idx="410">
                  <c:v>0.28472222222222199</c:v>
                </c:pt>
                <c:pt idx="411">
                  <c:v>0.28541666666666698</c:v>
                </c:pt>
                <c:pt idx="412">
                  <c:v>0.28611111111111098</c:v>
                </c:pt>
                <c:pt idx="413">
                  <c:v>0.28680555555555598</c:v>
                </c:pt>
                <c:pt idx="414">
                  <c:v>0.28749999999999998</c:v>
                </c:pt>
                <c:pt idx="415">
                  <c:v>0.28819444444444398</c:v>
                </c:pt>
                <c:pt idx="416">
                  <c:v>0.28888888888888897</c:v>
                </c:pt>
                <c:pt idx="417">
                  <c:v>0.28958333333333303</c:v>
                </c:pt>
                <c:pt idx="418">
                  <c:v>0.29027777777777802</c:v>
                </c:pt>
                <c:pt idx="419">
                  <c:v>0.29097222222222202</c:v>
                </c:pt>
                <c:pt idx="420">
                  <c:v>0.29166666666666702</c:v>
                </c:pt>
                <c:pt idx="421">
                  <c:v>0.29236111111111102</c:v>
                </c:pt>
                <c:pt idx="422">
                  <c:v>0.29305555555555601</c:v>
                </c:pt>
                <c:pt idx="423">
                  <c:v>0.29375000000000001</c:v>
                </c:pt>
                <c:pt idx="424">
                  <c:v>0.29444444444444401</c:v>
                </c:pt>
                <c:pt idx="425">
                  <c:v>0.29513888888888901</c:v>
                </c:pt>
                <c:pt idx="426">
                  <c:v>0.295833333333333</c:v>
                </c:pt>
                <c:pt idx="427">
                  <c:v>0.296527777777778</c:v>
                </c:pt>
                <c:pt idx="428">
                  <c:v>0.297222222222222</c:v>
                </c:pt>
                <c:pt idx="429">
                  <c:v>0.297916666666667</c:v>
                </c:pt>
                <c:pt idx="430">
                  <c:v>0.29861111111111099</c:v>
                </c:pt>
                <c:pt idx="431">
                  <c:v>0.29930555555555599</c:v>
                </c:pt>
                <c:pt idx="432">
                  <c:v>0.3</c:v>
                </c:pt>
                <c:pt idx="433">
                  <c:v>0.30069444444444399</c:v>
                </c:pt>
                <c:pt idx="434">
                  <c:v>0.30138888888888898</c:v>
                </c:pt>
                <c:pt idx="435">
                  <c:v>0.30208333333333298</c:v>
                </c:pt>
                <c:pt idx="436">
                  <c:v>0.30277777777777798</c:v>
                </c:pt>
                <c:pt idx="437">
                  <c:v>0.30347222222222198</c:v>
                </c:pt>
                <c:pt idx="438">
                  <c:v>0.30416666666666697</c:v>
                </c:pt>
                <c:pt idx="439">
                  <c:v>0.30486111111111103</c:v>
                </c:pt>
                <c:pt idx="440">
                  <c:v>0.30555555555555602</c:v>
                </c:pt>
                <c:pt idx="441">
                  <c:v>0.30625000000000002</c:v>
                </c:pt>
                <c:pt idx="442">
                  <c:v>0.30694444444444402</c:v>
                </c:pt>
                <c:pt idx="443">
                  <c:v>0.30763888888888902</c:v>
                </c:pt>
                <c:pt idx="444">
                  <c:v>0.30833333333333302</c:v>
                </c:pt>
                <c:pt idx="445">
                  <c:v>0.30902777777777801</c:v>
                </c:pt>
                <c:pt idx="446">
                  <c:v>0.30972222222222201</c:v>
                </c:pt>
                <c:pt idx="447">
                  <c:v>0.31041666666666701</c:v>
                </c:pt>
                <c:pt idx="448">
                  <c:v>0.31111111111111101</c:v>
                </c:pt>
                <c:pt idx="449">
                  <c:v>0.311805555555556</c:v>
                </c:pt>
                <c:pt idx="450">
                  <c:v>0.3125</c:v>
                </c:pt>
                <c:pt idx="451">
                  <c:v>0.313194444444444</c:v>
                </c:pt>
                <c:pt idx="452">
                  <c:v>0.31388888888888899</c:v>
                </c:pt>
                <c:pt idx="453">
                  <c:v>0.31458333333333299</c:v>
                </c:pt>
                <c:pt idx="454">
                  <c:v>0.31527777777777799</c:v>
                </c:pt>
                <c:pt idx="455">
                  <c:v>0.31597222222222199</c:v>
                </c:pt>
                <c:pt idx="456">
                  <c:v>0.31666666666666698</c:v>
                </c:pt>
                <c:pt idx="457">
                  <c:v>0.31736111111111098</c:v>
                </c:pt>
                <c:pt idx="458">
                  <c:v>0.31805555555555598</c:v>
                </c:pt>
                <c:pt idx="459">
                  <c:v>0.31874999999999998</c:v>
                </c:pt>
                <c:pt idx="460">
                  <c:v>0.31944444444444398</c:v>
                </c:pt>
                <c:pt idx="461">
                  <c:v>0.32013888888888897</c:v>
                </c:pt>
                <c:pt idx="462">
                  <c:v>0.32083333333333303</c:v>
                </c:pt>
                <c:pt idx="463">
                  <c:v>0.32152777777777802</c:v>
                </c:pt>
                <c:pt idx="464">
                  <c:v>0.32222222222222202</c:v>
                </c:pt>
                <c:pt idx="465">
                  <c:v>0.32291666666666702</c:v>
                </c:pt>
                <c:pt idx="466">
                  <c:v>0.32361111111111102</c:v>
                </c:pt>
                <c:pt idx="467">
                  <c:v>0.32430555555555601</c:v>
                </c:pt>
                <c:pt idx="468">
                  <c:v>0.32500000000000001</c:v>
                </c:pt>
                <c:pt idx="469">
                  <c:v>0.32569444444444401</c:v>
                </c:pt>
                <c:pt idx="470">
                  <c:v>0.32638888888888901</c:v>
                </c:pt>
                <c:pt idx="471">
                  <c:v>0.327083333333333</c:v>
                </c:pt>
                <c:pt idx="472">
                  <c:v>0.327777777777778</c:v>
                </c:pt>
                <c:pt idx="473">
                  <c:v>0.328472222222222</c:v>
                </c:pt>
                <c:pt idx="474">
                  <c:v>0.329166666666667</c:v>
                </c:pt>
                <c:pt idx="475">
                  <c:v>0.32986111111111099</c:v>
                </c:pt>
                <c:pt idx="476">
                  <c:v>0.33055555555555599</c:v>
                </c:pt>
                <c:pt idx="477">
                  <c:v>0.33124999999999999</c:v>
                </c:pt>
                <c:pt idx="478">
                  <c:v>0.33194444444444399</c:v>
                </c:pt>
                <c:pt idx="479">
                  <c:v>0.33263888888888898</c:v>
                </c:pt>
                <c:pt idx="480">
                  <c:v>0.33333333333333298</c:v>
                </c:pt>
                <c:pt idx="481">
                  <c:v>0.33402777777777798</c:v>
                </c:pt>
                <c:pt idx="482">
                  <c:v>0.33472222222222198</c:v>
                </c:pt>
                <c:pt idx="483">
                  <c:v>0.33541666666666697</c:v>
                </c:pt>
                <c:pt idx="484">
                  <c:v>0.33611111111111103</c:v>
                </c:pt>
                <c:pt idx="485">
                  <c:v>0.33680555555555602</c:v>
                </c:pt>
                <c:pt idx="486">
                  <c:v>0.33750000000000002</c:v>
                </c:pt>
                <c:pt idx="487">
                  <c:v>0.33819444444444402</c:v>
                </c:pt>
                <c:pt idx="488">
                  <c:v>0.33888888888888902</c:v>
                </c:pt>
                <c:pt idx="489">
                  <c:v>0.33958333333333302</c:v>
                </c:pt>
                <c:pt idx="490">
                  <c:v>0.34027777777777801</c:v>
                </c:pt>
                <c:pt idx="491">
                  <c:v>0.34097222222222201</c:v>
                </c:pt>
                <c:pt idx="492">
                  <c:v>0.34166666666666701</c:v>
                </c:pt>
                <c:pt idx="493">
                  <c:v>0.34236111111111101</c:v>
                </c:pt>
                <c:pt idx="494">
                  <c:v>0.343055555555556</c:v>
                </c:pt>
                <c:pt idx="495">
                  <c:v>0.34375</c:v>
                </c:pt>
                <c:pt idx="496">
                  <c:v>0.344444444444444</c:v>
                </c:pt>
                <c:pt idx="497">
                  <c:v>0.34513888888888899</c:v>
                </c:pt>
                <c:pt idx="498">
                  <c:v>0.34583333333333299</c:v>
                </c:pt>
                <c:pt idx="499">
                  <c:v>0.34652777777777799</c:v>
                </c:pt>
                <c:pt idx="500">
                  <c:v>0.34722222222222199</c:v>
                </c:pt>
                <c:pt idx="501">
                  <c:v>0.34791666666666698</c:v>
                </c:pt>
                <c:pt idx="502">
                  <c:v>0.34861111111111098</c:v>
                </c:pt>
                <c:pt idx="503">
                  <c:v>0.34930555555555598</c:v>
                </c:pt>
                <c:pt idx="504">
                  <c:v>0.35</c:v>
                </c:pt>
                <c:pt idx="505">
                  <c:v>0.35069444444444398</c:v>
                </c:pt>
                <c:pt idx="506">
                  <c:v>0.35138888888888897</c:v>
                </c:pt>
                <c:pt idx="507">
                  <c:v>0.35208333333333303</c:v>
                </c:pt>
                <c:pt idx="508">
                  <c:v>0.35277777777777802</c:v>
                </c:pt>
                <c:pt idx="509">
                  <c:v>0.35347222222222202</c:v>
                </c:pt>
                <c:pt idx="510">
                  <c:v>0.35416666666666702</c:v>
                </c:pt>
                <c:pt idx="511">
                  <c:v>0.35486111111111102</c:v>
                </c:pt>
                <c:pt idx="512">
                  <c:v>0.35555555555555601</c:v>
                </c:pt>
                <c:pt idx="513">
                  <c:v>0.35625000000000001</c:v>
                </c:pt>
                <c:pt idx="514">
                  <c:v>0.35694444444444401</c:v>
                </c:pt>
                <c:pt idx="515">
                  <c:v>0.35763888888888901</c:v>
                </c:pt>
                <c:pt idx="516">
                  <c:v>0.358333333333333</c:v>
                </c:pt>
                <c:pt idx="517">
                  <c:v>0.359027777777778</c:v>
                </c:pt>
                <c:pt idx="518">
                  <c:v>0.359722222222222</c:v>
                </c:pt>
                <c:pt idx="519">
                  <c:v>0.360416666666667</c:v>
                </c:pt>
                <c:pt idx="520">
                  <c:v>0.36111111111111099</c:v>
                </c:pt>
                <c:pt idx="521">
                  <c:v>0.36180555555555599</c:v>
                </c:pt>
                <c:pt idx="522">
                  <c:v>0.36249999999999999</c:v>
                </c:pt>
                <c:pt idx="523">
                  <c:v>0.36319444444444399</c:v>
                </c:pt>
                <c:pt idx="524">
                  <c:v>0.36388888888888898</c:v>
                </c:pt>
                <c:pt idx="525">
                  <c:v>0.36458333333333298</c:v>
                </c:pt>
                <c:pt idx="526">
                  <c:v>0.36527777777777798</c:v>
                </c:pt>
                <c:pt idx="527">
                  <c:v>0.36597222222222198</c:v>
                </c:pt>
                <c:pt idx="528">
                  <c:v>0.36666666666666697</c:v>
                </c:pt>
                <c:pt idx="529">
                  <c:v>0.36736111111111103</c:v>
                </c:pt>
                <c:pt idx="530">
                  <c:v>0.36805555555555602</c:v>
                </c:pt>
                <c:pt idx="531">
                  <c:v>0.36875000000000002</c:v>
                </c:pt>
                <c:pt idx="532">
                  <c:v>0.36944444444444402</c:v>
                </c:pt>
                <c:pt idx="533">
                  <c:v>0.37013888888888902</c:v>
                </c:pt>
                <c:pt idx="534">
                  <c:v>0.37083333333333302</c:v>
                </c:pt>
                <c:pt idx="535">
                  <c:v>0.37152777777777801</c:v>
                </c:pt>
                <c:pt idx="536">
                  <c:v>0.37222222222222201</c:v>
                </c:pt>
                <c:pt idx="537">
                  <c:v>0.37291666666666701</c:v>
                </c:pt>
                <c:pt idx="538">
                  <c:v>0.37361111111111101</c:v>
                </c:pt>
                <c:pt idx="539">
                  <c:v>0.374305555555556</c:v>
                </c:pt>
                <c:pt idx="540">
                  <c:v>0.375</c:v>
                </c:pt>
                <c:pt idx="541">
                  <c:v>0.375694444444444</c:v>
                </c:pt>
                <c:pt idx="542">
                  <c:v>0.37638888888888899</c:v>
                </c:pt>
                <c:pt idx="543">
                  <c:v>0.37708333333333299</c:v>
                </c:pt>
                <c:pt idx="544">
                  <c:v>0.37777777777777799</c:v>
                </c:pt>
                <c:pt idx="545">
                  <c:v>0.37847222222222199</c:v>
                </c:pt>
                <c:pt idx="546">
                  <c:v>0.37916666666666698</c:v>
                </c:pt>
                <c:pt idx="547">
                  <c:v>0.37986111111111098</c:v>
                </c:pt>
                <c:pt idx="548">
                  <c:v>0.38055555555555598</c:v>
                </c:pt>
                <c:pt idx="549">
                  <c:v>0.38124999999999998</c:v>
                </c:pt>
                <c:pt idx="550">
                  <c:v>0.38194444444444398</c:v>
                </c:pt>
                <c:pt idx="551">
                  <c:v>0.38263888888888897</c:v>
                </c:pt>
                <c:pt idx="552">
                  <c:v>0.38333333333333303</c:v>
                </c:pt>
                <c:pt idx="553">
                  <c:v>0.38402777777777802</c:v>
                </c:pt>
                <c:pt idx="554">
                  <c:v>0.38472222222222202</c:v>
                </c:pt>
                <c:pt idx="555">
                  <c:v>0.38541666666666702</c:v>
                </c:pt>
                <c:pt idx="556">
                  <c:v>0.38611111111111102</c:v>
                </c:pt>
                <c:pt idx="557">
                  <c:v>0.38680555555555601</c:v>
                </c:pt>
                <c:pt idx="558">
                  <c:v>0.38750000000000001</c:v>
                </c:pt>
                <c:pt idx="559">
                  <c:v>0.38819444444444401</c:v>
                </c:pt>
                <c:pt idx="560">
                  <c:v>0.38888888888888901</c:v>
                </c:pt>
                <c:pt idx="561">
                  <c:v>0.389583333333333</c:v>
                </c:pt>
                <c:pt idx="562">
                  <c:v>0.390277777777778</c:v>
                </c:pt>
                <c:pt idx="563">
                  <c:v>0.390972222222222</c:v>
                </c:pt>
                <c:pt idx="564">
                  <c:v>0.391666666666667</c:v>
                </c:pt>
                <c:pt idx="565">
                  <c:v>0.39236111111111099</c:v>
                </c:pt>
                <c:pt idx="566">
                  <c:v>0.39305555555555599</c:v>
                </c:pt>
                <c:pt idx="567">
                  <c:v>0.39374999999999999</c:v>
                </c:pt>
                <c:pt idx="568">
                  <c:v>0.39444444444444399</c:v>
                </c:pt>
                <c:pt idx="569">
                  <c:v>0.39513888888888898</c:v>
                </c:pt>
                <c:pt idx="570">
                  <c:v>0.39583333333333298</c:v>
                </c:pt>
                <c:pt idx="571">
                  <c:v>0.39652777777777798</c:v>
                </c:pt>
                <c:pt idx="572">
                  <c:v>0.39722222222222198</c:v>
                </c:pt>
                <c:pt idx="573">
                  <c:v>0.39791666666666697</c:v>
                </c:pt>
                <c:pt idx="574">
                  <c:v>0.39861111111111103</c:v>
                </c:pt>
                <c:pt idx="575">
                  <c:v>0.39930555555555602</c:v>
                </c:pt>
                <c:pt idx="576">
                  <c:v>0.4</c:v>
                </c:pt>
                <c:pt idx="577">
                  <c:v>0.40069444444444402</c:v>
                </c:pt>
                <c:pt idx="578">
                  <c:v>0.40138888888888902</c:v>
                </c:pt>
                <c:pt idx="579">
                  <c:v>0.40208333333333302</c:v>
                </c:pt>
                <c:pt idx="580">
                  <c:v>0.40277777777777801</c:v>
                </c:pt>
                <c:pt idx="581">
                  <c:v>0.40347222222222201</c:v>
                </c:pt>
                <c:pt idx="582">
                  <c:v>0.40416666666666701</c:v>
                </c:pt>
                <c:pt idx="583">
                  <c:v>0.40486111111111101</c:v>
                </c:pt>
                <c:pt idx="584">
                  <c:v>0.405555555555556</c:v>
                </c:pt>
                <c:pt idx="585">
                  <c:v>0.40625</c:v>
                </c:pt>
                <c:pt idx="586">
                  <c:v>0.406944444444444</c:v>
                </c:pt>
                <c:pt idx="587">
                  <c:v>0.40763888888888899</c:v>
                </c:pt>
                <c:pt idx="588">
                  <c:v>0.40833333333333299</c:v>
                </c:pt>
                <c:pt idx="589">
                  <c:v>0.40902777777777799</c:v>
                </c:pt>
                <c:pt idx="590">
                  <c:v>0.40972222222222199</c:v>
                </c:pt>
                <c:pt idx="591">
                  <c:v>0.41041666666666698</c:v>
                </c:pt>
                <c:pt idx="592">
                  <c:v>0.41111111111111098</c:v>
                </c:pt>
                <c:pt idx="593">
                  <c:v>0.41180555555555598</c:v>
                </c:pt>
                <c:pt idx="594">
                  <c:v>0.41249999999999998</c:v>
                </c:pt>
                <c:pt idx="595">
                  <c:v>0.41319444444444398</c:v>
                </c:pt>
                <c:pt idx="596">
                  <c:v>0.41388888888888897</c:v>
                </c:pt>
                <c:pt idx="597">
                  <c:v>0.41458333333333303</c:v>
                </c:pt>
                <c:pt idx="598">
                  <c:v>0.41527777777777802</c:v>
                </c:pt>
                <c:pt idx="599">
                  <c:v>0.41597222222222202</c:v>
                </c:pt>
                <c:pt idx="600">
                  <c:v>0.41666666666666702</c:v>
                </c:pt>
                <c:pt idx="601">
                  <c:v>0.41736111111111102</c:v>
                </c:pt>
                <c:pt idx="602">
                  <c:v>0.41805555555555601</c:v>
                </c:pt>
                <c:pt idx="603">
                  <c:v>0.41875000000000001</c:v>
                </c:pt>
                <c:pt idx="604">
                  <c:v>0.41944444444444401</c:v>
                </c:pt>
                <c:pt idx="605">
                  <c:v>0.42013888888888901</c:v>
                </c:pt>
                <c:pt idx="606">
                  <c:v>0.420833333333333</c:v>
                </c:pt>
                <c:pt idx="607">
                  <c:v>0.421527777777778</c:v>
                </c:pt>
                <c:pt idx="608">
                  <c:v>0.422222222222222</c:v>
                </c:pt>
                <c:pt idx="609">
                  <c:v>0.422916666666667</c:v>
                </c:pt>
                <c:pt idx="610">
                  <c:v>0.42361111111111099</c:v>
                </c:pt>
                <c:pt idx="611">
                  <c:v>0.42430555555555599</c:v>
                </c:pt>
                <c:pt idx="612">
                  <c:v>0.42499999999999999</c:v>
                </c:pt>
                <c:pt idx="613">
                  <c:v>0.42569444444444399</c:v>
                </c:pt>
                <c:pt idx="614">
                  <c:v>0.42638888888888898</c:v>
                </c:pt>
                <c:pt idx="615">
                  <c:v>0.42708333333333298</c:v>
                </c:pt>
                <c:pt idx="616">
                  <c:v>0.42777777777777798</c:v>
                </c:pt>
                <c:pt idx="617">
                  <c:v>0.42847222222222198</c:v>
                </c:pt>
                <c:pt idx="618">
                  <c:v>0.42916666666666697</c:v>
                </c:pt>
                <c:pt idx="619">
                  <c:v>0.42986111111111103</c:v>
                </c:pt>
                <c:pt idx="620">
                  <c:v>0.43055555555555602</c:v>
                </c:pt>
                <c:pt idx="621">
                  <c:v>0.43125000000000002</c:v>
                </c:pt>
                <c:pt idx="622">
                  <c:v>0.43194444444444402</c:v>
                </c:pt>
                <c:pt idx="623">
                  <c:v>0.43263888888888902</c:v>
                </c:pt>
                <c:pt idx="624">
                  <c:v>0.43333333333333302</c:v>
                </c:pt>
                <c:pt idx="625">
                  <c:v>0.43402777777777801</c:v>
                </c:pt>
                <c:pt idx="626">
                  <c:v>0.43472222222222201</c:v>
                </c:pt>
                <c:pt idx="627">
                  <c:v>0.43541666666666701</c:v>
                </c:pt>
                <c:pt idx="628">
                  <c:v>0.43611111111111101</c:v>
                </c:pt>
                <c:pt idx="629">
                  <c:v>0.436805555555556</c:v>
                </c:pt>
                <c:pt idx="630">
                  <c:v>0.4375</c:v>
                </c:pt>
                <c:pt idx="631">
                  <c:v>0.438194444444444</c:v>
                </c:pt>
                <c:pt idx="632">
                  <c:v>0.43888888888888899</c:v>
                </c:pt>
                <c:pt idx="633">
                  <c:v>0.43958333333333299</c:v>
                </c:pt>
                <c:pt idx="634">
                  <c:v>0.44027777777777799</c:v>
                </c:pt>
                <c:pt idx="635">
                  <c:v>0.44097222222222199</c:v>
                </c:pt>
                <c:pt idx="636">
                  <c:v>0.44166666666666698</c:v>
                </c:pt>
                <c:pt idx="637">
                  <c:v>0.44236111111111098</c:v>
                </c:pt>
                <c:pt idx="638">
                  <c:v>0.44305555555555598</c:v>
                </c:pt>
                <c:pt idx="639">
                  <c:v>0.44374999999999998</c:v>
                </c:pt>
                <c:pt idx="640">
                  <c:v>0.44444444444444398</c:v>
                </c:pt>
                <c:pt idx="641">
                  <c:v>0.44513888888888897</c:v>
                </c:pt>
                <c:pt idx="642">
                  <c:v>0.44583333333333303</c:v>
                </c:pt>
                <c:pt idx="643">
                  <c:v>0.44652777777777802</c:v>
                </c:pt>
                <c:pt idx="644">
                  <c:v>0.44722222222222202</c:v>
                </c:pt>
                <c:pt idx="645">
                  <c:v>0.44791666666666702</c:v>
                </c:pt>
                <c:pt idx="646">
                  <c:v>0.44861111111111102</c:v>
                </c:pt>
                <c:pt idx="647">
                  <c:v>0.44930555555555601</c:v>
                </c:pt>
                <c:pt idx="648">
                  <c:v>0.45</c:v>
                </c:pt>
                <c:pt idx="649">
                  <c:v>0.45069444444444401</c:v>
                </c:pt>
                <c:pt idx="650">
                  <c:v>0.45138888888888901</c:v>
                </c:pt>
                <c:pt idx="651">
                  <c:v>0.452083333333333</c:v>
                </c:pt>
                <c:pt idx="652">
                  <c:v>0.452777777777778</c:v>
                </c:pt>
                <c:pt idx="653">
                  <c:v>0.453472222222222</c:v>
                </c:pt>
                <c:pt idx="654">
                  <c:v>0.454166666666667</c:v>
                </c:pt>
                <c:pt idx="655">
                  <c:v>0.45486111111111099</c:v>
                </c:pt>
                <c:pt idx="656">
                  <c:v>0.45555555555555599</c:v>
                </c:pt>
                <c:pt idx="657">
                  <c:v>0.45624999999999999</c:v>
                </c:pt>
                <c:pt idx="658">
                  <c:v>0.45694444444444399</c:v>
                </c:pt>
                <c:pt idx="659">
                  <c:v>0.45763888888888898</c:v>
                </c:pt>
                <c:pt idx="660">
                  <c:v>0.45833333333333298</c:v>
                </c:pt>
                <c:pt idx="661">
                  <c:v>0.45902777777777798</c:v>
                </c:pt>
                <c:pt idx="662">
                  <c:v>0.45972222222222198</c:v>
                </c:pt>
                <c:pt idx="663">
                  <c:v>0.46041666666666697</c:v>
                </c:pt>
                <c:pt idx="664">
                  <c:v>0.46111111111111103</c:v>
                </c:pt>
                <c:pt idx="665">
                  <c:v>0.46180555555555602</c:v>
                </c:pt>
                <c:pt idx="666">
                  <c:v>0.46250000000000002</c:v>
                </c:pt>
                <c:pt idx="667">
                  <c:v>0.46319444444444402</c:v>
                </c:pt>
                <c:pt idx="668">
                  <c:v>0.46388888888888902</c:v>
                </c:pt>
                <c:pt idx="669">
                  <c:v>0.46458333333333302</c:v>
                </c:pt>
                <c:pt idx="670">
                  <c:v>0.46527777777777801</c:v>
                </c:pt>
                <c:pt idx="671">
                  <c:v>0.46597222222222201</c:v>
                </c:pt>
                <c:pt idx="672">
                  <c:v>0.46666666666666701</c:v>
                </c:pt>
                <c:pt idx="673">
                  <c:v>0.46736111111111101</c:v>
                </c:pt>
                <c:pt idx="674">
                  <c:v>0.468055555555556</c:v>
                </c:pt>
                <c:pt idx="675">
                  <c:v>0.46875</c:v>
                </c:pt>
                <c:pt idx="676">
                  <c:v>0.469444444444444</c:v>
                </c:pt>
                <c:pt idx="677">
                  <c:v>0.47013888888888899</c:v>
                </c:pt>
                <c:pt idx="678">
                  <c:v>0.47083333333333299</c:v>
                </c:pt>
                <c:pt idx="679">
                  <c:v>0.47152777777777799</c:v>
                </c:pt>
                <c:pt idx="680">
                  <c:v>0.47222222222222199</c:v>
                </c:pt>
                <c:pt idx="681">
                  <c:v>0.47291666666666698</c:v>
                </c:pt>
                <c:pt idx="682">
                  <c:v>0.47361111111111098</c:v>
                </c:pt>
                <c:pt idx="683">
                  <c:v>0.47430555555555598</c:v>
                </c:pt>
                <c:pt idx="684">
                  <c:v>0.47499999999999998</c:v>
                </c:pt>
                <c:pt idx="685">
                  <c:v>0.47569444444444398</c:v>
                </c:pt>
                <c:pt idx="686">
                  <c:v>0.47638888888888897</c:v>
                </c:pt>
                <c:pt idx="687">
                  <c:v>0.47708333333333303</c:v>
                </c:pt>
                <c:pt idx="688">
                  <c:v>0.47777777777777802</c:v>
                </c:pt>
                <c:pt idx="689">
                  <c:v>0.47847222222222202</c:v>
                </c:pt>
                <c:pt idx="690">
                  <c:v>0.47916666666666702</c:v>
                </c:pt>
                <c:pt idx="691">
                  <c:v>0.47986111111111102</c:v>
                </c:pt>
                <c:pt idx="692">
                  <c:v>0.48055555555555601</c:v>
                </c:pt>
                <c:pt idx="693">
                  <c:v>0.48125000000000001</c:v>
                </c:pt>
                <c:pt idx="694">
                  <c:v>0.48194444444444401</c:v>
                </c:pt>
                <c:pt idx="695">
                  <c:v>0.48263888888888901</c:v>
                </c:pt>
                <c:pt idx="696">
                  <c:v>0.483333333333333</c:v>
                </c:pt>
                <c:pt idx="697">
                  <c:v>0.484027777777778</c:v>
                </c:pt>
                <c:pt idx="698">
                  <c:v>0.484722222222222</c:v>
                </c:pt>
                <c:pt idx="699">
                  <c:v>0.485416666666667</c:v>
                </c:pt>
                <c:pt idx="700">
                  <c:v>0.48611111111111099</c:v>
                </c:pt>
                <c:pt idx="701">
                  <c:v>0.48680555555555599</c:v>
                </c:pt>
                <c:pt idx="702">
                  <c:v>0.48749999999999999</c:v>
                </c:pt>
                <c:pt idx="703">
                  <c:v>0.48819444444444399</c:v>
                </c:pt>
                <c:pt idx="704">
                  <c:v>0.48888888888888898</c:v>
                </c:pt>
                <c:pt idx="705">
                  <c:v>0.48958333333333298</c:v>
                </c:pt>
                <c:pt idx="706">
                  <c:v>0.49027777777777798</c:v>
                </c:pt>
                <c:pt idx="707">
                  <c:v>0.49097222222222198</c:v>
                </c:pt>
                <c:pt idx="708">
                  <c:v>0.49166666666666697</c:v>
                </c:pt>
                <c:pt idx="709">
                  <c:v>0.49236111111111103</c:v>
                </c:pt>
                <c:pt idx="710">
                  <c:v>0.49305555555555602</c:v>
                </c:pt>
                <c:pt idx="711">
                  <c:v>0.49375000000000002</c:v>
                </c:pt>
                <c:pt idx="712">
                  <c:v>0.49444444444444402</c:v>
                </c:pt>
                <c:pt idx="713">
                  <c:v>0.49513888888888902</c:v>
                </c:pt>
                <c:pt idx="714">
                  <c:v>0.49583333333333302</c:v>
                </c:pt>
                <c:pt idx="715">
                  <c:v>0.49652777777777801</c:v>
                </c:pt>
                <c:pt idx="716">
                  <c:v>0.49722222222222201</c:v>
                </c:pt>
                <c:pt idx="717">
                  <c:v>0.49791666666666701</c:v>
                </c:pt>
                <c:pt idx="718">
                  <c:v>0.49861111111111101</c:v>
                </c:pt>
                <c:pt idx="719">
                  <c:v>0.499305555555556</c:v>
                </c:pt>
                <c:pt idx="720">
                  <c:v>0.5</c:v>
                </c:pt>
                <c:pt idx="721">
                  <c:v>0.500694444444444</c:v>
                </c:pt>
                <c:pt idx="722">
                  <c:v>0.50138888888888899</c:v>
                </c:pt>
                <c:pt idx="723">
                  <c:v>0.50208333333333299</c:v>
                </c:pt>
                <c:pt idx="724">
                  <c:v>0.50277777777777799</c:v>
                </c:pt>
                <c:pt idx="725">
                  <c:v>0.50347222222222199</c:v>
                </c:pt>
                <c:pt idx="726">
                  <c:v>0.50416666666666698</c:v>
                </c:pt>
                <c:pt idx="727">
                  <c:v>0.50486111111111098</c:v>
                </c:pt>
                <c:pt idx="728">
                  <c:v>0.50555555555555598</c:v>
                </c:pt>
                <c:pt idx="729">
                  <c:v>0.50624999999999998</c:v>
                </c:pt>
                <c:pt idx="730">
                  <c:v>0.50694444444444398</c:v>
                </c:pt>
                <c:pt idx="731">
                  <c:v>0.50763888888888897</c:v>
                </c:pt>
                <c:pt idx="732">
                  <c:v>0.50833333333333297</c:v>
                </c:pt>
                <c:pt idx="733">
                  <c:v>0.50902777777777797</c:v>
                </c:pt>
                <c:pt idx="734">
                  <c:v>0.50972222222222197</c:v>
                </c:pt>
                <c:pt idx="735">
                  <c:v>0.51041666666666696</c:v>
                </c:pt>
                <c:pt idx="736">
                  <c:v>0.51111111111111096</c:v>
                </c:pt>
                <c:pt idx="737">
                  <c:v>0.51180555555555596</c:v>
                </c:pt>
                <c:pt idx="738">
                  <c:v>0.51249999999999996</c:v>
                </c:pt>
                <c:pt idx="739">
                  <c:v>0.51319444444444495</c:v>
                </c:pt>
                <c:pt idx="740">
                  <c:v>0.51388888888888895</c:v>
                </c:pt>
                <c:pt idx="741">
                  <c:v>0.51458333333333295</c:v>
                </c:pt>
                <c:pt idx="742">
                  <c:v>0.51527777777777795</c:v>
                </c:pt>
                <c:pt idx="743">
                  <c:v>0.51597222222222205</c:v>
                </c:pt>
                <c:pt idx="744">
                  <c:v>0.51666666666666705</c:v>
                </c:pt>
                <c:pt idx="745">
                  <c:v>0.51736111111111105</c:v>
                </c:pt>
                <c:pt idx="746">
                  <c:v>0.51805555555555605</c:v>
                </c:pt>
                <c:pt idx="747">
                  <c:v>0.51875000000000004</c:v>
                </c:pt>
                <c:pt idx="748">
                  <c:v>0.51944444444444404</c:v>
                </c:pt>
                <c:pt idx="749">
                  <c:v>0.52013888888888904</c:v>
                </c:pt>
                <c:pt idx="750">
                  <c:v>0.52083333333333304</c:v>
                </c:pt>
                <c:pt idx="751">
                  <c:v>0.52152777777777803</c:v>
                </c:pt>
                <c:pt idx="752">
                  <c:v>0.52222222222222203</c:v>
                </c:pt>
                <c:pt idx="753">
                  <c:v>0.52291666666666703</c:v>
                </c:pt>
                <c:pt idx="754">
                  <c:v>0.52361111111111103</c:v>
                </c:pt>
                <c:pt idx="755">
                  <c:v>0.52430555555555602</c:v>
                </c:pt>
                <c:pt idx="756">
                  <c:v>0.52500000000000002</c:v>
                </c:pt>
                <c:pt idx="757">
                  <c:v>0.52569444444444402</c:v>
                </c:pt>
                <c:pt idx="758">
                  <c:v>0.52638888888888902</c:v>
                </c:pt>
                <c:pt idx="759">
                  <c:v>0.52708333333333302</c:v>
                </c:pt>
                <c:pt idx="760">
                  <c:v>0.52777777777777801</c:v>
                </c:pt>
                <c:pt idx="761">
                  <c:v>0.52847222222222201</c:v>
                </c:pt>
                <c:pt idx="762">
                  <c:v>0.52916666666666701</c:v>
                </c:pt>
                <c:pt idx="763">
                  <c:v>0.52986111111111101</c:v>
                </c:pt>
                <c:pt idx="764">
                  <c:v>0.530555555555556</c:v>
                </c:pt>
                <c:pt idx="765">
                  <c:v>0.53125</c:v>
                </c:pt>
                <c:pt idx="766">
                  <c:v>0.531944444444444</c:v>
                </c:pt>
                <c:pt idx="767">
                  <c:v>0.53263888888888899</c:v>
                </c:pt>
                <c:pt idx="768">
                  <c:v>0.53333333333333299</c:v>
                </c:pt>
                <c:pt idx="769">
                  <c:v>0.53402777777777799</c:v>
                </c:pt>
                <c:pt idx="770">
                  <c:v>0.53472222222222199</c:v>
                </c:pt>
                <c:pt idx="771">
                  <c:v>0.53541666666666698</c:v>
                </c:pt>
                <c:pt idx="772">
                  <c:v>0.53611111111111098</c:v>
                </c:pt>
                <c:pt idx="773">
                  <c:v>0.53680555555555598</c:v>
                </c:pt>
                <c:pt idx="774">
                  <c:v>0.53749999999999998</c:v>
                </c:pt>
                <c:pt idx="775">
                  <c:v>0.53819444444444398</c:v>
                </c:pt>
                <c:pt idx="776">
                  <c:v>0.53888888888888897</c:v>
                </c:pt>
                <c:pt idx="777">
                  <c:v>0.53958333333333297</c:v>
                </c:pt>
                <c:pt idx="778">
                  <c:v>0.54027777777777797</c:v>
                </c:pt>
                <c:pt idx="779">
                  <c:v>0.54097222222222197</c:v>
                </c:pt>
                <c:pt idx="780">
                  <c:v>0.54166666666666696</c:v>
                </c:pt>
                <c:pt idx="781">
                  <c:v>0.54236111111111096</c:v>
                </c:pt>
                <c:pt idx="782">
                  <c:v>0.54305555555555596</c:v>
                </c:pt>
                <c:pt idx="783">
                  <c:v>0.54374999999999996</c:v>
                </c:pt>
                <c:pt idx="784">
                  <c:v>0.54444444444444495</c:v>
                </c:pt>
                <c:pt idx="785">
                  <c:v>0.54513888888888895</c:v>
                </c:pt>
                <c:pt idx="786">
                  <c:v>0.54583333333333295</c:v>
                </c:pt>
                <c:pt idx="787">
                  <c:v>0.54652777777777795</c:v>
                </c:pt>
                <c:pt idx="788">
                  <c:v>0.54722222222222205</c:v>
                </c:pt>
                <c:pt idx="789">
                  <c:v>0.54791666666666705</c:v>
                </c:pt>
                <c:pt idx="790">
                  <c:v>0.54861111111111105</c:v>
                </c:pt>
                <c:pt idx="791">
                  <c:v>0.54930555555555605</c:v>
                </c:pt>
                <c:pt idx="792">
                  <c:v>0.55000000000000004</c:v>
                </c:pt>
                <c:pt idx="793">
                  <c:v>0.55069444444444404</c:v>
                </c:pt>
                <c:pt idx="794">
                  <c:v>0.55138888888888904</c:v>
                </c:pt>
                <c:pt idx="795">
                  <c:v>0.55208333333333304</c:v>
                </c:pt>
                <c:pt idx="796">
                  <c:v>0.55277777777777803</c:v>
                </c:pt>
                <c:pt idx="797">
                  <c:v>0.55347222222222203</c:v>
                </c:pt>
                <c:pt idx="798">
                  <c:v>0.55416666666666703</c:v>
                </c:pt>
                <c:pt idx="799">
                  <c:v>0.55486111111111103</c:v>
                </c:pt>
                <c:pt idx="800">
                  <c:v>0.55555555555555602</c:v>
                </c:pt>
                <c:pt idx="801">
                  <c:v>0.55625000000000002</c:v>
                </c:pt>
                <c:pt idx="802">
                  <c:v>0.55694444444444402</c:v>
                </c:pt>
                <c:pt idx="803">
                  <c:v>0.55763888888888902</c:v>
                </c:pt>
                <c:pt idx="804">
                  <c:v>0.55833333333333302</c:v>
                </c:pt>
                <c:pt idx="805">
                  <c:v>0.55902777777777801</c:v>
                </c:pt>
                <c:pt idx="806">
                  <c:v>0.55972222222222201</c:v>
                </c:pt>
                <c:pt idx="807">
                  <c:v>0.56041666666666701</c:v>
                </c:pt>
                <c:pt idx="808">
                  <c:v>0.56111111111111101</c:v>
                </c:pt>
                <c:pt idx="809">
                  <c:v>0.561805555555556</c:v>
                </c:pt>
                <c:pt idx="810">
                  <c:v>0.5625</c:v>
                </c:pt>
                <c:pt idx="811">
                  <c:v>0.563194444444444</c:v>
                </c:pt>
                <c:pt idx="812">
                  <c:v>0.56388888888888899</c:v>
                </c:pt>
                <c:pt idx="813">
                  <c:v>0.56458333333333299</c:v>
                </c:pt>
                <c:pt idx="814">
                  <c:v>0.56527777777777799</c:v>
                </c:pt>
                <c:pt idx="815">
                  <c:v>0.56597222222222199</c:v>
                </c:pt>
                <c:pt idx="816">
                  <c:v>0.56666666666666698</c:v>
                </c:pt>
                <c:pt idx="817">
                  <c:v>0.56736111111111098</c:v>
                </c:pt>
                <c:pt idx="818">
                  <c:v>0.56805555555555598</c:v>
                </c:pt>
                <c:pt idx="819">
                  <c:v>0.56874999999999998</c:v>
                </c:pt>
                <c:pt idx="820">
                  <c:v>0.56944444444444398</c:v>
                </c:pt>
                <c:pt idx="821">
                  <c:v>0.57013888888888897</c:v>
                </c:pt>
                <c:pt idx="822">
                  <c:v>0.57083333333333297</c:v>
                </c:pt>
                <c:pt idx="823">
                  <c:v>0.57152777777777797</c:v>
                </c:pt>
                <c:pt idx="824">
                  <c:v>0.57222222222222197</c:v>
                </c:pt>
                <c:pt idx="825">
                  <c:v>0.57291666666666696</c:v>
                </c:pt>
                <c:pt idx="826">
                  <c:v>0.57361111111111096</c:v>
                </c:pt>
                <c:pt idx="827">
                  <c:v>0.57430555555555596</c:v>
                </c:pt>
                <c:pt idx="828">
                  <c:v>0.57499999999999996</c:v>
                </c:pt>
                <c:pt idx="829">
                  <c:v>0.57569444444444495</c:v>
                </c:pt>
                <c:pt idx="830">
                  <c:v>0.57638888888888895</c:v>
                </c:pt>
                <c:pt idx="831">
                  <c:v>0.57708333333333295</c:v>
                </c:pt>
                <c:pt idx="832">
                  <c:v>0.57777777777777795</c:v>
                </c:pt>
                <c:pt idx="833">
                  <c:v>0.57847222222222205</c:v>
                </c:pt>
                <c:pt idx="834">
                  <c:v>0.57916666666666705</c:v>
                </c:pt>
                <c:pt idx="835">
                  <c:v>0.57986111111111105</c:v>
                </c:pt>
                <c:pt idx="836">
                  <c:v>0.58055555555555605</c:v>
                </c:pt>
                <c:pt idx="837">
                  <c:v>0.58125000000000004</c:v>
                </c:pt>
                <c:pt idx="838">
                  <c:v>0.58194444444444404</c:v>
                </c:pt>
                <c:pt idx="839">
                  <c:v>0.58263888888888904</c:v>
                </c:pt>
                <c:pt idx="840">
                  <c:v>0.58333333333333304</c:v>
                </c:pt>
                <c:pt idx="841">
                  <c:v>0.58402777777777803</c:v>
                </c:pt>
                <c:pt idx="842">
                  <c:v>0.58472222222222203</c:v>
                </c:pt>
                <c:pt idx="843">
                  <c:v>0.58541666666666703</c:v>
                </c:pt>
                <c:pt idx="844">
                  <c:v>0.58611111111111103</c:v>
                </c:pt>
                <c:pt idx="845">
                  <c:v>0.58680555555555602</c:v>
                </c:pt>
                <c:pt idx="846">
                  <c:v>0.58750000000000002</c:v>
                </c:pt>
                <c:pt idx="847">
                  <c:v>0.58819444444444402</c:v>
                </c:pt>
                <c:pt idx="848">
                  <c:v>0.58888888888888902</c:v>
                </c:pt>
                <c:pt idx="849">
                  <c:v>0.58958333333333302</c:v>
                </c:pt>
                <c:pt idx="850">
                  <c:v>0.59027777777777801</c:v>
                </c:pt>
                <c:pt idx="851">
                  <c:v>0.59097222222222201</c:v>
                </c:pt>
                <c:pt idx="852">
                  <c:v>0.59166666666666701</c:v>
                </c:pt>
                <c:pt idx="853">
                  <c:v>0.59236111111111101</c:v>
                </c:pt>
                <c:pt idx="854">
                  <c:v>0.593055555555556</c:v>
                </c:pt>
                <c:pt idx="855">
                  <c:v>0.59375</c:v>
                </c:pt>
                <c:pt idx="856">
                  <c:v>0.594444444444444</c:v>
                </c:pt>
                <c:pt idx="857">
                  <c:v>0.59513888888888899</c:v>
                </c:pt>
                <c:pt idx="858">
                  <c:v>0.59583333333333299</c:v>
                </c:pt>
                <c:pt idx="859">
                  <c:v>0.59652777777777799</c:v>
                </c:pt>
                <c:pt idx="860">
                  <c:v>0.59722222222222199</c:v>
                </c:pt>
                <c:pt idx="861">
                  <c:v>0.59791666666666698</c:v>
                </c:pt>
                <c:pt idx="862">
                  <c:v>0.59861111111111098</c:v>
                </c:pt>
                <c:pt idx="863">
                  <c:v>0.59930555555555598</c:v>
                </c:pt>
                <c:pt idx="864">
                  <c:v>0.6</c:v>
                </c:pt>
                <c:pt idx="865">
                  <c:v>0.60069444444444398</c:v>
                </c:pt>
                <c:pt idx="866">
                  <c:v>0.60138888888888897</c:v>
                </c:pt>
                <c:pt idx="867">
                  <c:v>0.60208333333333297</c:v>
                </c:pt>
                <c:pt idx="868">
                  <c:v>0.60277777777777797</c:v>
                </c:pt>
                <c:pt idx="869">
                  <c:v>0.60347222222222197</c:v>
                </c:pt>
                <c:pt idx="870">
                  <c:v>0.60416666666666696</c:v>
                </c:pt>
                <c:pt idx="871">
                  <c:v>0.60486111111111096</c:v>
                </c:pt>
                <c:pt idx="872">
                  <c:v>0.60555555555555596</c:v>
                </c:pt>
                <c:pt idx="873">
                  <c:v>0.60624999999999996</c:v>
                </c:pt>
                <c:pt idx="874">
                  <c:v>0.60694444444444495</c:v>
                </c:pt>
                <c:pt idx="875">
                  <c:v>0.60763888888888895</c:v>
                </c:pt>
                <c:pt idx="876">
                  <c:v>0.60833333333333295</c:v>
                </c:pt>
                <c:pt idx="877">
                  <c:v>0.60902777777777795</c:v>
                </c:pt>
                <c:pt idx="878">
                  <c:v>0.60972222222222205</c:v>
                </c:pt>
                <c:pt idx="879">
                  <c:v>0.61041666666666705</c:v>
                </c:pt>
                <c:pt idx="880">
                  <c:v>0.61111111111111105</c:v>
                </c:pt>
                <c:pt idx="881">
                  <c:v>0.61180555555555605</c:v>
                </c:pt>
                <c:pt idx="882">
                  <c:v>0.61250000000000004</c:v>
                </c:pt>
                <c:pt idx="883">
                  <c:v>0.61319444444444404</c:v>
                </c:pt>
                <c:pt idx="884">
                  <c:v>0.61388888888888904</c:v>
                </c:pt>
                <c:pt idx="885">
                  <c:v>0.61458333333333304</c:v>
                </c:pt>
                <c:pt idx="886">
                  <c:v>0.61527777777777803</c:v>
                </c:pt>
                <c:pt idx="887">
                  <c:v>0.61597222222222203</c:v>
                </c:pt>
                <c:pt idx="888">
                  <c:v>0.61666666666666703</c:v>
                </c:pt>
                <c:pt idx="889">
                  <c:v>0.61736111111111103</c:v>
                </c:pt>
                <c:pt idx="890">
                  <c:v>0.61805555555555602</c:v>
                </c:pt>
                <c:pt idx="891">
                  <c:v>0.61875000000000002</c:v>
                </c:pt>
                <c:pt idx="892">
                  <c:v>0.61944444444444402</c:v>
                </c:pt>
                <c:pt idx="893">
                  <c:v>0.62013888888888902</c:v>
                </c:pt>
                <c:pt idx="894">
                  <c:v>0.62083333333333302</c:v>
                </c:pt>
                <c:pt idx="895">
                  <c:v>0.62152777777777801</c:v>
                </c:pt>
                <c:pt idx="896">
                  <c:v>0.62222222222222201</c:v>
                </c:pt>
                <c:pt idx="897">
                  <c:v>0.62291666666666701</c:v>
                </c:pt>
                <c:pt idx="898">
                  <c:v>0.62361111111111101</c:v>
                </c:pt>
                <c:pt idx="899">
                  <c:v>0.624305555555556</c:v>
                </c:pt>
                <c:pt idx="900">
                  <c:v>0.625</c:v>
                </c:pt>
                <c:pt idx="901">
                  <c:v>0.625694444444444</c:v>
                </c:pt>
                <c:pt idx="902">
                  <c:v>0.62638888888888899</c:v>
                </c:pt>
                <c:pt idx="903">
                  <c:v>0.62708333333333299</c:v>
                </c:pt>
                <c:pt idx="904">
                  <c:v>0.62777777777777799</c:v>
                </c:pt>
                <c:pt idx="905">
                  <c:v>0.62847222222222199</c:v>
                </c:pt>
                <c:pt idx="906">
                  <c:v>0.62916666666666698</c:v>
                </c:pt>
                <c:pt idx="907">
                  <c:v>0.62986111111111098</c:v>
                </c:pt>
                <c:pt idx="908">
                  <c:v>0.63055555555555598</c:v>
                </c:pt>
                <c:pt idx="909">
                  <c:v>0.63124999999999998</c:v>
                </c:pt>
                <c:pt idx="910">
                  <c:v>0.63194444444444398</c:v>
                </c:pt>
                <c:pt idx="911">
                  <c:v>0.63263888888888897</c:v>
                </c:pt>
                <c:pt idx="912">
                  <c:v>0.63333333333333297</c:v>
                </c:pt>
                <c:pt idx="913">
                  <c:v>0.63402777777777797</c:v>
                </c:pt>
                <c:pt idx="914">
                  <c:v>0.63472222222222197</c:v>
                </c:pt>
                <c:pt idx="915">
                  <c:v>0.63541666666666696</c:v>
                </c:pt>
                <c:pt idx="916">
                  <c:v>0.63611111111111096</c:v>
                </c:pt>
                <c:pt idx="917">
                  <c:v>0.63680555555555596</c:v>
                </c:pt>
                <c:pt idx="918">
                  <c:v>0.63749999999999996</c:v>
                </c:pt>
                <c:pt idx="919">
                  <c:v>0.63819444444444495</c:v>
                </c:pt>
                <c:pt idx="920">
                  <c:v>0.63888888888888895</c:v>
                </c:pt>
                <c:pt idx="921">
                  <c:v>0.63958333333333295</c:v>
                </c:pt>
                <c:pt idx="922">
                  <c:v>0.64027777777777795</c:v>
                </c:pt>
                <c:pt idx="923">
                  <c:v>0.64097222222222205</c:v>
                </c:pt>
                <c:pt idx="924">
                  <c:v>0.64166666666666705</c:v>
                </c:pt>
                <c:pt idx="925">
                  <c:v>0.64236111111111105</c:v>
                </c:pt>
                <c:pt idx="926">
                  <c:v>0.64305555555555605</c:v>
                </c:pt>
                <c:pt idx="927">
                  <c:v>0.64375000000000004</c:v>
                </c:pt>
                <c:pt idx="928">
                  <c:v>0.64444444444444404</c:v>
                </c:pt>
                <c:pt idx="929">
                  <c:v>0.64513888888888904</c:v>
                </c:pt>
                <c:pt idx="930">
                  <c:v>0.64583333333333304</c:v>
                </c:pt>
                <c:pt idx="931">
                  <c:v>0.64652777777777803</c:v>
                </c:pt>
                <c:pt idx="932">
                  <c:v>0.64722222222222203</c:v>
                </c:pt>
                <c:pt idx="933">
                  <c:v>0.64791666666666703</c:v>
                </c:pt>
                <c:pt idx="934">
                  <c:v>0.64861111111111103</c:v>
                </c:pt>
                <c:pt idx="935">
                  <c:v>0.64930555555555602</c:v>
                </c:pt>
                <c:pt idx="936">
                  <c:v>0.65</c:v>
                </c:pt>
                <c:pt idx="937">
                  <c:v>0.65069444444444402</c:v>
                </c:pt>
                <c:pt idx="938">
                  <c:v>0.65138888888888902</c:v>
                </c:pt>
                <c:pt idx="939">
                  <c:v>0.65208333333333302</c:v>
                </c:pt>
                <c:pt idx="940">
                  <c:v>0.65277777777777801</c:v>
                </c:pt>
                <c:pt idx="941">
                  <c:v>0.65347222222222201</c:v>
                </c:pt>
                <c:pt idx="942">
                  <c:v>0.65416666666666701</c:v>
                </c:pt>
                <c:pt idx="943">
                  <c:v>0.65486111111111101</c:v>
                </c:pt>
                <c:pt idx="944">
                  <c:v>0.655555555555556</c:v>
                </c:pt>
                <c:pt idx="945">
                  <c:v>0.65625</c:v>
                </c:pt>
                <c:pt idx="946">
                  <c:v>0.656944444444444</c:v>
                </c:pt>
                <c:pt idx="947">
                  <c:v>0.65763888888888899</c:v>
                </c:pt>
                <c:pt idx="948">
                  <c:v>0.65833333333333299</c:v>
                </c:pt>
                <c:pt idx="949">
                  <c:v>0.65902777777777799</c:v>
                </c:pt>
                <c:pt idx="950">
                  <c:v>0.65972222222222199</c:v>
                </c:pt>
                <c:pt idx="951">
                  <c:v>0.66041666666666698</c:v>
                </c:pt>
                <c:pt idx="952">
                  <c:v>0.66111111111111098</c:v>
                </c:pt>
                <c:pt idx="953">
                  <c:v>0.66180555555555598</c:v>
                </c:pt>
                <c:pt idx="954">
                  <c:v>0.66249999999999998</c:v>
                </c:pt>
                <c:pt idx="955">
                  <c:v>0.66319444444444398</c:v>
                </c:pt>
                <c:pt idx="956">
                  <c:v>0.66388888888888897</c:v>
                </c:pt>
                <c:pt idx="957">
                  <c:v>0.66458333333333297</c:v>
                </c:pt>
                <c:pt idx="958">
                  <c:v>0.66527777777777797</c:v>
                </c:pt>
                <c:pt idx="959">
                  <c:v>0.66597222222222197</c:v>
                </c:pt>
                <c:pt idx="960">
                  <c:v>0.66666666666666696</c:v>
                </c:pt>
                <c:pt idx="961">
                  <c:v>0.66736111111111096</c:v>
                </c:pt>
                <c:pt idx="962">
                  <c:v>0.66805555555555596</c:v>
                </c:pt>
                <c:pt idx="963">
                  <c:v>0.66874999999999996</c:v>
                </c:pt>
                <c:pt idx="964">
                  <c:v>0.66944444444444495</c:v>
                </c:pt>
                <c:pt idx="965">
                  <c:v>0.67013888888888895</c:v>
                </c:pt>
                <c:pt idx="966">
                  <c:v>0.67083333333333295</c:v>
                </c:pt>
                <c:pt idx="967">
                  <c:v>0.67152777777777795</c:v>
                </c:pt>
                <c:pt idx="968">
                  <c:v>0.67222222222222205</c:v>
                </c:pt>
                <c:pt idx="969">
                  <c:v>0.67291666666666705</c:v>
                </c:pt>
                <c:pt idx="970">
                  <c:v>0.67361111111111105</c:v>
                </c:pt>
                <c:pt idx="971">
                  <c:v>0.67430555555555605</c:v>
                </c:pt>
                <c:pt idx="972">
                  <c:v>0.67500000000000004</c:v>
                </c:pt>
                <c:pt idx="973">
                  <c:v>0.67569444444444404</c:v>
                </c:pt>
                <c:pt idx="974">
                  <c:v>0.67638888888888904</c:v>
                </c:pt>
                <c:pt idx="975">
                  <c:v>0.67708333333333304</c:v>
                </c:pt>
                <c:pt idx="976">
                  <c:v>0.67777777777777803</c:v>
                </c:pt>
                <c:pt idx="977">
                  <c:v>0.67847222222222203</c:v>
                </c:pt>
                <c:pt idx="978">
                  <c:v>0.67916666666666703</c:v>
                </c:pt>
                <c:pt idx="979">
                  <c:v>0.67986111111111103</c:v>
                </c:pt>
                <c:pt idx="980">
                  <c:v>0.68055555555555602</c:v>
                </c:pt>
                <c:pt idx="981">
                  <c:v>0.68125000000000002</c:v>
                </c:pt>
                <c:pt idx="982">
                  <c:v>0.68194444444444402</c:v>
                </c:pt>
                <c:pt idx="983">
                  <c:v>0.68263888888888902</c:v>
                </c:pt>
                <c:pt idx="984">
                  <c:v>0.68333333333333302</c:v>
                </c:pt>
                <c:pt idx="985">
                  <c:v>0.68402777777777801</c:v>
                </c:pt>
                <c:pt idx="986">
                  <c:v>0.68472222222222201</c:v>
                </c:pt>
                <c:pt idx="987">
                  <c:v>0.68541666666666701</c:v>
                </c:pt>
                <c:pt idx="988">
                  <c:v>0.68611111111111101</c:v>
                </c:pt>
                <c:pt idx="989">
                  <c:v>0.686805555555556</c:v>
                </c:pt>
                <c:pt idx="990">
                  <c:v>0.6875</c:v>
                </c:pt>
                <c:pt idx="991">
                  <c:v>0.688194444444444</c:v>
                </c:pt>
                <c:pt idx="992">
                  <c:v>0.68888888888888899</c:v>
                </c:pt>
                <c:pt idx="993">
                  <c:v>0.68958333333333299</c:v>
                </c:pt>
                <c:pt idx="994">
                  <c:v>0.69027777777777799</c:v>
                </c:pt>
                <c:pt idx="995">
                  <c:v>0.69097222222222199</c:v>
                </c:pt>
                <c:pt idx="996">
                  <c:v>0.69166666666666698</c:v>
                </c:pt>
                <c:pt idx="997">
                  <c:v>0.69236111111111098</c:v>
                </c:pt>
                <c:pt idx="998">
                  <c:v>0.69305555555555598</c:v>
                </c:pt>
                <c:pt idx="999">
                  <c:v>0.69374999999999998</c:v>
                </c:pt>
                <c:pt idx="1000">
                  <c:v>0.69444444444444398</c:v>
                </c:pt>
                <c:pt idx="1001">
                  <c:v>0.69513888888888897</c:v>
                </c:pt>
                <c:pt idx="1002">
                  <c:v>0.69583333333333297</c:v>
                </c:pt>
                <c:pt idx="1003">
                  <c:v>0.69652777777777797</c:v>
                </c:pt>
                <c:pt idx="1004">
                  <c:v>0.69722222222222197</c:v>
                </c:pt>
                <c:pt idx="1005">
                  <c:v>0.69791666666666696</c:v>
                </c:pt>
                <c:pt idx="1006">
                  <c:v>0.69861111111111096</c:v>
                </c:pt>
                <c:pt idx="1007">
                  <c:v>0.69930555555555596</c:v>
                </c:pt>
                <c:pt idx="1008">
                  <c:v>0.7</c:v>
                </c:pt>
                <c:pt idx="1009">
                  <c:v>0.70069444444444495</c:v>
                </c:pt>
                <c:pt idx="1010">
                  <c:v>0.70138888888888895</c:v>
                </c:pt>
                <c:pt idx="1011">
                  <c:v>0.70208333333333295</c:v>
                </c:pt>
                <c:pt idx="1012">
                  <c:v>0.70277777777777795</c:v>
                </c:pt>
                <c:pt idx="1013">
                  <c:v>0.70347222222222205</c:v>
                </c:pt>
                <c:pt idx="1014">
                  <c:v>0.70416666666666705</c:v>
                </c:pt>
                <c:pt idx="1015">
                  <c:v>0.70486111111111105</c:v>
                </c:pt>
                <c:pt idx="1016">
                  <c:v>0.70555555555555605</c:v>
                </c:pt>
                <c:pt idx="1017">
                  <c:v>0.70625000000000004</c:v>
                </c:pt>
                <c:pt idx="1018">
                  <c:v>0.70694444444444404</c:v>
                </c:pt>
                <c:pt idx="1019">
                  <c:v>0.70763888888888904</c:v>
                </c:pt>
                <c:pt idx="1020">
                  <c:v>0.70833333333333304</c:v>
                </c:pt>
                <c:pt idx="1021">
                  <c:v>0.70902777777777803</c:v>
                </c:pt>
                <c:pt idx="1022">
                  <c:v>0.70972222222222203</c:v>
                </c:pt>
                <c:pt idx="1023">
                  <c:v>0.71041666666666703</c:v>
                </c:pt>
                <c:pt idx="1024">
                  <c:v>0.71111111111111103</c:v>
                </c:pt>
                <c:pt idx="1025">
                  <c:v>0.71180555555555602</c:v>
                </c:pt>
                <c:pt idx="1026">
                  <c:v>0.71250000000000002</c:v>
                </c:pt>
                <c:pt idx="1027">
                  <c:v>0.71319444444444402</c:v>
                </c:pt>
                <c:pt idx="1028">
                  <c:v>0.71388888888888902</c:v>
                </c:pt>
                <c:pt idx="1029">
                  <c:v>0.71458333333333302</c:v>
                </c:pt>
                <c:pt idx="1030">
                  <c:v>0.71527777777777801</c:v>
                </c:pt>
                <c:pt idx="1031">
                  <c:v>0.71597222222222201</c:v>
                </c:pt>
                <c:pt idx="1032">
                  <c:v>0.71666666666666701</c:v>
                </c:pt>
                <c:pt idx="1033">
                  <c:v>0.71736111111111101</c:v>
                </c:pt>
                <c:pt idx="1034">
                  <c:v>0.718055555555556</c:v>
                </c:pt>
                <c:pt idx="1035">
                  <c:v>0.71875</c:v>
                </c:pt>
                <c:pt idx="1036">
                  <c:v>0.719444444444444</c:v>
                </c:pt>
                <c:pt idx="1037">
                  <c:v>0.72013888888888899</c:v>
                </c:pt>
                <c:pt idx="1038">
                  <c:v>0.72083333333333299</c:v>
                </c:pt>
                <c:pt idx="1039">
                  <c:v>0.72152777777777799</c:v>
                </c:pt>
                <c:pt idx="1040">
                  <c:v>0.72222222222222199</c:v>
                </c:pt>
                <c:pt idx="1041">
                  <c:v>0.72291666666666698</c:v>
                </c:pt>
                <c:pt idx="1042">
                  <c:v>0.72361111111111098</c:v>
                </c:pt>
                <c:pt idx="1043">
                  <c:v>0.72430555555555598</c:v>
                </c:pt>
                <c:pt idx="1044">
                  <c:v>0.72499999999999998</c:v>
                </c:pt>
                <c:pt idx="1045">
                  <c:v>0.72569444444444398</c:v>
                </c:pt>
                <c:pt idx="1046">
                  <c:v>0.72638888888888897</c:v>
                </c:pt>
                <c:pt idx="1047">
                  <c:v>0.72708333333333297</c:v>
                </c:pt>
                <c:pt idx="1048">
                  <c:v>0.72777777777777797</c:v>
                </c:pt>
                <c:pt idx="1049">
                  <c:v>0.72847222222222197</c:v>
                </c:pt>
                <c:pt idx="1050">
                  <c:v>0.72916666666666696</c:v>
                </c:pt>
                <c:pt idx="1051">
                  <c:v>0.72986111111111096</c:v>
                </c:pt>
                <c:pt idx="1052">
                  <c:v>0.73055555555555596</c:v>
                </c:pt>
                <c:pt idx="1053">
                  <c:v>0.73124999999999996</c:v>
                </c:pt>
                <c:pt idx="1054">
                  <c:v>0.73194444444444495</c:v>
                </c:pt>
                <c:pt idx="1055">
                  <c:v>0.73263888888888895</c:v>
                </c:pt>
                <c:pt idx="1056">
                  <c:v>0.73333333333333295</c:v>
                </c:pt>
                <c:pt idx="1057">
                  <c:v>0.73402777777777795</c:v>
                </c:pt>
                <c:pt idx="1058">
                  <c:v>0.73472222222222205</c:v>
                </c:pt>
                <c:pt idx="1059">
                  <c:v>0.73541666666666705</c:v>
                </c:pt>
                <c:pt idx="1060">
                  <c:v>0.73611111111111105</c:v>
                </c:pt>
                <c:pt idx="1061">
                  <c:v>0.73680555555555605</c:v>
                </c:pt>
                <c:pt idx="1062">
                  <c:v>0.73750000000000004</c:v>
                </c:pt>
                <c:pt idx="1063">
                  <c:v>0.73819444444444404</c:v>
                </c:pt>
                <c:pt idx="1064">
                  <c:v>0.73888888888888904</c:v>
                </c:pt>
                <c:pt idx="1065">
                  <c:v>0.73958333333333304</c:v>
                </c:pt>
                <c:pt idx="1066">
                  <c:v>0.74027777777777803</c:v>
                </c:pt>
                <c:pt idx="1067">
                  <c:v>0.74097222222222203</c:v>
                </c:pt>
                <c:pt idx="1068">
                  <c:v>0.74166666666666703</c:v>
                </c:pt>
                <c:pt idx="1069">
                  <c:v>0.74236111111111103</c:v>
                </c:pt>
                <c:pt idx="1070">
                  <c:v>0.74305555555555602</c:v>
                </c:pt>
                <c:pt idx="1071">
                  <c:v>0.74375000000000002</c:v>
                </c:pt>
                <c:pt idx="1072">
                  <c:v>0.74444444444444402</c:v>
                </c:pt>
                <c:pt idx="1073">
                  <c:v>0.74513888888888902</c:v>
                </c:pt>
                <c:pt idx="1074">
                  <c:v>0.74583333333333302</c:v>
                </c:pt>
                <c:pt idx="1075">
                  <c:v>0.74652777777777801</c:v>
                </c:pt>
                <c:pt idx="1076">
                  <c:v>0.74722222222222201</c:v>
                </c:pt>
                <c:pt idx="1077">
                  <c:v>0.74791666666666701</c:v>
                </c:pt>
                <c:pt idx="1078">
                  <c:v>0.74861111111111101</c:v>
                </c:pt>
                <c:pt idx="1079">
                  <c:v>0.749305555555556</c:v>
                </c:pt>
                <c:pt idx="1080">
                  <c:v>0.75</c:v>
                </c:pt>
                <c:pt idx="1081">
                  <c:v>0.750694444444444</c:v>
                </c:pt>
                <c:pt idx="1082">
                  <c:v>0.75138888888888899</c:v>
                </c:pt>
                <c:pt idx="1083">
                  <c:v>0.75208333333333299</c:v>
                </c:pt>
                <c:pt idx="1084">
                  <c:v>0.75277777777777799</c:v>
                </c:pt>
                <c:pt idx="1085">
                  <c:v>0.75347222222222199</c:v>
                </c:pt>
                <c:pt idx="1086">
                  <c:v>0.75416666666666698</c:v>
                </c:pt>
                <c:pt idx="1087">
                  <c:v>0.75486111111111098</c:v>
                </c:pt>
                <c:pt idx="1088">
                  <c:v>0.75555555555555598</c:v>
                </c:pt>
                <c:pt idx="1089">
                  <c:v>0.75624999999999998</c:v>
                </c:pt>
                <c:pt idx="1090">
                  <c:v>0.75694444444444398</c:v>
                </c:pt>
                <c:pt idx="1091">
                  <c:v>0.75763888888888897</c:v>
                </c:pt>
                <c:pt idx="1092">
                  <c:v>0.75833333333333297</c:v>
                </c:pt>
                <c:pt idx="1093">
                  <c:v>0.75902777777777797</c:v>
                </c:pt>
                <c:pt idx="1094">
                  <c:v>0.75972222222222197</c:v>
                </c:pt>
                <c:pt idx="1095">
                  <c:v>0.76041666666666696</c:v>
                </c:pt>
                <c:pt idx="1096">
                  <c:v>0.76111111111111096</c:v>
                </c:pt>
                <c:pt idx="1097">
                  <c:v>0.76180555555555596</c:v>
                </c:pt>
                <c:pt idx="1098">
                  <c:v>0.76249999999999996</c:v>
                </c:pt>
                <c:pt idx="1099">
                  <c:v>0.76319444444444495</c:v>
                </c:pt>
                <c:pt idx="1100">
                  <c:v>0.76388888888888895</c:v>
                </c:pt>
                <c:pt idx="1101">
                  <c:v>0.76458333333333295</c:v>
                </c:pt>
                <c:pt idx="1102">
                  <c:v>0.76527777777777795</c:v>
                </c:pt>
                <c:pt idx="1103">
                  <c:v>0.76597222222222205</c:v>
                </c:pt>
                <c:pt idx="1104">
                  <c:v>0.76666666666666705</c:v>
                </c:pt>
                <c:pt idx="1105">
                  <c:v>0.76736111111111105</c:v>
                </c:pt>
                <c:pt idx="1106">
                  <c:v>0.76805555555555605</c:v>
                </c:pt>
                <c:pt idx="1107">
                  <c:v>0.76875000000000004</c:v>
                </c:pt>
                <c:pt idx="1108">
                  <c:v>0.76944444444444404</c:v>
                </c:pt>
                <c:pt idx="1109">
                  <c:v>0.77013888888888904</c:v>
                </c:pt>
                <c:pt idx="1110">
                  <c:v>0.77083333333333304</c:v>
                </c:pt>
                <c:pt idx="1111">
                  <c:v>0.77152777777777803</c:v>
                </c:pt>
                <c:pt idx="1112">
                  <c:v>0.77222222222222203</c:v>
                </c:pt>
                <c:pt idx="1113">
                  <c:v>0.77291666666666703</c:v>
                </c:pt>
                <c:pt idx="1114">
                  <c:v>0.77361111111111103</c:v>
                </c:pt>
                <c:pt idx="1115">
                  <c:v>0.77430555555555602</c:v>
                </c:pt>
                <c:pt idx="1116">
                  <c:v>0.77500000000000002</c:v>
                </c:pt>
                <c:pt idx="1117">
                  <c:v>0.77569444444444402</c:v>
                </c:pt>
                <c:pt idx="1118">
                  <c:v>0.77638888888888902</c:v>
                </c:pt>
                <c:pt idx="1119">
                  <c:v>0.77708333333333302</c:v>
                </c:pt>
                <c:pt idx="1120">
                  <c:v>0.77777777777777801</c:v>
                </c:pt>
                <c:pt idx="1121">
                  <c:v>0.77847222222222201</c:v>
                </c:pt>
                <c:pt idx="1122">
                  <c:v>0.77916666666666701</c:v>
                </c:pt>
                <c:pt idx="1123">
                  <c:v>0.77986111111111101</c:v>
                </c:pt>
                <c:pt idx="1124">
                  <c:v>0.780555555555556</c:v>
                </c:pt>
                <c:pt idx="1125">
                  <c:v>0.78125</c:v>
                </c:pt>
                <c:pt idx="1126">
                  <c:v>0.781944444444444</c:v>
                </c:pt>
                <c:pt idx="1127">
                  <c:v>0.78263888888888899</c:v>
                </c:pt>
                <c:pt idx="1128">
                  <c:v>0.78333333333333299</c:v>
                </c:pt>
                <c:pt idx="1129">
                  <c:v>0.78402777777777799</c:v>
                </c:pt>
                <c:pt idx="1130">
                  <c:v>0.78472222222222199</c:v>
                </c:pt>
                <c:pt idx="1131">
                  <c:v>0.78541666666666698</c:v>
                </c:pt>
                <c:pt idx="1132">
                  <c:v>0.78611111111111098</c:v>
                </c:pt>
                <c:pt idx="1133">
                  <c:v>0.78680555555555598</c:v>
                </c:pt>
                <c:pt idx="1134">
                  <c:v>0.78749999999999998</c:v>
                </c:pt>
                <c:pt idx="1135">
                  <c:v>0.78819444444444398</c:v>
                </c:pt>
                <c:pt idx="1136">
                  <c:v>0.78888888888888897</c:v>
                </c:pt>
                <c:pt idx="1137">
                  <c:v>0.78958333333333297</c:v>
                </c:pt>
                <c:pt idx="1138">
                  <c:v>0.79027777777777797</c:v>
                </c:pt>
                <c:pt idx="1139">
                  <c:v>0.79097222222222197</c:v>
                </c:pt>
                <c:pt idx="1140">
                  <c:v>0.79166666666666696</c:v>
                </c:pt>
                <c:pt idx="1141">
                  <c:v>0.79236111111111096</c:v>
                </c:pt>
                <c:pt idx="1142">
                  <c:v>0.79305555555555596</c:v>
                </c:pt>
                <c:pt idx="1143">
                  <c:v>0.79374999999999996</c:v>
                </c:pt>
                <c:pt idx="1144">
                  <c:v>0.79444444444444495</c:v>
                </c:pt>
                <c:pt idx="1145">
                  <c:v>0.79513888888888895</c:v>
                </c:pt>
                <c:pt idx="1146">
                  <c:v>0.79583333333333295</c:v>
                </c:pt>
                <c:pt idx="1147">
                  <c:v>0.79652777777777795</c:v>
                </c:pt>
                <c:pt idx="1148">
                  <c:v>0.79722222222222205</c:v>
                </c:pt>
                <c:pt idx="1149">
                  <c:v>0.79791666666666705</c:v>
                </c:pt>
                <c:pt idx="1150">
                  <c:v>0.79861111111111105</c:v>
                </c:pt>
                <c:pt idx="1151">
                  <c:v>0.79930555555555605</c:v>
                </c:pt>
                <c:pt idx="1152">
                  <c:v>0.8</c:v>
                </c:pt>
                <c:pt idx="1153">
                  <c:v>0.80069444444444404</c:v>
                </c:pt>
                <c:pt idx="1154">
                  <c:v>0.80138888888888904</c:v>
                </c:pt>
                <c:pt idx="1155">
                  <c:v>0.80208333333333304</c:v>
                </c:pt>
                <c:pt idx="1156">
                  <c:v>0.80277777777777803</c:v>
                </c:pt>
                <c:pt idx="1157">
                  <c:v>0.80347222222222203</c:v>
                </c:pt>
                <c:pt idx="1158">
                  <c:v>0.80416666666666703</c:v>
                </c:pt>
                <c:pt idx="1159">
                  <c:v>0.80486111111111103</c:v>
                </c:pt>
                <c:pt idx="1160">
                  <c:v>0.80555555555555602</c:v>
                </c:pt>
                <c:pt idx="1161">
                  <c:v>0.80625000000000002</c:v>
                </c:pt>
                <c:pt idx="1162">
                  <c:v>0.80694444444444402</c:v>
                </c:pt>
                <c:pt idx="1163">
                  <c:v>0.80763888888888902</c:v>
                </c:pt>
                <c:pt idx="1164">
                  <c:v>0.80833333333333302</c:v>
                </c:pt>
                <c:pt idx="1165">
                  <c:v>0.80902777777777801</c:v>
                </c:pt>
                <c:pt idx="1166">
                  <c:v>0.80972222222222201</c:v>
                </c:pt>
                <c:pt idx="1167">
                  <c:v>0.81041666666666701</c:v>
                </c:pt>
                <c:pt idx="1168">
                  <c:v>0.81111111111111101</c:v>
                </c:pt>
                <c:pt idx="1169">
                  <c:v>0.811805555555556</c:v>
                </c:pt>
                <c:pt idx="1170">
                  <c:v>0.8125</c:v>
                </c:pt>
                <c:pt idx="1171">
                  <c:v>0.813194444444444</c:v>
                </c:pt>
                <c:pt idx="1172">
                  <c:v>0.81388888888888899</c:v>
                </c:pt>
                <c:pt idx="1173">
                  <c:v>0.81458333333333299</c:v>
                </c:pt>
                <c:pt idx="1174">
                  <c:v>0.81527777777777799</c:v>
                </c:pt>
                <c:pt idx="1175">
                  <c:v>0.81597222222222199</c:v>
                </c:pt>
                <c:pt idx="1176">
                  <c:v>0.81666666666666698</c:v>
                </c:pt>
                <c:pt idx="1177">
                  <c:v>0.81736111111111098</c:v>
                </c:pt>
                <c:pt idx="1178">
                  <c:v>0.81805555555555598</c:v>
                </c:pt>
                <c:pt idx="1179">
                  <c:v>0.81874999999999998</c:v>
                </c:pt>
                <c:pt idx="1180">
                  <c:v>0.81944444444444497</c:v>
                </c:pt>
                <c:pt idx="1181">
                  <c:v>0.82013888888888897</c:v>
                </c:pt>
                <c:pt idx="1182">
                  <c:v>0.82083333333333297</c:v>
                </c:pt>
                <c:pt idx="1183">
                  <c:v>0.82152777777777797</c:v>
                </c:pt>
                <c:pt idx="1184">
                  <c:v>0.82222222222222197</c:v>
                </c:pt>
                <c:pt idx="1185">
                  <c:v>0.82291666666666696</c:v>
                </c:pt>
                <c:pt idx="1186">
                  <c:v>0.82361111111111096</c:v>
                </c:pt>
                <c:pt idx="1187">
                  <c:v>0.82430555555555596</c:v>
                </c:pt>
                <c:pt idx="1188">
                  <c:v>0.82499999999999996</c:v>
                </c:pt>
                <c:pt idx="1189">
                  <c:v>0.82569444444444495</c:v>
                </c:pt>
                <c:pt idx="1190">
                  <c:v>0.82638888888888895</c:v>
                </c:pt>
                <c:pt idx="1191">
                  <c:v>0.82708333333333295</c:v>
                </c:pt>
                <c:pt idx="1192">
                  <c:v>0.82777777777777795</c:v>
                </c:pt>
                <c:pt idx="1193">
                  <c:v>0.82847222222222205</c:v>
                </c:pt>
                <c:pt idx="1194">
                  <c:v>0.82916666666666705</c:v>
                </c:pt>
                <c:pt idx="1195">
                  <c:v>0.82986111111111105</c:v>
                </c:pt>
                <c:pt idx="1196">
                  <c:v>0.83055555555555605</c:v>
                </c:pt>
                <c:pt idx="1197">
                  <c:v>0.83125000000000004</c:v>
                </c:pt>
                <c:pt idx="1198">
                  <c:v>0.83194444444444404</c:v>
                </c:pt>
                <c:pt idx="1199">
                  <c:v>0.83263888888888904</c:v>
                </c:pt>
                <c:pt idx="1200">
                  <c:v>0.83333333333333304</c:v>
                </c:pt>
                <c:pt idx="1201">
                  <c:v>0.83402777777777803</c:v>
                </c:pt>
                <c:pt idx="1202">
                  <c:v>0.83472222222222203</c:v>
                </c:pt>
                <c:pt idx="1203">
                  <c:v>0.83541666666666703</c:v>
                </c:pt>
                <c:pt idx="1204">
                  <c:v>0.83611111111111103</c:v>
                </c:pt>
                <c:pt idx="1205">
                  <c:v>0.83680555555555602</c:v>
                </c:pt>
                <c:pt idx="1206">
                  <c:v>0.83750000000000002</c:v>
                </c:pt>
                <c:pt idx="1207">
                  <c:v>0.83819444444444402</c:v>
                </c:pt>
                <c:pt idx="1208">
                  <c:v>0.83888888888888902</c:v>
                </c:pt>
                <c:pt idx="1209">
                  <c:v>0.83958333333333302</c:v>
                </c:pt>
                <c:pt idx="1210">
                  <c:v>0.84027777777777801</c:v>
                </c:pt>
                <c:pt idx="1211">
                  <c:v>0.84097222222222201</c:v>
                </c:pt>
                <c:pt idx="1212">
                  <c:v>0.84166666666666701</c:v>
                </c:pt>
                <c:pt idx="1213">
                  <c:v>0.84236111111111101</c:v>
                </c:pt>
                <c:pt idx="1214">
                  <c:v>0.843055555555556</c:v>
                </c:pt>
                <c:pt idx="1215">
                  <c:v>0.84375</c:v>
                </c:pt>
                <c:pt idx="1216">
                  <c:v>0.844444444444444</c:v>
                </c:pt>
                <c:pt idx="1217">
                  <c:v>0.84513888888888899</c:v>
                </c:pt>
                <c:pt idx="1218">
                  <c:v>0.84583333333333299</c:v>
                </c:pt>
                <c:pt idx="1219">
                  <c:v>0.84652777777777799</c:v>
                </c:pt>
                <c:pt idx="1220">
                  <c:v>0.84722222222222199</c:v>
                </c:pt>
                <c:pt idx="1221">
                  <c:v>0.84791666666666698</c:v>
                </c:pt>
                <c:pt idx="1222">
                  <c:v>0.84861111111111098</c:v>
                </c:pt>
                <c:pt idx="1223">
                  <c:v>0.84930555555555598</c:v>
                </c:pt>
                <c:pt idx="1224">
                  <c:v>0.85</c:v>
                </c:pt>
                <c:pt idx="1225">
                  <c:v>0.85069444444444497</c:v>
                </c:pt>
                <c:pt idx="1226">
                  <c:v>0.85138888888888897</c:v>
                </c:pt>
                <c:pt idx="1227">
                  <c:v>0.85208333333333297</c:v>
                </c:pt>
                <c:pt idx="1228">
                  <c:v>0.85277777777777797</c:v>
                </c:pt>
                <c:pt idx="1229">
                  <c:v>0.85347222222222197</c:v>
                </c:pt>
                <c:pt idx="1230">
                  <c:v>0.85416666666666696</c:v>
                </c:pt>
                <c:pt idx="1231">
                  <c:v>0.85486111111111096</c:v>
                </c:pt>
                <c:pt idx="1232">
                  <c:v>0.85555555555555596</c:v>
                </c:pt>
                <c:pt idx="1233">
                  <c:v>0.85624999999999996</c:v>
                </c:pt>
                <c:pt idx="1234">
                  <c:v>0.85694444444444495</c:v>
                </c:pt>
                <c:pt idx="1235">
                  <c:v>0.85763888888888895</c:v>
                </c:pt>
                <c:pt idx="1236">
                  <c:v>0.85833333333333295</c:v>
                </c:pt>
                <c:pt idx="1237">
                  <c:v>0.85902777777777795</c:v>
                </c:pt>
                <c:pt idx="1238">
                  <c:v>0.85972222222222205</c:v>
                </c:pt>
                <c:pt idx="1239">
                  <c:v>0.86041666666666705</c:v>
                </c:pt>
                <c:pt idx="1240">
                  <c:v>0.86111111111111105</c:v>
                </c:pt>
                <c:pt idx="1241">
                  <c:v>0.86180555555555605</c:v>
                </c:pt>
                <c:pt idx="1242">
                  <c:v>0.86250000000000004</c:v>
                </c:pt>
                <c:pt idx="1243">
                  <c:v>0.86319444444444404</c:v>
                </c:pt>
                <c:pt idx="1244">
                  <c:v>0.86388888888888904</c:v>
                </c:pt>
                <c:pt idx="1245">
                  <c:v>0.86458333333333304</c:v>
                </c:pt>
                <c:pt idx="1246">
                  <c:v>0.86527777777777803</c:v>
                </c:pt>
                <c:pt idx="1247">
                  <c:v>0.86597222222222203</c:v>
                </c:pt>
                <c:pt idx="1248">
                  <c:v>0.86666666666666703</c:v>
                </c:pt>
                <c:pt idx="1249">
                  <c:v>0.86736111111111103</c:v>
                </c:pt>
                <c:pt idx="1250">
                  <c:v>0.86805555555555602</c:v>
                </c:pt>
                <c:pt idx="1251">
                  <c:v>0.86875000000000002</c:v>
                </c:pt>
                <c:pt idx="1252">
                  <c:v>0.86944444444444402</c:v>
                </c:pt>
                <c:pt idx="1253">
                  <c:v>0.87013888888888902</c:v>
                </c:pt>
                <c:pt idx="1254">
                  <c:v>0.87083333333333302</c:v>
                </c:pt>
                <c:pt idx="1255">
                  <c:v>0.87152777777777801</c:v>
                </c:pt>
                <c:pt idx="1256">
                  <c:v>0.87222222222222201</c:v>
                </c:pt>
                <c:pt idx="1257">
                  <c:v>0.87291666666666701</c:v>
                </c:pt>
                <c:pt idx="1258">
                  <c:v>0.87361111111111101</c:v>
                </c:pt>
                <c:pt idx="1259">
                  <c:v>0.874305555555556</c:v>
                </c:pt>
                <c:pt idx="1260">
                  <c:v>0.875</c:v>
                </c:pt>
                <c:pt idx="1261">
                  <c:v>0.875694444444444</c:v>
                </c:pt>
                <c:pt idx="1262">
                  <c:v>0.87638888888888899</c:v>
                </c:pt>
                <c:pt idx="1263">
                  <c:v>0.87708333333333299</c:v>
                </c:pt>
                <c:pt idx="1264">
                  <c:v>0.87777777777777799</c:v>
                </c:pt>
                <c:pt idx="1265">
                  <c:v>0.87847222222222199</c:v>
                </c:pt>
                <c:pt idx="1266">
                  <c:v>0.87916666666666698</c:v>
                </c:pt>
                <c:pt idx="1267">
                  <c:v>0.87986111111111098</c:v>
                </c:pt>
                <c:pt idx="1268">
                  <c:v>0.88055555555555598</c:v>
                </c:pt>
                <c:pt idx="1269">
                  <c:v>0.88124999999999998</c:v>
                </c:pt>
                <c:pt idx="1270">
                  <c:v>0.88194444444444497</c:v>
                </c:pt>
                <c:pt idx="1271">
                  <c:v>0.88263888888888897</c:v>
                </c:pt>
                <c:pt idx="1272">
                  <c:v>0.88333333333333297</c:v>
                </c:pt>
                <c:pt idx="1273">
                  <c:v>0.88402777777777797</c:v>
                </c:pt>
                <c:pt idx="1274">
                  <c:v>0.88472222222222197</c:v>
                </c:pt>
                <c:pt idx="1275">
                  <c:v>0.88541666666666696</c:v>
                </c:pt>
                <c:pt idx="1276">
                  <c:v>0.88611111111111096</c:v>
                </c:pt>
                <c:pt idx="1277">
                  <c:v>0.88680555555555596</c:v>
                </c:pt>
                <c:pt idx="1278">
                  <c:v>0.88749999999999996</c:v>
                </c:pt>
                <c:pt idx="1279">
                  <c:v>0.88819444444444495</c:v>
                </c:pt>
                <c:pt idx="1280">
                  <c:v>0.88888888888888895</c:v>
                </c:pt>
                <c:pt idx="1281">
                  <c:v>0.88958333333333295</c:v>
                </c:pt>
                <c:pt idx="1282">
                  <c:v>0.89027777777777795</c:v>
                </c:pt>
                <c:pt idx="1283">
                  <c:v>0.89097222222222205</c:v>
                </c:pt>
                <c:pt idx="1284">
                  <c:v>0.89166666666666705</c:v>
                </c:pt>
                <c:pt idx="1285">
                  <c:v>0.89236111111111105</c:v>
                </c:pt>
                <c:pt idx="1286">
                  <c:v>0.89305555555555605</c:v>
                </c:pt>
                <c:pt idx="1287">
                  <c:v>0.89375000000000004</c:v>
                </c:pt>
                <c:pt idx="1288">
                  <c:v>0.89444444444444404</c:v>
                </c:pt>
                <c:pt idx="1289">
                  <c:v>0.89513888888888904</c:v>
                </c:pt>
                <c:pt idx="1290">
                  <c:v>0.89583333333333304</c:v>
                </c:pt>
                <c:pt idx="1291">
                  <c:v>0.89652777777777803</c:v>
                </c:pt>
                <c:pt idx="1292">
                  <c:v>0.89722222222222203</c:v>
                </c:pt>
                <c:pt idx="1293">
                  <c:v>0.89791666666666703</c:v>
                </c:pt>
                <c:pt idx="1294">
                  <c:v>0.89861111111111103</c:v>
                </c:pt>
                <c:pt idx="1295">
                  <c:v>0.89930555555555602</c:v>
                </c:pt>
                <c:pt idx="1296">
                  <c:v>0.9</c:v>
                </c:pt>
                <c:pt idx="1297">
                  <c:v>0.90069444444444402</c:v>
                </c:pt>
                <c:pt idx="1298">
                  <c:v>0.90138888888888902</c:v>
                </c:pt>
                <c:pt idx="1299">
                  <c:v>0.90208333333333302</c:v>
                </c:pt>
                <c:pt idx="1300">
                  <c:v>0.90277777777777801</c:v>
                </c:pt>
                <c:pt idx="1301">
                  <c:v>0.90347222222222201</c:v>
                </c:pt>
                <c:pt idx="1302">
                  <c:v>0.90416666666666701</c:v>
                </c:pt>
                <c:pt idx="1303">
                  <c:v>0.90486111111111101</c:v>
                </c:pt>
                <c:pt idx="1304">
                  <c:v>0.905555555555556</c:v>
                </c:pt>
                <c:pt idx="1305">
                  <c:v>0.90625</c:v>
                </c:pt>
                <c:pt idx="1306">
                  <c:v>0.906944444444444</c:v>
                </c:pt>
                <c:pt idx="1307">
                  <c:v>0.90763888888888899</c:v>
                </c:pt>
                <c:pt idx="1308">
                  <c:v>0.90833333333333299</c:v>
                </c:pt>
                <c:pt idx="1309">
                  <c:v>0.90902777777777799</c:v>
                </c:pt>
                <c:pt idx="1310">
                  <c:v>0.90972222222222199</c:v>
                </c:pt>
                <c:pt idx="1311">
                  <c:v>0.91041666666666698</c:v>
                </c:pt>
                <c:pt idx="1312">
                  <c:v>0.91111111111111098</c:v>
                </c:pt>
                <c:pt idx="1313">
                  <c:v>0.91180555555555598</c:v>
                </c:pt>
                <c:pt idx="1314">
                  <c:v>0.91249999999999998</c:v>
                </c:pt>
                <c:pt idx="1315">
                  <c:v>0.91319444444444497</c:v>
                </c:pt>
                <c:pt idx="1316">
                  <c:v>0.91388888888888897</c:v>
                </c:pt>
                <c:pt idx="1317">
                  <c:v>0.91458333333333297</c:v>
                </c:pt>
                <c:pt idx="1318">
                  <c:v>0.91527777777777797</c:v>
                </c:pt>
                <c:pt idx="1319">
                  <c:v>0.91597222222222197</c:v>
                </c:pt>
                <c:pt idx="1320">
                  <c:v>0.91666666666666696</c:v>
                </c:pt>
                <c:pt idx="1321">
                  <c:v>0.91736111111111096</c:v>
                </c:pt>
                <c:pt idx="1322">
                  <c:v>0.91805555555555596</c:v>
                </c:pt>
                <c:pt idx="1323">
                  <c:v>0.91874999999999996</c:v>
                </c:pt>
                <c:pt idx="1324">
                  <c:v>0.91944444444444495</c:v>
                </c:pt>
                <c:pt idx="1325">
                  <c:v>0.92013888888888895</c:v>
                </c:pt>
                <c:pt idx="1326">
                  <c:v>0.92083333333333295</c:v>
                </c:pt>
                <c:pt idx="1327">
                  <c:v>0.92152777777777795</c:v>
                </c:pt>
                <c:pt idx="1328">
                  <c:v>0.92222222222222205</c:v>
                </c:pt>
                <c:pt idx="1329">
                  <c:v>0.92291666666666705</c:v>
                </c:pt>
                <c:pt idx="1330">
                  <c:v>0.92361111111111105</c:v>
                </c:pt>
                <c:pt idx="1331">
                  <c:v>0.92430555555555605</c:v>
                </c:pt>
                <c:pt idx="1332">
                  <c:v>0.92500000000000004</c:v>
                </c:pt>
                <c:pt idx="1333">
                  <c:v>0.92569444444444404</c:v>
                </c:pt>
                <c:pt idx="1334">
                  <c:v>0.92638888888888904</c:v>
                </c:pt>
                <c:pt idx="1335">
                  <c:v>0.92708333333333304</c:v>
                </c:pt>
                <c:pt idx="1336">
                  <c:v>0.92777777777777803</c:v>
                </c:pt>
                <c:pt idx="1337">
                  <c:v>0.92847222222222203</c:v>
                </c:pt>
                <c:pt idx="1338">
                  <c:v>0.92916666666666703</c:v>
                </c:pt>
                <c:pt idx="1339">
                  <c:v>0.92986111111111103</c:v>
                </c:pt>
                <c:pt idx="1340">
                  <c:v>0.93055555555555602</c:v>
                </c:pt>
                <c:pt idx="1341">
                  <c:v>0.93125000000000002</c:v>
                </c:pt>
                <c:pt idx="1342">
                  <c:v>0.93194444444444402</c:v>
                </c:pt>
                <c:pt idx="1343">
                  <c:v>0.93263888888888902</c:v>
                </c:pt>
                <c:pt idx="1344">
                  <c:v>0.93333333333333302</c:v>
                </c:pt>
                <c:pt idx="1345">
                  <c:v>0.93402777777777801</c:v>
                </c:pt>
                <c:pt idx="1346">
                  <c:v>0.93472222222222201</c:v>
                </c:pt>
                <c:pt idx="1347">
                  <c:v>0.93541666666666701</c:v>
                </c:pt>
                <c:pt idx="1348">
                  <c:v>0.93611111111111101</c:v>
                </c:pt>
                <c:pt idx="1349">
                  <c:v>0.936805555555556</c:v>
                </c:pt>
                <c:pt idx="1350">
                  <c:v>0.9375</c:v>
                </c:pt>
                <c:pt idx="1351">
                  <c:v>0.938194444444444</c:v>
                </c:pt>
                <c:pt idx="1352">
                  <c:v>0.93888888888888899</c:v>
                </c:pt>
                <c:pt idx="1353">
                  <c:v>0.93958333333333299</c:v>
                </c:pt>
                <c:pt idx="1354">
                  <c:v>0.94027777777777799</c:v>
                </c:pt>
                <c:pt idx="1355">
                  <c:v>0.94097222222222199</c:v>
                </c:pt>
                <c:pt idx="1356">
                  <c:v>0.94166666666666698</c:v>
                </c:pt>
                <c:pt idx="1357">
                  <c:v>0.94236111111111098</c:v>
                </c:pt>
                <c:pt idx="1358">
                  <c:v>0.94305555555555598</c:v>
                </c:pt>
                <c:pt idx="1359">
                  <c:v>0.94374999999999998</c:v>
                </c:pt>
                <c:pt idx="1360">
                  <c:v>0.94444444444444497</c:v>
                </c:pt>
                <c:pt idx="1361">
                  <c:v>0.94513888888888897</c:v>
                </c:pt>
                <c:pt idx="1362">
                  <c:v>0.94583333333333297</c:v>
                </c:pt>
                <c:pt idx="1363">
                  <c:v>0.94652777777777797</c:v>
                </c:pt>
                <c:pt idx="1364">
                  <c:v>0.94722222222222197</c:v>
                </c:pt>
                <c:pt idx="1365">
                  <c:v>0.94791666666666696</c:v>
                </c:pt>
                <c:pt idx="1366">
                  <c:v>0.94861111111111096</c:v>
                </c:pt>
                <c:pt idx="1367">
                  <c:v>0.94930555555555596</c:v>
                </c:pt>
                <c:pt idx="1368">
                  <c:v>0.95</c:v>
                </c:pt>
                <c:pt idx="1369">
                  <c:v>0.95069444444444495</c:v>
                </c:pt>
                <c:pt idx="1370">
                  <c:v>0.95138888888888895</c:v>
                </c:pt>
                <c:pt idx="1371">
                  <c:v>0.95208333333333295</c:v>
                </c:pt>
                <c:pt idx="1372">
                  <c:v>0.95277777777777795</c:v>
                </c:pt>
                <c:pt idx="1373">
                  <c:v>0.95347222222222205</c:v>
                </c:pt>
                <c:pt idx="1374">
                  <c:v>0.95416666666666705</c:v>
                </c:pt>
                <c:pt idx="1375">
                  <c:v>0.95486111111111105</c:v>
                </c:pt>
                <c:pt idx="1376">
                  <c:v>0.95555555555555605</c:v>
                </c:pt>
                <c:pt idx="1377">
                  <c:v>0.95625000000000004</c:v>
                </c:pt>
                <c:pt idx="1378">
                  <c:v>0.95694444444444404</c:v>
                </c:pt>
                <c:pt idx="1379">
                  <c:v>0.95763888888888904</c:v>
                </c:pt>
                <c:pt idx="1380">
                  <c:v>0.95833333333333304</c:v>
                </c:pt>
                <c:pt idx="1381">
                  <c:v>0.95902777777777803</c:v>
                </c:pt>
                <c:pt idx="1382">
                  <c:v>0.95972222222222203</c:v>
                </c:pt>
                <c:pt idx="1383">
                  <c:v>0.96041666666666703</c:v>
                </c:pt>
                <c:pt idx="1384">
                  <c:v>0.96111111111111103</c:v>
                </c:pt>
                <c:pt idx="1385">
                  <c:v>0.96180555555555602</c:v>
                </c:pt>
                <c:pt idx="1386">
                  <c:v>0.96250000000000002</c:v>
                </c:pt>
                <c:pt idx="1387">
                  <c:v>0.96319444444444402</c:v>
                </c:pt>
                <c:pt idx="1388">
                  <c:v>0.96388888888888902</c:v>
                </c:pt>
                <c:pt idx="1389">
                  <c:v>0.96458333333333302</c:v>
                </c:pt>
                <c:pt idx="1390">
                  <c:v>0.96527777777777801</c:v>
                </c:pt>
                <c:pt idx="1391">
                  <c:v>0.96597222222222201</c:v>
                </c:pt>
                <c:pt idx="1392">
                  <c:v>0.96666666666666701</c:v>
                </c:pt>
                <c:pt idx="1393">
                  <c:v>0.96736111111111101</c:v>
                </c:pt>
                <c:pt idx="1394">
                  <c:v>0.968055555555556</c:v>
                </c:pt>
                <c:pt idx="1395">
                  <c:v>0.96875</c:v>
                </c:pt>
                <c:pt idx="1396">
                  <c:v>0.969444444444444</c:v>
                </c:pt>
                <c:pt idx="1397">
                  <c:v>0.97013888888888899</c:v>
                </c:pt>
                <c:pt idx="1398">
                  <c:v>0.97083333333333299</c:v>
                </c:pt>
                <c:pt idx="1399">
                  <c:v>0.97152777777777799</c:v>
                </c:pt>
                <c:pt idx="1400">
                  <c:v>0.97222222222222199</c:v>
                </c:pt>
                <c:pt idx="1401">
                  <c:v>0.97291666666666698</c:v>
                </c:pt>
                <c:pt idx="1402">
                  <c:v>0.97361111111111098</c:v>
                </c:pt>
                <c:pt idx="1403">
                  <c:v>0.97430555555555598</c:v>
                </c:pt>
                <c:pt idx="1404">
                  <c:v>0.97499999999999998</c:v>
                </c:pt>
                <c:pt idx="1405">
                  <c:v>0.97569444444444497</c:v>
                </c:pt>
                <c:pt idx="1406">
                  <c:v>0.97638888888888897</c:v>
                </c:pt>
                <c:pt idx="1407">
                  <c:v>0.97708333333333297</c:v>
                </c:pt>
                <c:pt idx="1408">
                  <c:v>0.97777777777777797</c:v>
                </c:pt>
                <c:pt idx="1409">
                  <c:v>0.97847222222222197</c:v>
                </c:pt>
                <c:pt idx="1410">
                  <c:v>0.97916666666666696</c:v>
                </c:pt>
                <c:pt idx="1411">
                  <c:v>0.97986111111111096</c:v>
                </c:pt>
                <c:pt idx="1412">
                  <c:v>0.98055555555555596</c:v>
                </c:pt>
                <c:pt idx="1413">
                  <c:v>0.98124999999999996</c:v>
                </c:pt>
                <c:pt idx="1414">
                  <c:v>0.98194444444444495</c:v>
                </c:pt>
                <c:pt idx="1415">
                  <c:v>0.98263888888888895</c:v>
                </c:pt>
                <c:pt idx="1416">
                  <c:v>0.98333333333333295</c:v>
                </c:pt>
                <c:pt idx="1417">
                  <c:v>0.98402777777777795</c:v>
                </c:pt>
                <c:pt idx="1418">
                  <c:v>0.98472222222222205</c:v>
                </c:pt>
                <c:pt idx="1419">
                  <c:v>0.98541666666666705</c:v>
                </c:pt>
                <c:pt idx="1420">
                  <c:v>0.98611111111111105</c:v>
                </c:pt>
                <c:pt idx="1421">
                  <c:v>0.98680555555555605</c:v>
                </c:pt>
                <c:pt idx="1422">
                  <c:v>0.98750000000000004</c:v>
                </c:pt>
                <c:pt idx="1423">
                  <c:v>0.98819444444444404</c:v>
                </c:pt>
                <c:pt idx="1424">
                  <c:v>0.98888888888888904</c:v>
                </c:pt>
                <c:pt idx="1425">
                  <c:v>0.98958333333333304</c:v>
                </c:pt>
                <c:pt idx="1426">
                  <c:v>0.99027777777777803</c:v>
                </c:pt>
                <c:pt idx="1427">
                  <c:v>0.99097222222222203</c:v>
                </c:pt>
                <c:pt idx="1428">
                  <c:v>0.99166666666666703</c:v>
                </c:pt>
                <c:pt idx="1429">
                  <c:v>0.99236111111111103</c:v>
                </c:pt>
                <c:pt idx="1430">
                  <c:v>0.99305555555555602</c:v>
                </c:pt>
                <c:pt idx="1431">
                  <c:v>0.99375000000000002</c:v>
                </c:pt>
                <c:pt idx="1432">
                  <c:v>0.99444444444444402</c:v>
                </c:pt>
                <c:pt idx="1433">
                  <c:v>0.99513888888888902</c:v>
                </c:pt>
                <c:pt idx="1434">
                  <c:v>0.99583333333333302</c:v>
                </c:pt>
                <c:pt idx="1435">
                  <c:v>0.99652777777777801</c:v>
                </c:pt>
                <c:pt idx="1436">
                  <c:v>0.99722222222222201</c:v>
                </c:pt>
                <c:pt idx="1437">
                  <c:v>0.99791666666666701</c:v>
                </c:pt>
                <c:pt idx="1438">
                  <c:v>0.99861111111111101</c:v>
                </c:pt>
                <c:pt idx="1439">
                  <c:v>0.999305555555556</c:v>
                </c:pt>
              </c:numCache>
            </c:numRef>
          </c:cat>
          <c:val>
            <c:numRef>
              <c:f>Tabelle1!$C$2:$C$1441</c:f>
              <c:numCache>
                <c:formatCode>General</c:formatCode>
                <c:ptCount val="1440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  <c:pt idx="126">
                  <c:v>100</c:v>
                </c:pt>
                <c:pt idx="127">
                  <c:v>100</c:v>
                </c:pt>
                <c:pt idx="128">
                  <c:v>100</c:v>
                </c:pt>
                <c:pt idx="129">
                  <c:v>100</c:v>
                </c:pt>
                <c:pt idx="130">
                  <c:v>100</c:v>
                </c:pt>
                <c:pt idx="131">
                  <c:v>100</c:v>
                </c:pt>
                <c:pt idx="132">
                  <c:v>100</c:v>
                </c:pt>
                <c:pt idx="133">
                  <c:v>100</c:v>
                </c:pt>
                <c:pt idx="134">
                  <c:v>100</c:v>
                </c:pt>
                <c:pt idx="135">
                  <c:v>100</c:v>
                </c:pt>
                <c:pt idx="136">
                  <c:v>100</c:v>
                </c:pt>
                <c:pt idx="137">
                  <c:v>100</c:v>
                </c:pt>
                <c:pt idx="138">
                  <c:v>100</c:v>
                </c:pt>
                <c:pt idx="139">
                  <c:v>100</c:v>
                </c:pt>
                <c:pt idx="140">
                  <c:v>100</c:v>
                </c:pt>
                <c:pt idx="141">
                  <c:v>100</c:v>
                </c:pt>
                <c:pt idx="142">
                  <c:v>100</c:v>
                </c:pt>
                <c:pt idx="143">
                  <c:v>100</c:v>
                </c:pt>
                <c:pt idx="144">
                  <c:v>100</c:v>
                </c:pt>
                <c:pt idx="145">
                  <c:v>100</c:v>
                </c:pt>
                <c:pt idx="146">
                  <c:v>100</c:v>
                </c:pt>
                <c:pt idx="147">
                  <c:v>100</c:v>
                </c:pt>
                <c:pt idx="148">
                  <c:v>100</c:v>
                </c:pt>
                <c:pt idx="149">
                  <c:v>100</c:v>
                </c:pt>
                <c:pt idx="150">
                  <c:v>100</c:v>
                </c:pt>
                <c:pt idx="151">
                  <c:v>100</c:v>
                </c:pt>
                <c:pt idx="152">
                  <c:v>100</c:v>
                </c:pt>
                <c:pt idx="153">
                  <c:v>100</c:v>
                </c:pt>
                <c:pt idx="154">
                  <c:v>100</c:v>
                </c:pt>
                <c:pt idx="155">
                  <c:v>100</c:v>
                </c:pt>
                <c:pt idx="156">
                  <c:v>100</c:v>
                </c:pt>
                <c:pt idx="157">
                  <c:v>100</c:v>
                </c:pt>
                <c:pt idx="158">
                  <c:v>100</c:v>
                </c:pt>
                <c:pt idx="159">
                  <c:v>100</c:v>
                </c:pt>
                <c:pt idx="160">
                  <c:v>100</c:v>
                </c:pt>
                <c:pt idx="161">
                  <c:v>100</c:v>
                </c:pt>
                <c:pt idx="162">
                  <c:v>100</c:v>
                </c:pt>
                <c:pt idx="163">
                  <c:v>100</c:v>
                </c:pt>
                <c:pt idx="164">
                  <c:v>100</c:v>
                </c:pt>
                <c:pt idx="165">
                  <c:v>100</c:v>
                </c:pt>
                <c:pt idx="166">
                  <c:v>100</c:v>
                </c:pt>
                <c:pt idx="167">
                  <c:v>100</c:v>
                </c:pt>
                <c:pt idx="168">
                  <c:v>100</c:v>
                </c:pt>
                <c:pt idx="169">
                  <c:v>100</c:v>
                </c:pt>
                <c:pt idx="170">
                  <c:v>100</c:v>
                </c:pt>
                <c:pt idx="171">
                  <c:v>100</c:v>
                </c:pt>
                <c:pt idx="172">
                  <c:v>100</c:v>
                </c:pt>
                <c:pt idx="173">
                  <c:v>100</c:v>
                </c:pt>
                <c:pt idx="174">
                  <c:v>100</c:v>
                </c:pt>
                <c:pt idx="175">
                  <c:v>100</c:v>
                </c:pt>
                <c:pt idx="176">
                  <c:v>100</c:v>
                </c:pt>
                <c:pt idx="177">
                  <c:v>100</c:v>
                </c:pt>
                <c:pt idx="178">
                  <c:v>100</c:v>
                </c:pt>
                <c:pt idx="179">
                  <c:v>100</c:v>
                </c:pt>
                <c:pt idx="180">
                  <c:v>100</c:v>
                </c:pt>
                <c:pt idx="181">
                  <c:v>100</c:v>
                </c:pt>
                <c:pt idx="182">
                  <c:v>100</c:v>
                </c:pt>
                <c:pt idx="183">
                  <c:v>100</c:v>
                </c:pt>
                <c:pt idx="184">
                  <c:v>100</c:v>
                </c:pt>
                <c:pt idx="185">
                  <c:v>100</c:v>
                </c:pt>
                <c:pt idx="186">
                  <c:v>100</c:v>
                </c:pt>
                <c:pt idx="187">
                  <c:v>100</c:v>
                </c:pt>
                <c:pt idx="188">
                  <c:v>100</c:v>
                </c:pt>
                <c:pt idx="189">
                  <c:v>100</c:v>
                </c:pt>
                <c:pt idx="190">
                  <c:v>100</c:v>
                </c:pt>
                <c:pt idx="191">
                  <c:v>100</c:v>
                </c:pt>
                <c:pt idx="192">
                  <c:v>100</c:v>
                </c:pt>
                <c:pt idx="193">
                  <c:v>100</c:v>
                </c:pt>
                <c:pt idx="194">
                  <c:v>100</c:v>
                </c:pt>
                <c:pt idx="195">
                  <c:v>100</c:v>
                </c:pt>
                <c:pt idx="196">
                  <c:v>100</c:v>
                </c:pt>
                <c:pt idx="197">
                  <c:v>100</c:v>
                </c:pt>
                <c:pt idx="198">
                  <c:v>100</c:v>
                </c:pt>
                <c:pt idx="199">
                  <c:v>100</c:v>
                </c:pt>
                <c:pt idx="200">
                  <c:v>100</c:v>
                </c:pt>
                <c:pt idx="201">
                  <c:v>100</c:v>
                </c:pt>
                <c:pt idx="202">
                  <c:v>100</c:v>
                </c:pt>
                <c:pt idx="203">
                  <c:v>100</c:v>
                </c:pt>
                <c:pt idx="204">
                  <c:v>100</c:v>
                </c:pt>
                <c:pt idx="205">
                  <c:v>100</c:v>
                </c:pt>
                <c:pt idx="206">
                  <c:v>100</c:v>
                </c:pt>
                <c:pt idx="207">
                  <c:v>100</c:v>
                </c:pt>
                <c:pt idx="208">
                  <c:v>100</c:v>
                </c:pt>
                <c:pt idx="209">
                  <c:v>100</c:v>
                </c:pt>
                <c:pt idx="210">
                  <c:v>100</c:v>
                </c:pt>
                <c:pt idx="211">
                  <c:v>100</c:v>
                </c:pt>
                <c:pt idx="212">
                  <c:v>100</c:v>
                </c:pt>
                <c:pt idx="213">
                  <c:v>100</c:v>
                </c:pt>
                <c:pt idx="214">
                  <c:v>100</c:v>
                </c:pt>
                <c:pt idx="215">
                  <c:v>100</c:v>
                </c:pt>
                <c:pt idx="216">
                  <c:v>100</c:v>
                </c:pt>
                <c:pt idx="217">
                  <c:v>100</c:v>
                </c:pt>
                <c:pt idx="218">
                  <c:v>100</c:v>
                </c:pt>
                <c:pt idx="219">
                  <c:v>100</c:v>
                </c:pt>
                <c:pt idx="220">
                  <c:v>100</c:v>
                </c:pt>
                <c:pt idx="221">
                  <c:v>100</c:v>
                </c:pt>
                <c:pt idx="222">
                  <c:v>100</c:v>
                </c:pt>
                <c:pt idx="223">
                  <c:v>100</c:v>
                </c:pt>
                <c:pt idx="224">
                  <c:v>100</c:v>
                </c:pt>
                <c:pt idx="225">
                  <c:v>100</c:v>
                </c:pt>
                <c:pt idx="226">
                  <c:v>100</c:v>
                </c:pt>
                <c:pt idx="227">
                  <c:v>100</c:v>
                </c:pt>
                <c:pt idx="228">
                  <c:v>100</c:v>
                </c:pt>
                <c:pt idx="229">
                  <c:v>100</c:v>
                </c:pt>
                <c:pt idx="230">
                  <c:v>100</c:v>
                </c:pt>
                <c:pt idx="231">
                  <c:v>100</c:v>
                </c:pt>
                <c:pt idx="232">
                  <c:v>100</c:v>
                </c:pt>
                <c:pt idx="233">
                  <c:v>100</c:v>
                </c:pt>
                <c:pt idx="234">
                  <c:v>100</c:v>
                </c:pt>
                <c:pt idx="235">
                  <c:v>100</c:v>
                </c:pt>
                <c:pt idx="236">
                  <c:v>100</c:v>
                </c:pt>
                <c:pt idx="237">
                  <c:v>100</c:v>
                </c:pt>
                <c:pt idx="238">
                  <c:v>100</c:v>
                </c:pt>
                <c:pt idx="239">
                  <c:v>100</c:v>
                </c:pt>
                <c:pt idx="240">
                  <c:v>100</c:v>
                </c:pt>
                <c:pt idx="241">
                  <c:v>100</c:v>
                </c:pt>
                <c:pt idx="242">
                  <c:v>100</c:v>
                </c:pt>
                <c:pt idx="243">
                  <c:v>100</c:v>
                </c:pt>
                <c:pt idx="244">
                  <c:v>100</c:v>
                </c:pt>
                <c:pt idx="245">
                  <c:v>100</c:v>
                </c:pt>
                <c:pt idx="246">
                  <c:v>100</c:v>
                </c:pt>
                <c:pt idx="247">
                  <c:v>100</c:v>
                </c:pt>
                <c:pt idx="248">
                  <c:v>100</c:v>
                </c:pt>
                <c:pt idx="249">
                  <c:v>100</c:v>
                </c:pt>
                <c:pt idx="250">
                  <c:v>100</c:v>
                </c:pt>
                <c:pt idx="251">
                  <c:v>100</c:v>
                </c:pt>
                <c:pt idx="252">
                  <c:v>100</c:v>
                </c:pt>
                <c:pt idx="253">
                  <c:v>100</c:v>
                </c:pt>
                <c:pt idx="254">
                  <c:v>100</c:v>
                </c:pt>
                <c:pt idx="255">
                  <c:v>100</c:v>
                </c:pt>
                <c:pt idx="256">
                  <c:v>100</c:v>
                </c:pt>
                <c:pt idx="257">
                  <c:v>100</c:v>
                </c:pt>
                <c:pt idx="258">
                  <c:v>100</c:v>
                </c:pt>
                <c:pt idx="259">
                  <c:v>100</c:v>
                </c:pt>
                <c:pt idx="260">
                  <c:v>100</c:v>
                </c:pt>
                <c:pt idx="261">
                  <c:v>100</c:v>
                </c:pt>
                <c:pt idx="262">
                  <c:v>100</c:v>
                </c:pt>
                <c:pt idx="263">
                  <c:v>100</c:v>
                </c:pt>
                <c:pt idx="264">
                  <c:v>100</c:v>
                </c:pt>
                <c:pt idx="265">
                  <c:v>100</c:v>
                </c:pt>
                <c:pt idx="266">
                  <c:v>100</c:v>
                </c:pt>
                <c:pt idx="267">
                  <c:v>100</c:v>
                </c:pt>
                <c:pt idx="268">
                  <c:v>100</c:v>
                </c:pt>
                <c:pt idx="269">
                  <c:v>100</c:v>
                </c:pt>
                <c:pt idx="270">
                  <c:v>100</c:v>
                </c:pt>
                <c:pt idx="271">
                  <c:v>100</c:v>
                </c:pt>
                <c:pt idx="272">
                  <c:v>100</c:v>
                </c:pt>
                <c:pt idx="273">
                  <c:v>100</c:v>
                </c:pt>
                <c:pt idx="274">
                  <c:v>100</c:v>
                </c:pt>
                <c:pt idx="275">
                  <c:v>100</c:v>
                </c:pt>
                <c:pt idx="276">
                  <c:v>100</c:v>
                </c:pt>
                <c:pt idx="277">
                  <c:v>100</c:v>
                </c:pt>
                <c:pt idx="278">
                  <c:v>100</c:v>
                </c:pt>
                <c:pt idx="279">
                  <c:v>100</c:v>
                </c:pt>
                <c:pt idx="280">
                  <c:v>100</c:v>
                </c:pt>
                <c:pt idx="281">
                  <c:v>100</c:v>
                </c:pt>
                <c:pt idx="282">
                  <c:v>100</c:v>
                </c:pt>
                <c:pt idx="283">
                  <c:v>100</c:v>
                </c:pt>
                <c:pt idx="284">
                  <c:v>100</c:v>
                </c:pt>
                <c:pt idx="285">
                  <c:v>100</c:v>
                </c:pt>
                <c:pt idx="286">
                  <c:v>100</c:v>
                </c:pt>
                <c:pt idx="287">
                  <c:v>100</c:v>
                </c:pt>
                <c:pt idx="288">
                  <c:v>100</c:v>
                </c:pt>
                <c:pt idx="289">
                  <c:v>100</c:v>
                </c:pt>
                <c:pt idx="290">
                  <c:v>100</c:v>
                </c:pt>
                <c:pt idx="291">
                  <c:v>100</c:v>
                </c:pt>
                <c:pt idx="292">
                  <c:v>100</c:v>
                </c:pt>
                <c:pt idx="293">
                  <c:v>100</c:v>
                </c:pt>
                <c:pt idx="294">
                  <c:v>100</c:v>
                </c:pt>
                <c:pt idx="295">
                  <c:v>100</c:v>
                </c:pt>
                <c:pt idx="296">
                  <c:v>100</c:v>
                </c:pt>
                <c:pt idx="297">
                  <c:v>100</c:v>
                </c:pt>
                <c:pt idx="298">
                  <c:v>100</c:v>
                </c:pt>
                <c:pt idx="299">
                  <c:v>100</c:v>
                </c:pt>
                <c:pt idx="300">
                  <c:v>100</c:v>
                </c:pt>
                <c:pt idx="301">
                  <c:v>100</c:v>
                </c:pt>
                <c:pt idx="302">
                  <c:v>100</c:v>
                </c:pt>
                <c:pt idx="303">
                  <c:v>100</c:v>
                </c:pt>
                <c:pt idx="304">
                  <c:v>100</c:v>
                </c:pt>
                <c:pt idx="305">
                  <c:v>100</c:v>
                </c:pt>
                <c:pt idx="306">
                  <c:v>100</c:v>
                </c:pt>
                <c:pt idx="307">
                  <c:v>100</c:v>
                </c:pt>
                <c:pt idx="308">
                  <c:v>100</c:v>
                </c:pt>
                <c:pt idx="309">
                  <c:v>100</c:v>
                </c:pt>
                <c:pt idx="310">
                  <c:v>100</c:v>
                </c:pt>
                <c:pt idx="311">
                  <c:v>100</c:v>
                </c:pt>
                <c:pt idx="312">
                  <c:v>100</c:v>
                </c:pt>
                <c:pt idx="313">
                  <c:v>100</c:v>
                </c:pt>
                <c:pt idx="314">
                  <c:v>100</c:v>
                </c:pt>
                <c:pt idx="315">
                  <c:v>100</c:v>
                </c:pt>
                <c:pt idx="316">
                  <c:v>100</c:v>
                </c:pt>
                <c:pt idx="317">
                  <c:v>100</c:v>
                </c:pt>
                <c:pt idx="318">
                  <c:v>100</c:v>
                </c:pt>
                <c:pt idx="319">
                  <c:v>100</c:v>
                </c:pt>
                <c:pt idx="320">
                  <c:v>100</c:v>
                </c:pt>
                <c:pt idx="321">
                  <c:v>100</c:v>
                </c:pt>
                <c:pt idx="322">
                  <c:v>100</c:v>
                </c:pt>
                <c:pt idx="323">
                  <c:v>100</c:v>
                </c:pt>
                <c:pt idx="324">
                  <c:v>100</c:v>
                </c:pt>
                <c:pt idx="325">
                  <c:v>100</c:v>
                </c:pt>
                <c:pt idx="326">
                  <c:v>100</c:v>
                </c:pt>
                <c:pt idx="327">
                  <c:v>100</c:v>
                </c:pt>
                <c:pt idx="328">
                  <c:v>100</c:v>
                </c:pt>
                <c:pt idx="329">
                  <c:v>100</c:v>
                </c:pt>
                <c:pt idx="330">
                  <c:v>100</c:v>
                </c:pt>
                <c:pt idx="331">
                  <c:v>100</c:v>
                </c:pt>
                <c:pt idx="332">
                  <c:v>100</c:v>
                </c:pt>
                <c:pt idx="333">
                  <c:v>100</c:v>
                </c:pt>
                <c:pt idx="334">
                  <c:v>100</c:v>
                </c:pt>
                <c:pt idx="335">
                  <c:v>100</c:v>
                </c:pt>
                <c:pt idx="336">
                  <c:v>100</c:v>
                </c:pt>
                <c:pt idx="337">
                  <c:v>100</c:v>
                </c:pt>
                <c:pt idx="338">
                  <c:v>100</c:v>
                </c:pt>
                <c:pt idx="339">
                  <c:v>100</c:v>
                </c:pt>
                <c:pt idx="340">
                  <c:v>100</c:v>
                </c:pt>
                <c:pt idx="341">
                  <c:v>100</c:v>
                </c:pt>
                <c:pt idx="342">
                  <c:v>100</c:v>
                </c:pt>
                <c:pt idx="343">
                  <c:v>100</c:v>
                </c:pt>
                <c:pt idx="344">
                  <c:v>100</c:v>
                </c:pt>
                <c:pt idx="345">
                  <c:v>100</c:v>
                </c:pt>
                <c:pt idx="346">
                  <c:v>100</c:v>
                </c:pt>
                <c:pt idx="347">
                  <c:v>100</c:v>
                </c:pt>
                <c:pt idx="348">
                  <c:v>100</c:v>
                </c:pt>
                <c:pt idx="349">
                  <c:v>100</c:v>
                </c:pt>
                <c:pt idx="350">
                  <c:v>100</c:v>
                </c:pt>
                <c:pt idx="351">
                  <c:v>100</c:v>
                </c:pt>
                <c:pt idx="352">
                  <c:v>100</c:v>
                </c:pt>
                <c:pt idx="353">
                  <c:v>100</c:v>
                </c:pt>
                <c:pt idx="354">
                  <c:v>100</c:v>
                </c:pt>
                <c:pt idx="355">
                  <c:v>100</c:v>
                </c:pt>
                <c:pt idx="356">
                  <c:v>100</c:v>
                </c:pt>
                <c:pt idx="357">
                  <c:v>100</c:v>
                </c:pt>
                <c:pt idx="358">
                  <c:v>100</c:v>
                </c:pt>
                <c:pt idx="359">
                  <c:v>100</c:v>
                </c:pt>
                <c:pt idx="360">
                  <c:v>100</c:v>
                </c:pt>
                <c:pt idx="361">
                  <c:v>100</c:v>
                </c:pt>
                <c:pt idx="362">
                  <c:v>100</c:v>
                </c:pt>
                <c:pt idx="363">
                  <c:v>100</c:v>
                </c:pt>
                <c:pt idx="364">
                  <c:v>100</c:v>
                </c:pt>
                <c:pt idx="365">
                  <c:v>100</c:v>
                </c:pt>
                <c:pt idx="366">
                  <c:v>100</c:v>
                </c:pt>
                <c:pt idx="367">
                  <c:v>100</c:v>
                </c:pt>
                <c:pt idx="368">
                  <c:v>100</c:v>
                </c:pt>
                <c:pt idx="369">
                  <c:v>100</c:v>
                </c:pt>
                <c:pt idx="370">
                  <c:v>100</c:v>
                </c:pt>
                <c:pt idx="371">
                  <c:v>100</c:v>
                </c:pt>
                <c:pt idx="372">
                  <c:v>100</c:v>
                </c:pt>
                <c:pt idx="373">
                  <c:v>100</c:v>
                </c:pt>
                <c:pt idx="374">
                  <c:v>100</c:v>
                </c:pt>
                <c:pt idx="375">
                  <c:v>100</c:v>
                </c:pt>
                <c:pt idx="376">
                  <c:v>100</c:v>
                </c:pt>
                <c:pt idx="377">
                  <c:v>100</c:v>
                </c:pt>
                <c:pt idx="378">
                  <c:v>100</c:v>
                </c:pt>
                <c:pt idx="379">
                  <c:v>100</c:v>
                </c:pt>
                <c:pt idx="380">
                  <c:v>100</c:v>
                </c:pt>
                <c:pt idx="381">
                  <c:v>100</c:v>
                </c:pt>
                <c:pt idx="382">
                  <c:v>100</c:v>
                </c:pt>
                <c:pt idx="383">
                  <c:v>100</c:v>
                </c:pt>
                <c:pt idx="384">
                  <c:v>100</c:v>
                </c:pt>
                <c:pt idx="385">
                  <c:v>100</c:v>
                </c:pt>
                <c:pt idx="386">
                  <c:v>100</c:v>
                </c:pt>
                <c:pt idx="387">
                  <c:v>100</c:v>
                </c:pt>
                <c:pt idx="388">
                  <c:v>100</c:v>
                </c:pt>
                <c:pt idx="389">
                  <c:v>100</c:v>
                </c:pt>
                <c:pt idx="390">
                  <c:v>100</c:v>
                </c:pt>
                <c:pt idx="391">
                  <c:v>100</c:v>
                </c:pt>
                <c:pt idx="392">
                  <c:v>100</c:v>
                </c:pt>
                <c:pt idx="393">
                  <c:v>100</c:v>
                </c:pt>
                <c:pt idx="394">
                  <c:v>100</c:v>
                </c:pt>
                <c:pt idx="395">
                  <c:v>100</c:v>
                </c:pt>
                <c:pt idx="396">
                  <c:v>100</c:v>
                </c:pt>
                <c:pt idx="397">
                  <c:v>100</c:v>
                </c:pt>
                <c:pt idx="398">
                  <c:v>100</c:v>
                </c:pt>
                <c:pt idx="399">
                  <c:v>100</c:v>
                </c:pt>
                <c:pt idx="400">
                  <c:v>100</c:v>
                </c:pt>
                <c:pt idx="401">
                  <c:v>100</c:v>
                </c:pt>
                <c:pt idx="402">
                  <c:v>100</c:v>
                </c:pt>
                <c:pt idx="403">
                  <c:v>100</c:v>
                </c:pt>
                <c:pt idx="404">
                  <c:v>100</c:v>
                </c:pt>
                <c:pt idx="405">
                  <c:v>100</c:v>
                </c:pt>
                <c:pt idx="406">
                  <c:v>100</c:v>
                </c:pt>
                <c:pt idx="407">
                  <c:v>100</c:v>
                </c:pt>
                <c:pt idx="408">
                  <c:v>100</c:v>
                </c:pt>
                <c:pt idx="409">
                  <c:v>100</c:v>
                </c:pt>
                <c:pt idx="410">
                  <c:v>100</c:v>
                </c:pt>
                <c:pt idx="411">
                  <c:v>100</c:v>
                </c:pt>
                <c:pt idx="412">
                  <c:v>100</c:v>
                </c:pt>
                <c:pt idx="413">
                  <c:v>100</c:v>
                </c:pt>
                <c:pt idx="414">
                  <c:v>100</c:v>
                </c:pt>
                <c:pt idx="415">
                  <c:v>100</c:v>
                </c:pt>
                <c:pt idx="416">
                  <c:v>100</c:v>
                </c:pt>
                <c:pt idx="417">
                  <c:v>100</c:v>
                </c:pt>
                <c:pt idx="418">
                  <c:v>100</c:v>
                </c:pt>
                <c:pt idx="419">
                  <c:v>100</c:v>
                </c:pt>
                <c:pt idx="420">
                  <c:v>100</c:v>
                </c:pt>
                <c:pt idx="421">
                  <c:v>100</c:v>
                </c:pt>
                <c:pt idx="422">
                  <c:v>100</c:v>
                </c:pt>
                <c:pt idx="423">
                  <c:v>100</c:v>
                </c:pt>
                <c:pt idx="424">
                  <c:v>100</c:v>
                </c:pt>
                <c:pt idx="425">
                  <c:v>100</c:v>
                </c:pt>
                <c:pt idx="426">
                  <c:v>100</c:v>
                </c:pt>
                <c:pt idx="427">
                  <c:v>100</c:v>
                </c:pt>
                <c:pt idx="428">
                  <c:v>100</c:v>
                </c:pt>
                <c:pt idx="429">
                  <c:v>100</c:v>
                </c:pt>
                <c:pt idx="430">
                  <c:v>100</c:v>
                </c:pt>
                <c:pt idx="431">
                  <c:v>100</c:v>
                </c:pt>
                <c:pt idx="432">
                  <c:v>100</c:v>
                </c:pt>
                <c:pt idx="433">
                  <c:v>100</c:v>
                </c:pt>
                <c:pt idx="434">
                  <c:v>100</c:v>
                </c:pt>
                <c:pt idx="435">
                  <c:v>100</c:v>
                </c:pt>
                <c:pt idx="436">
                  <c:v>100</c:v>
                </c:pt>
                <c:pt idx="437">
                  <c:v>100</c:v>
                </c:pt>
                <c:pt idx="438">
                  <c:v>100</c:v>
                </c:pt>
                <c:pt idx="439">
                  <c:v>100</c:v>
                </c:pt>
                <c:pt idx="440">
                  <c:v>100</c:v>
                </c:pt>
                <c:pt idx="441">
                  <c:v>100</c:v>
                </c:pt>
                <c:pt idx="442">
                  <c:v>100</c:v>
                </c:pt>
                <c:pt idx="443">
                  <c:v>100</c:v>
                </c:pt>
                <c:pt idx="444">
                  <c:v>100</c:v>
                </c:pt>
                <c:pt idx="445">
                  <c:v>100</c:v>
                </c:pt>
                <c:pt idx="446">
                  <c:v>100</c:v>
                </c:pt>
                <c:pt idx="447">
                  <c:v>100</c:v>
                </c:pt>
                <c:pt idx="448">
                  <c:v>100</c:v>
                </c:pt>
                <c:pt idx="449">
                  <c:v>100</c:v>
                </c:pt>
                <c:pt idx="450">
                  <c:v>100</c:v>
                </c:pt>
                <c:pt idx="451">
                  <c:v>100</c:v>
                </c:pt>
                <c:pt idx="452">
                  <c:v>100</c:v>
                </c:pt>
                <c:pt idx="453">
                  <c:v>100</c:v>
                </c:pt>
                <c:pt idx="454">
                  <c:v>100</c:v>
                </c:pt>
                <c:pt idx="455">
                  <c:v>100</c:v>
                </c:pt>
                <c:pt idx="456">
                  <c:v>100</c:v>
                </c:pt>
                <c:pt idx="457">
                  <c:v>100</c:v>
                </c:pt>
                <c:pt idx="458">
                  <c:v>100</c:v>
                </c:pt>
                <c:pt idx="459">
                  <c:v>100</c:v>
                </c:pt>
                <c:pt idx="460">
                  <c:v>100</c:v>
                </c:pt>
                <c:pt idx="461">
                  <c:v>100</c:v>
                </c:pt>
                <c:pt idx="462">
                  <c:v>100</c:v>
                </c:pt>
                <c:pt idx="463">
                  <c:v>100</c:v>
                </c:pt>
                <c:pt idx="464">
                  <c:v>100</c:v>
                </c:pt>
                <c:pt idx="465">
                  <c:v>100</c:v>
                </c:pt>
                <c:pt idx="466">
                  <c:v>100</c:v>
                </c:pt>
                <c:pt idx="467">
                  <c:v>100</c:v>
                </c:pt>
                <c:pt idx="468">
                  <c:v>100</c:v>
                </c:pt>
                <c:pt idx="469">
                  <c:v>100</c:v>
                </c:pt>
                <c:pt idx="470">
                  <c:v>100</c:v>
                </c:pt>
                <c:pt idx="471">
                  <c:v>100</c:v>
                </c:pt>
                <c:pt idx="472">
                  <c:v>100</c:v>
                </c:pt>
                <c:pt idx="473">
                  <c:v>100</c:v>
                </c:pt>
                <c:pt idx="474">
                  <c:v>100</c:v>
                </c:pt>
                <c:pt idx="475">
                  <c:v>100</c:v>
                </c:pt>
                <c:pt idx="476">
                  <c:v>100</c:v>
                </c:pt>
                <c:pt idx="477">
                  <c:v>100</c:v>
                </c:pt>
                <c:pt idx="478">
                  <c:v>100</c:v>
                </c:pt>
                <c:pt idx="479">
                  <c:v>100</c:v>
                </c:pt>
                <c:pt idx="480">
                  <c:v>100</c:v>
                </c:pt>
                <c:pt idx="481">
                  <c:v>100</c:v>
                </c:pt>
                <c:pt idx="482">
                  <c:v>100</c:v>
                </c:pt>
                <c:pt idx="483">
                  <c:v>100</c:v>
                </c:pt>
                <c:pt idx="484">
                  <c:v>100</c:v>
                </c:pt>
                <c:pt idx="485">
                  <c:v>100</c:v>
                </c:pt>
                <c:pt idx="486">
                  <c:v>100</c:v>
                </c:pt>
                <c:pt idx="487">
                  <c:v>100</c:v>
                </c:pt>
                <c:pt idx="488">
                  <c:v>100</c:v>
                </c:pt>
                <c:pt idx="489">
                  <c:v>100</c:v>
                </c:pt>
                <c:pt idx="490">
                  <c:v>100</c:v>
                </c:pt>
                <c:pt idx="491">
                  <c:v>100</c:v>
                </c:pt>
                <c:pt idx="492">
                  <c:v>100</c:v>
                </c:pt>
                <c:pt idx="493">
                  <c:v>100</c:v>
                </c:pt>
                <c:pt idx="494">
                  <c:v>100</c:v>
                </c:pt>
                <c:pt idx="495">
                  <c:v>100</c:v>
                </c:pt>
                <c:pt idx="496">
                  <c:v>100</c:v>
                </c:pt>
                <c:pt idx="497">
                  <c:v>100</c:v>
                </c:pt>
                <c:pt idx="498">
                  <c:v>100</c:v>
                </c:pt>
                <c:pt idx="499">
                  <c:v>100</c:v>
                </c:pt>
                <c:pt idx="500">
                  <c:v>100</c:v>
                </c:pt>
                <c:pt idx="501">
                  <c:v>100</c:v>
                </c:pt>
                <c:pt idx="502">
                  <c:v>100</c:v>
                </c:pt>
                <c:pt idx="503">
                  <c:v>100</c:v>
                </c:pt>
                <c:pt idx="504">
                  <c:v>100</c:v>
                </c:pt>
                <c:pt idx="505">
                  <c:v>100</c:v>
                </c:pt>
                <c:pt idx="506">
                  <c:v>100</c:v>
                </c:pt>
                <c:pt idx="507">
                  <c:v>100</c:v>
                </c:pt>
                <c:pt idx="508">
                  <c:v>100</c:v>
                </c:pt>
                <c:pt idx="509">
                  <c:v>100</c:v>
                </c:pt>
                <c:pt idx="510">
                  <c:v>100</c:v>
                </c:pt>
                <c:pt idx="511">
                  <c:v>100</c:v>
                </c:pt>
                <c:pt idx="512">
                  <c:v>100</c:v>
                </c:pt>
                <c:pt idx="513">
                  <c:v>100</c:v>
                </c:pt>
                <c:pt idx="514">
                  <c:v>100</c:v>
                </c:pt>
                <c:pt idx="515">
                  <c:v>100</c:v>
                </c:pt>
                <c:pt idx="516">
                  <c:v>100</c:v>
                </c:pt>
                <c:pt idx="517">
                  <c:v>100</c:v>
                </c:pt>
                <c:pt idx="518">
                  <c:v>100</c:v>
                </c:pt>
                <c:pt idx="519">
                  <c:v>100</c:v>
                </c:pt>
                <c:pt idx="520">
                  <c:v>100</c:v>
                </c:pt>
                <c:pt idx="521">
                  <c:v>100</c:v>
                </c:pt>
                <c:pt idx="522">
                  <c:v>100</c:v>
                </c:pt>
                <c:pt idx="523">
                  <c:v>100</c:v>
                </c:pt>
                <c:pt idx="524">
                  <c:v>100</c:v>
                </c:pt>
                <c:pt idx="525">
                  <c:v>100</c:v>
                </c:pt>
                <c:pt idx="526">
                  <c:v>100</c:v>
                </c:pt>
                <c:pt idx="527">
                  <c:v>100</c:v>
                </c:pt>
                <c:pt idx="528">
                  <c:v>100</c:v>
                </c:pt>
                <c:pt idx="529">
                  <c:v>100</c:v>
                </c:pt>
                <c:pt idx="530">
                  <c:v>100</c:v>
                </c:pt>
                <c:pt idx="531">
                  <c:v>100</c:v>
                </c:pt>
                <c:pt idx="532">
                  <c:v>100</c:v>
                </c:pt>
                <c:pt idx="533">
                  <c:v>100</c:v>
                </c:pt>
                <c:pt idx="534">
                  <c:v>100</c:v>
                </c:pt>
                <c:pt idx="535">
                  <c:v>100</c:v>
                </c:pt>
                <c:pt idx="536">
                  <c:v>100</c:v>
                </c:pt>
                <c:pt idx="537">
                  <c:v>100</c:v>
                </c:pt>
                <c:pt idx="538">
                  <c:v>100</c:v>
                </c:pt>
                <c:pt idx="539">
                  <c:v>100</c:v>
                </c:pt>
                <c:pt idx="540">
                  <c:v>100</c:v>
                </c:pt>
                <c:pt idx="541">
                  <c:v>100</c:v>
                </c:pt>
                <c:pt idx="542">
                  <c:v>100</c:v>
                </c:pt>
                <c:pt idx="543">
                  <c:v>100</c:v>
                </c:pt>
                <c:pt idx="544">
                  <c:v>100</c:v>
                </c:pt>
                <c:pt idx="545">
                  <c:v>100</c:v>
                </c:pt>
                <c:pt idx="546">
                  <c:v>100</c:v>
                </c:pt>
                <c:pt idx="547">
                  <c:v>100</c:v>
                </c:pt>
                <c:pt idx="548">
                  <c:v>100</c:v>
                </c:pt>
                <c:pt idx="549">
                  <c:v>100</c:v>
                </c:pt>
                <c:pt idx="550">
                  <c:v>100</c:v>
                </c:pt>
                <c:pt idx="551">
                  <c:v>100</c:v>
                </c:pt>
                <c:pt idx="552">
                  <c:v>100</c:v>
                </c:pt>
                <c:pt idx="553">
                  <c:v>100</c:v>
                </c:pt>
                <c:pt idx="554">
                  <c:v>100</c:v>
                </c:pt>
                <c:pt idx="555">
                  <c:v>100</c:v>
                </c:pt>
                <c:pt idx="556">
                  <c:v>100</c:v>
                </c:pt>
                <c:pt idx="557">
                  <c:v>100</c:v>
                </c:pt>
                <c:pt idx="558">
                  <c:v>100</c:v>
                </c:pt>
                <c:pt idx="559">
                  <c:v>100</c:v>
                </c:pt>
                <c:pt idx="560">
                  <c:v>100</c:v>
                </c:pt>
                <c:pt idx="561">
                  <c:v>100</c:v>
                </c:pt>
                <c:pt idx="562">
                  <c:v>100</c:v>
                </c:pt>
                <c:pt idx="563">
                  <c:v>100</c:v>
                </c:pt>
                <c:pt idx="564">
                  <c:v>100</c:v>
                </c:pt>
                <c:pt idx="565">
                  <c:v>100</c:v>
                </c:pt>
                <c:pt idx="566">
                  <c:v>100</c:v>
                </c:pt>
                <c:pt idx="567">
                  <c:v>100</c:v>
                </c:pt>
                <c:pt idx="568">
                  <c:v>100</c:v>
                </c:pt>
                <c:pt idx="569">
                  <c:v>100</c:v>
                </c:pt>
                <c:pt idx="570">
                  <c:v>100</c:v>
                </c:pt>
                <c:pt idx="571">
                  <c:v>100</c:v>
                </c:pt>
                <c:pt idx="572">
                  <c:v>100</c:v>
                </c:pt>
                <c:pt idx="573">
                  <c:v>100</c:v>
                </c:pt>
                <c:pt idx="574">
                  <c:v>100</c:v>
                </c:pt>
                <c:pt idx="575">
                  <c:v>100</c:v>
                </c:pt>
                <c:pt idx="576">
                  <c:v>100</c:v>
                </c:pt>
                <c:pt idx="577">
                  <c:v>100</c:v>
                </c:pt>
                <c:pt idx="578">
                  <c:v>100</c:v>
                </c:pt>
                <c:pt idx="579">
                  <c:v>100</c:v>
                </c:pt>
                <c:pt idx="580">
                  <c:v>100</c:v>
                </c:pt>
                <c:pt idx="581">
                  <c:v>100</c:v>
                </c:pt>
                <c:pt idx="582">
                  <c:v>100</c:v>
                </c:pt>
                <c:pt idx="583">
                  <c:v>100</c:v>
                </c:pt>
                <c:pt idx="584">
                  <c:v>100</c:v>
                </c:pt>
                <c:pt idx="585">
                  <c:v>100</c:v>
                </c:pt>
                <c:pt idx="586">
                  <c:v>100</c:v>
                </c:pt>
                <c:pt idx="587">
                  <c:v>100</c:v>
                </c:pt>
                <c:pt idx="588">
                  <c:v>100</c:v>
                </c:pt>
                <c:pt idx="589">
                  <c:v>100</c:v>
                </c:pt>
                <c:pt idx="590">
                  <c:v>100</c:v>
                </c:pt>
                <c:pt idx="591">
                  <c:v>100</c:v>
                </c:pt>
                <c:pt idx="592">
                  <c:v>100</c:v>
                </c:pt>
                <c:pt idx="593">
                  <c:v>100</c:v>
                </c:pt>
                <c:pt idx="594">
                  <c:v>100</c:v>
                </c:pt>
                <c:pt idx="595">
                  <c:v>100</c:v>
                </c:pt>
                <c:pt idx="596">
                  <c:v>100</c:v>
                </c:pt>
                <c:pt idx="597">
                  <c:v>100</c:v>
                </c:pt>
                <c:pt idx="598">
                  <c:v>100</c:v>
                </c:pt>
                <c:pt idx="599">
                  <c:v>100</c:v>
                </c:pt>
                <c:pt idx="600">
                  <c:v>100</c:v>
                </c:pt>
                <c:pt idx="601">
                  <c:v>100</c:v>
                </c:pt>
                <c:pt idx="602">
                  <c:v>100</c:v>
                </c:pt>
                <c:pt idx="603">
                  <c:v>100</c:v>
                </c:pt>
                <c:pt idx="604">
                  <c:v>100</c:v>
                </c:pt>
                <c:pt idx="605">
                  <c:v>100</c:v>
                </c:pt>
                <c:pt idx="606">
                  <c:v>100</c:v>
                </c:pt>
                <c:pt idx="607">
                  <c:v>100</c:v>
                </c:pt>
                <c:pt idx="608">
                  <c:v>100</c:v>
                </c:pt>
                <c:pt idx="609">
                  <c:v>100</c:v>
                </c:pt>
                <c:pt idx="610">
                  <c:v>100</c:v>
                </c:pt>
                <c:pt idx="611">
                  <c:v>100</c:v>
                </c:pt>
                <c:pt idx="612">
                  <c:v>100</c:v>
                </c:pt>
                <c:pt idx="613">
                  <c:v>100</c:v>
                </c:pt>
                <c:pt idx="614">
                  <c:v>100</c:v>
                </c:pt>
                <c:pt idx="615">
                  <c:v>100</c:v>
                </c:pt>
                <c:pt idx="616">
                  <c:v>100</c:v>
                </c:pt>
                <c:pt idx="617">
                  <c:v>100</c:v>
                </c:pt>
                <c:pt idx="618">
                  <c:v>100</c:v>
                </c:pt>
                <c:pt idx="619">
                  <c:v>100</c:v>
                </c:pt>
                <c:pt idx="620">
                  <c:v>100</c:v>
                </c:pt>
                <c:pt idx="621">
                  <c:v>100</c:v>
                </c:pt>
                <c:pt idx="622">
                  <c:v>100</c:v>
                </c:pt>
                <c:pt idx="623">
                  <c:v>100</c:v>
                </c:pt>
                <c:pt idx="624">
                  <c:v>100</c:v>
                </c:pt>
                <c:pt idx="625">
                  <c:v>100</c:v>
                </c:pt>
                <c:pt idx="626">
                  <c:v>100</c:v>
                </c:pt>
                <c:pt idx="627">
                  <c:v>100</c:v>
                </c:pt>
                <c:pt idx="628">
                  <c:v>100</c:v>
                </c:pt>
                <c:pt idx="629">
                  <c:v>100</c:v>
                </c:pt>
                <c:pt idx="630">
                  <c:v>100</c:v>
                </c:pt>
                <c:pt idx="631">
                  <c:v>100</c:v>
                </c:pt>
                <c:pt idx="632">
                  <c:v>100</c:v>
                </c:pt>
                <c:pt idx="633">
                  <c:v>100</c:v>
                </c:pt>
                <c:pt idx="634">
                  <c:v>100</c:v>
                </c:pt>
                <c:pt idx="635">
                  <c:v>100</c:v>
                </c:pt>
                <c:pt idx="636">
                  <c:v>100</c:v>
                </c:pt>
                <c:pt idx="637">
                  <c:v>100</c:v>
                </c:pt>
                <c:pt idx="638">
                  <c:v>100</c:v>
                </c:pt>
                <c:pt idx="639">
                  <c:v>100</c:v>
                </c:pt>
                <c:pt idx="640">
                  <c:v>100</c:v>
                </c:pt>
                <c:pt idx="641">
                  <c:v>100</c:v>
                </c:pt>
                <c:pt idx="642">
                  <c:v>100</c:v>
                </c:pt>
                <c:pt idx="643">
                  <c:v>100</c:v>
                </c:pt>
                <c:pt idx="644">
                  <c:v>100</c:v>
                </c:pt>
                <c:pt idx="645">
                  <c:v>100</c:v>
                </c:pt>
                <c:pt idx="646">
                  <c:v>100</c:v>
                </c:pt>
                <c:pt idx="647">
                  <c:v>100</c:v>
                </c:pt>
                <c:pt idx="648">
                  <c:v>100</c:v>
                </c:pt>
                <c:pt idx="649">
                  <c:v>100</c:v>
                </c:pt>
                <c:pt idx="650">
                  <c:v>100</c:v>
                </c:pt>
                <c:pt idx="651">
                  <c:v>100</c:v>
                </c:pt>
                <c:pt idx="652">
                  <c:v>100</c:v>
                </c:pt>
                <c:pt idx="653">
                  <c:v>100</c:v>
                </c:pt>
                <c:pt idx="654">
                  <c:v>100</c:v>
                </c:pt>
                <c:pt idx="655">
                  <c:v>100</c:v>
                </c:pt>
                <c:pt idx="656">
                  <c:v>100</c:v>
                </c:pt>
                <c:pt idx="657">
                  <c:v>100</c:v>
                </c:pt>
                <c:pt idx="658">
                  <c:v>100</c:v>
                </c:pt>
                <c:pt idx="659">
                  <c:v>100</c:v>
                </c:pt>
                <c:pt idx="660">
                  <c:v>100</c:v>
                </c:pt>
                <c:pt idx="661">
                  <c:v>100</c:v>
                </c:pt>
                <c:pt idx="662">
                  <c:v>100</c:v>
                </c:pt>
                <c:pt idx="663">
                  <c:v>100</c:v>
                </c:pt>
                <c:pt idx="664">
                  <c:v>100</c:v>
                </c:pt>
                <c:pt idx="665">
                  <c:v>100</c:v>
                </c:pt>
                <c:pt idx="666">
                  <c:v>100</c:v>
                </c:pt>
                <c:pt idx="667">
                  <c:v>100</c:v>
                </c:pt>
                <c:pt idx="668">
                  <c:v>100</c:v>
                </c:pt>
                <c:pt idx="669">
                  <c:v>100</c:v>
                </c:pt>
                <c:pt idx="670">
                  <c:v>100</c:v>
                </c:pt>
                <c:pt idx="671">
                  <c:v>100</c:v>
                </c:pt>
                <c:pt idx="672">
                  <c:v>100</c:v>
                </c:pt>
                <c:pt idx="673">
                  <c:v>100</c:v>
                </c:pt>
                <c:pt idx="674">
                  <c:v>100</c:v>
                </c:pt>
                <c:pt idx="675">
                  <c:v>100</c:v>
                </c:pt>
                <c:pt idx="676">
                  <c:v>100</c:v>
                </c:pt>
                <c:pt idx="677">
                  <c:v>100</c:v>
                </c:pt>
                <c:pt idx="678">
                  <c:v>100</c:v>
                </c:pt>
                <c:pt idx="679">
                  <c:v>100</c:v>
                </c:pt>
                <c:pt idx="680">
                  <c:v>100</c:v>
                </c:pt>
                <c:pt idx="681">
                  <c:v>100</c:v>
                </c:pt>
                <c:pt idx="682">
                  <c:v>100</c:v>
                </c:pt>
                <c:pt idx="683">
                  <c:v>100</c:v>
                </c:pt>
                <c:pt idx="684">
                  <c:v>100</c:v>
                </c:pt>
                <c:pt idx="685">
                  <c:v>100</c:v>
                </c:pt>
                <c:pt idx="686">
                  <c:v>100</c:v>
                </c:pt>
                <c:pt idx="687">
                  <c:v>100</c:v>
                </c:pt>
                <c:pt idx="688">
                  <c:v>100</c:v>
                </c:pt>
                <c:pt idx="689">
                  <c:v>100</c:v>
                </c:pt>
                <c:pt idx="690">
                  <c:v>100</c:v>
                </c:pt>
                <c:pt idx="691">
                  <c:v>100</c:v>
                </c:pt>
                <c:pt idx="692">
                  <c:v>100</c:v>
                </c:pt>
                <c:pt idx="693">
                  <c:v>100</c:v>
                </c:pt>
                <c:pt idx="694">
                  <c:v>100</c:v>
                </c:pt>
                <c:pt idx="695">
                  <c:v>100</c:v>
                </c:pt>
                <c:pt idx="696">
                  <c:v>100</c:v>
                </c:pt>
                <c:pt idx="697">
                  <c:v>100</c:v>
                </c:pt>
                <c:pt idx="698">
                  <c:v>100</c:v>
                </c:pt>
                <c:pt idx="699">
                  <c:v>100</c:v>
                </c:pt>
                <c:pt idx="700">
                  <c:v>100</c:v>
                </c:pt>
                <c:pt idx="701">
                  <c:v>100</c:v>
                </c:pt>
                <c:pt idx="702">
                  <c:v>100</c:v>
                </c:pt>
                <c:pt idx="703">
                  <c:v>100</c:v>
                </c:pt>
                <c:pt idx="704">
                  <c:v>100</c:v>
                </c:pt>
                <c:pt idx="705">
                  <c:v>100</c:v>
                </c:pt>
                <c:pt idx="706">
                  <c:v>100</c:v>
                </c:pt>
                <c:pt idx="707">
                  <c:v>100</c:v>
                </c:pt>
                <c:pt idx="708">
                  <c:v>100</c:v>
                </c:pt>
                <c:pt idx="709">
                  <c:v>100</c:v>
                </c:pt>
                <c:pt idx="710">
                  <c:v>100</c:v>
                </c:pt>
                <c:pt idx="711">
                  <c:v>100</c:v>
                </c:pt>
                <c:pt idx="712">
                  <c:v>100</c:v>
                </c:pt>
                <c:pt idx="713">
                  <c:v>100</c:v>
                </c:pt>
                <c:pt idx="714">
                  <c:v>100</c:v>
                </c:pt>
                <c:pt idx="715">
                  <c:v>100</c:v>
                </c:pt>
                <c:pt idx="716">
                  <c:v>100</c:v>
                </c:pt>
                <c:pt idx="717">
                  <c:v>100</c:v>
                </c:pt>
                <c:pt idx="718">
                  <c:v>100</c:v>
                </c:pt>
                <c:pt idx="719">
                  <c:v>100</c:v>
                </c:pt>
                <c:pt idx="720">
                  <c:v>100</c:v>
                </c:pt>
                <c:pt idx="721">
                  <c:v>100</c:v>
                </c:pt>
                <c:pt idx="722">
                  <c:v>100</c:v>
                </c:pt>
                <c:pt idx="723">
                  <c:v>100</c:v>
                </c:pt>
                <c:pt idx="724">
                  <c:v>100</c:v>
                </c:pt>
                <c:pt idx="725">
                  <c:v>100</c:v>
                </c:pt>
                <c:pt idx="726">
                  <c:v>100</c:v>
                </c:pt>
                <c:pt idx="727">
                  <c:v>100</c:v>
                </c:pt>
                <c:pt idx="728">
                  <c:v>100</c:v>
                </c:pt>
                <c:pt idx="729">
                  <c:v>100</c:v>
                </c:pt>
                <c:pt idx="730">
                  <c:v>100</c:v>
                </c:pt>
                <c:pt idx="731">
                  <c:v>100</c:v>
                </c:pt>
                <c:pt idx="732">
                  <c:v>100</c:v>
                </c:pt>
                <c:pt idx="733">
                  <c:v>100</c:v>
                </c:pt>
                <c:pt idx="734">
                  <c:v>100</c:v>
                </c:pt>
                <c:pt idx="735">
                  <c:v>100</c:v>
                </c:pt>
                <c:pt idx="736">
                  <c:v>100</c:v>
                </c:pt>
                <c:pt idx="737">
                  <c:v>100</c:v>
                </c:pt>
                <c:pt idx="738">
                  <c:v>100</c:v>
                </c:pt>
                <c:pt idx="739">
                  <c:v>100</c:v>
                </c:pt>
                <c:pt idx="740">
                  <c:v>100</c:v>
                </c:pt>
                <c:pt idx="741">
                  <c:v>100</c:v>
                </c:pt>
                <c:pt idx="742">
                  <c:v>100</c:v>
                </c:pt>
                <c:pt idx="743">
                  <c:v>100</c:v>
                </c:pt>
                <c:pt idx="744">
                  <c:v>100</c:v>
                </c:pt>
                <c:pt idx="745">
                  <c:v>100</c:v>
                </c:pt>
                <c:pt idx="746">
                  <c:v>100</c:v>
                </c:pt>
                <c:pt idx="747">
                  <c:v>100</c:v>
                </c:pt>
                <c:pt idx="748">
                  <c:v>100</c:v>
                </c:pt>
                <c:pt idx="749">
                  <c:v>100</c:v>
                </c:pt>
                <c:pt idx="750">
                  <c:v>100</c:v>
                </c:pt>
                <c:pt idx="751">
                  <c:v>100</c:v>
                </c:pt>
                <c:pt idx="752">
                  <c:v>100</c:v>
                </c:pt>
                <c:pt idx="753">
                  <c:v>100</c:v>
                </c:pt>
                <c:pt idx="754">
                  <c:v>100</c:v>
                </c:pt>
                <c:pt idx="755">
                  <c:v>100</c:v>
                </c:pt>
                <c:pt idx="756">
                  <c:v>100</c:v>
                </c:pt>
                <c:pt idx="757">
                  <c:v>100</c:v>
                </c:pt>
                <c:pt idx="758">
                  <c:v>100</c:v>
                </c:pt>
                <c:pt idx="759">
                  <c:v>100</c:v>
                </c:pt>
                <c:pt idx="760">
                  <c:v>100</c:v>
                </c:pt>
                <c:pt idx="761">
                  <c:v>100</c:v>
                </c:pt>
                <c:pt idx="762">
                  <c:v>100</c:v>
                </c:pt>
                <c:pt idx="763">
                  <c:v>100</c:v>
                </c:pt>
                <c:pt idx="764">
                  <c:v>100</c:v>
                </c:pt>
                <c:pt idx="765">
                  <c:v>100</c:v>
                </c:pt>
                <c:pt idx="766">
                  <c:v>100</c:v>
                </c:pt>
                <c:pt idx="767">
                  <c:v>100</c:v>
                </c:pt>
                <c:pt idx="768">
                  <c:v>100</c:v>
                </c:pt>
                <c:pt idx="769">
                  <c:v>100</c:v>
                </c:pt>
                <c:pt idx="770">
                  <c:v>100</c:v>
                </c:pt>
                <c:pt idx="771">
                  <c:v>100</c:v>
                </c:pt>
                <c:pt idx="772">
                  <c:v>100</c:v>
                </c:pt>
                <c:pt idx="773">
                  <c:v>100</c:v>
                </c:pt>
                <c:pt idx="774">
                  <c:v>100</c:v>
                </c:pt>
                <c:pt idx="775">
                  <c:v>100</c:v>
                </c:pt>
                <c:pt idx="776">
                  <c:v>100</c:v>
                </c:pt>
                <c:pt idx="777">
                  <c:v>100</c:v>
                </c:pt>
                <c:pt idx="778">
                  <c:v>100</c:v>
                </c:pt>
                <c:pt idx="779">
                  <c:v>100</c:v>
                </c:pt>
                <c:pt idx="780">
                  <c:v>100</c:v>
                </c:pt>
                <c:pt idx="781">
                  <c:v>100</c:v>
                </c:pt>
                <c:pt idx="782">
                  <c:v>100</c:v>
                </c:pt>
                <c:pt idx="783">
                  <c:v>100</c:v>
                </c:pt>
                <c:pt idx="784">
                  <c:v>100</c:v>
                </c:pt>
                <c:pt idx="785">
                  <c:v>100</c:v>
                </c:pt>
                <c:pt idx="786">
                  <c:v>100</c:v>
                </c:pt>
                <c:pt idx="787">
                  <c:v>100</c:v>
                </c:pt>
                <c:pt idx="788">
                  <c:v>100</c:v>
                </c:pt>
                <c:pt idx="789">
                  <c:v>100</c:v>
                </c:pt>
                <c:pt idx="790">
                  <c:v>100</c:v>
                </c:pt>
                <c:pt idx="791">
                  <c:v>100</c:v>
                </c:pt>
                <c:pt idx="792">
                  <c:v>100</c:v>
                </c:pt>
                <c:pt idx="793">
                  <c:v>100</c:v>
                </c:pt>
                <c:pt idx="794">
                  <c:v>100</c:v>
                </c:pt>
                <c:pt idx="795">
                  <c:v>100</c:v>
                </c:pt>
                <c:pt idx="796">
                  <c:v>100</c:v>
                </c:pt>
                <c:pt idx="797">
                  <c:v>100</c:v>
                </c:pt>
                <c:pt idx="798">
                  <c:v>100</c:v>
                </c:pt>
                <c:pt idx="799">
                  <c:v>100</c:v>
                </c:pt>
                <c:pt idx="800">
                  <c:v>100</c:v>
                </c:pt>
                <c:pt idx="801">
                  <c:v>100</c:v>
                </c:pt>
                <c:pt idx="802">
                  <c:v>100</c:v>
                </c:pt>
                <c:pt idx="803">
                  <c:v>100</c:v>
                </c:pt>
                <c:pt idx="804">
                  <c:v>100</c:v>
                </c:pt>
                <c:pt idx="805">
                  <c:v>100</c:v>
                </c:pt>
                <c:pt idx="806">
                  <c:v>100</c:v>
                </c:pt>
                <c:pt idx="807">
                  <c:v>100</c:v>
                </c:pt>
                <c:pt idx="808">
                  <c:v>100</c:v>
                </c:pt>
                <c:pt idx="809">
                  <c:v>100</c:v>
                </c:pt>
                <c:pt idx="810">
                  <c:v>100</c:v>
                </c:pt>
                <c:pt idx="811">
                  <c:v>100</c:v>
                </c:pt>
                <c:pt idx="812">
                  <c:v>100</c:v>
                </c:pt>
                <c:pt idx="813">
                  <c:v>100</c:v>
                </c:pt>
                <c:pt idx="814">
                  <c:v>100</c:v>
                </c:pt>
                <c:pt idx="815">
                  <c:v>100</c:v>
                </c:pt>
                <c:pt idx="816">
                  <c:v>100</c:v>
                </c:pt>
                <c:pt idx="817">
                  <c:v>100</c:v>
                </c:pt>
                <c:pt idx="818">
                  <c:v>100</c:v>
                </c:pt>
                <c:pt idx="819">
                  <c:v>100</c:v>
                </c:pt>
                <c:pt idx="820">
                  <c:v>100</c:v>
                </c:pt>
                <c:pt idx="821">
                  <c:v>100</c:v>
                </c:pt>
                <c:pt idx="822">
                  <c:v>100</c:v>
                </c:pt>
                <c:pt idx="823">
                  <c:v>100</c:v>
                </c:pt>
                <c:pt idx="824">
                  <c:v>100</c:v>
                </c:pt>
                <c:pt idx="825">
                  <c:v>100</c:v>
                </c:pt>
                <c:pt idx="826">
                  <c:v>100</c:v>
                </c:pt>
                <c:pt idx="827">
                  <c:v>100</c:v>
                </c:pt>
                <c:pt idx="828">
                  <c:v>100</c:v>
                </c:pt>
                <c:pt idx="829">
                  <c:v>100</c:v>
                </c:pt>
                <c:pt idx="830">
                  <c:v>100</c:v>
                </c:pt>
                <c:pt idx="831">
                  <c:v>100</c:v>
                </c:pt>
                <c:pt idx="832">
                  <c:v>100</c:v>
                </c:pt>
                <c:pt idx="833">
                  <c:v>100</c:v>
                </c:pt>
                <c:pt idx="834">
                  <c:v>100</c:v>
                </c:pt>
                <c:pt idx="835">
                  <c:v>100</c:v>
                </c:pt>
                <c:pt idx="836">
                  <c:v>100</c:v>
                </c:pt>
                <c:pt idx="837">
                  <c:v>100</c:v>
                </c:pt>
                <c:pt idx="838">
                  <c:v>100</c:v>
                </c:pt>
                <c:pt idx="839">
                  <c:v>100</c:v>
                </c:pt>
                <c:pt idx="840">
                  <c:v>100</c:v>
                </c:pt>
                <c:pt idx="841">
                  <c:v>100</c:v>
                </c:pt>
                <c:pt idx="842">
                  <c:v>100</c:v>
                </c:pt>
                <c:pt idx="843">
                  <c:v>100</c:v>
                </c:pt>
                <c:pt idx="844">
                  <c:v>100</c:v>
                </c:pt>
                <c:pt idx="845">
                  <c:v>100</c:v>
                </c:pt>
                <c:pt idx="846">
                  <c:v>100</c:v>
                </c:pt>
                <c:pt idx="847">
                  <c:v>100</c:v>
                </c:pt>
                <c:pt idx="848">
                  <c:v>100</c:v>
                </c:pt>
                <c:pt idx="849">
                  <c:v>100</c:v>
                </c:pt>
                <c:pt idx="850">
                  <c:v>100</c:v>
                </c:pt>
                <c:pt idx="851">
                  <c:v>100</c:v>
                </c:pt>
                <c:pt idx="852">
                  <c:v>100</c:v>
                </c:pt>
                <c:pt idx="853">
                  <c:v>100</c:v>
                </c:pt>
                <c:pt idx="854">
                  <c:v>100</c:v>
                </c:pt>
                <c:pt idx="855">
                  <c:v>100</c:v>
                </c:pt>
                <c:pt idx="856">
                  <c:v>100</c:v>
                </c:pt>
                <c:pt idx="857">
                  <c:v>100</c:v>
                </c:pt>
                <c:pt idx="858">
                  <c:v>100</c:v>
                </c:pt>
                <c:pt idx="859">
                  <c:v>100</c:v>
                </c:pt>
                <c:pt idx="860">
                  <c:v>100</c:v>
                </c:pt>
                <c:pt idx="861">
                  <c:v>100</c:v>
                </c:pt>
                <c:pt idx="862">
                  <c:v>100</c:v>
                </c:pt>
                <c:pt idx="863">
                  <c:v>100</c:v>
                </c:pt>
                <c:pt idx="864">
                  <c:v>100</c:v>
                </c:pt>
                <c:pt idx="865">
                  <c:v>100</c:v>
                </c:pt>
                <c:pt idx="866">
                  <c:v>100</c:v>
                </c:pt>
                <c:pt idx="867">
                  <c:v>100</c:v>
                </c:pt>
                <c:pt idx="868">
                  <c:v>100</c:v>
                </c:pt>
                <c:pt idx="869">
                  <c:v>100</c:v>
                </c:pt>
                <c:pt idx="870">
                  <c:v>100</c:v>
                </c:pt>
                <c:pt idx="871">
                  <c:v>100</c:v>
                </c:pt>
                <c:pt idx="872">
                  <c:v>100</c:v>
                </c:pt>
                <c:pt idx="873">
                  <c:v>100</c:v>
                </c:pt>
                <c:pt idx="874">
                  <c:v>100</c:v>
                </c:pt>
                <c:pt idx="875">
                  <c:v>100</c:v>
                </c:pt>
                <c:pt idx="876">
                  <c:v>100</c:v>
                </c:pt>
                <c:pt idx="877">
                  <c:v>100</c:v>
                </c:pt>
                <c:pt idx="878">
                  <c:v>100</c:v>
                </c:pt>
                <c:pt idx="879">
                  <c:v>100</c:v>
                </c:pt>
                <c:pt idx="880">
                  <c:v>100</c:v>
                </c:pt>
                <c:pt idx="881">
                  <c:v>100</c:v>
                </c:pt>
                <c:pt idx="882">
                  <c:v>100</c:v>
                </c:pt>
                <c:pt idx="883">
                  <c:v>100</c:v>
                </c:pt>
                <c:pt idx="884">
                  <c:v>100</c:v>
                </c:pt>
                <c:pt idx="885">
                  <c:v>100</c:v>
                </c:pt>
                <c:pt idx="886">
                  <c:v>100</c:v>
                </c:pt>
                <c:pt idx="887">
                  <c:v>100</c:v>
                </c:pt>
                <c:pt idx="888">
                  <c:v>100</c:v>
                </c:pt>
                <c:pt idx="889">
                  <c:v>100</c:v>
                </c:pt>
                <c:pt idx="890">
                  <c:v>100</c:v>
                </c:pt>
                <c:pt idx="891">
                  <c:v>100</c:v>
                </c:pt>
                <c:pt idx="892">
                  <c:v>100</c:v>
                </c:pt>
                <c:pt idx="893">
                  <c:v>100</c:v>
                </c:pt>
                <c:pt idx="894">
                  <c:v>100</c:v>
                </c:pt>
                <c:pt idx="895">
                  <c:v>100</c:v>
                </c:pt>
                <c:pt idx="896">
                  <c:v>100</c:v>
                </c:pt>
                <c:pt idx="897">
                  <c:v>100</c:v>
                </c:pt>
                <c:pt idx="898">
                  <c:v>100</c:v>
                </c:pt>
                <c:pt idx="899">
                  <c:v>100</c:v>
                </c:pt>
                <c:pt idx="900">
                  <c:v>100</c:v>
                </c:pt>
                <c:pt idx="901">
                  <c:v>100</c:v>
                </c:pt>
                <c:pt idx="902">
                  <c:v>100</c:v>
                </c:pt>
                <c:pt idx="903">
                  <c:v>100</c:v>
                </c:pt>
                <c:pt idx="904">
                  <c:v>100</c:v>
                </c:pt>
                <c:pt idx="905">
                  <c:v>100</c:v>
                </c:pt>
                <c:pt idx="906">
                  <c:v>100</c:v>
                </c:pt>
                <c:pt idx="907">
                  <c:v>100</c:v>
                </c:pt>
                <c:pt idx="908">
                  <c:v>100</c:v>
                </c:pt>
                <c:pt idx="909">
                  <c:v>100</c:v>
                </c:pt>
                <c:pt idx="910">
                  <c:v>100</c:v>
                </c:pt>
                <c:pt idx="911">
                  <c:v>100</c:v>
                </c:pt>
                <c:pt idx="912">
                  <c:v>100</c:v>
                </c:pt>
                <c:pt idx="913">
                  <c:v>100</c:v>
                </c:pt>
                <c:pt idx="914">
                  <c:v>100</c:v>
                </c:pt>
                <c:pt idx="915">
                  <c:v>100</c:v>
                </c:pt>
                <c:pt idx="916">
                  <c:v>100</c:v>
                </c:pt>
                <c:pt idx="917">
                  <c:v>100</c:v>
                </c:pt>
                <c:pt idx="918">
                  <c:v>100</c:v>
                </c:pt>
                <c:pt idx="919">
                  <c:v>100</c:v>
                </c:pt>
                <c:pt idx="920">
                  <c:v>100</c:v>
                </c:pt>
                <c:pt idx="921">
                  <c:v>100</c:v>
                </c:pt>
                <c:pt idx="922">
                  <c:v>100</c:v>
                </c:pt>
                <c:pt idx="923">
                  <c:v>100</c:v>
                </c:pt>
                <c:pt idx="924">
                  <c:v>100</c:v>
                </c:pt>
                <c:pt idx="925">
                  <c:v>100</c:v>
                </c:pt>
                <c:pt idx="926">
                  <c:v>100</c:v>
                </c:pt>
                <c:pt idx="927">
                  <c:v>100</c:v>
                </c:pt>
                <c:pt idx="928">
                  <c:v>100</c:v>
                </c:pt>
                <c:pt idx="929">
                  <c:v>100</c:v>
                </c:pt>
                <c:pt idx="930">
                  <c:v>100</c:v>
                </c:pt>
                <c:pt idx="931">
                  <c:v>100</c:v>
                </c:pt>
                <c:pt idx="932">
                  <c:v>100</c:v>
                </c:pt>
                <c:pt idx="933">
                  <c:v>100</c:v>
                </c:pt>
                <c:pt idx="934">
                  <c:v>100</c:v>
                </c:pt>
                <c:pt idx="935">
                  <c:v>100</c:v>
                </c:pt>
                <c:pt idx="936">
                  <c:v>100</c:v>
                </c:pt>
                <c:pt idx="937">
                  <c:v>100</c:v>
                </c:pt>
                <c:pt idx="938">
                  <c:v>100</c:v>
                </c:pt>
                <c:pt idx="939">
                  <c:v>100</c:v>
                </c:pt>
                <c:pt idx="940">
                  <c:v>100</c:v>
                </c:pt>
                <c:pt idx="941">
                  <c:v>100</c:v>
                </c:pt>
                <c:pt idx="942">
                  <c:v>100</c:v>
                </c:pt>
                <c:pt idx="943">
                  <c:v>100</c:v>
                </c:pt>
                <c:pt idx="944">
                  <c:v>100</c:v>
                </c:pt>
                <c:pt idx="945">
                  <c:v>100</c:v>
                </c:pt>
                <c:pt idx="946">
                  <c:v>100</c:v>
                </c:pt>
                <c:pt idx="947">
                  <c:v>100</c:v>
                </c:pt>
                <c:pt idx="948">
                  <c:v>100</c:v>
                </c:pt>
                <c:pt idx="949">
                  <c:v>100</c:v>
                </c:pt>
                <c:pt idx="950">
                  <c:v>100</c:v>
                </c:pt>
                <c:pt idx="951">
                  <c:v>100</c:v>
                </c:pt>
                <c:pt idx="952">
                  <c:v>100</c:v>
                </c:pt>
                <c:pt idx="953">
                  <c:v>100</c:v>
                </c:pt>
                <c:pt idx="954">
                  <c:v>100</c:v>
                </c:pt>
                <c:pt idx="955">
                  <c:v>100</c:v>
                </c:pt>
                <c:pt idx="956">
                  <c:v>100</c:v>
                </c:pt>
                <c:pt idx="957">
                  <c:v>100</c:v>
                </c:pt>
                <c:pt idx="958">
                  <c:v>100</c:v>
                </c:pt>
                <c:pt idx="959">
                  <c:v>100</c:v>
                </c:pt>
                <c:pt idx="960">
                  <c:v>100</c:v>
                </c:pt>
                <c:pt idx="961">
                  <c:v>100</c:v>
                </c:pt>
                <c:pt idx="962">
                  <c:v>100</c:v>
                </c:pt>
                <c:pt idx="963">
                  <c:v>100</c:v>
                </c:pt>
                <c:pt idx="964">
                  <c:v>100</c:v>
                </c:pt>
                <c:pt idx="965">
                  <c:v>100</c:v>
                </c:pt>
                <c:pt idx="966">
                  <c:v>100</c:v>
                </c:pt>
                <c:pt idx="967">
                  <c:v>100</c:v>
                </c:pt>
                <c:pt idx="968">
                  <c:v>100</c:v>
                </c:pt>
                <c:pt idx="969">
                  <c:v>100</c:v>
                </c:pt>
                <c:pt idx="970">
                  <c:v>100</c:v>
                </c:pt>
                <c:pt idx="971">
                  <c:v>100</c:v>
                </c:pt>
                <c:pt idx="972">
                  <c:v>100</c:v>
                </c:pt>
                <c:pt idx="973">
                  <c:v>100</c:v>
                </c:pt>
                <c:pt idx="974">
                  <c:v>100</c:v>
                </c:pt>
                <c:pt idx="975">
                  <c:v>100</c:v>
                </c:pt>
                <c:pt idx="976">
                  <c:v>100</c:v>
                </c:pt>
                <c:pt idx="977">
                  <c:v>100</c:v>
                </c:pt>
                <c:pt idx="978">
                  <c:v>100</c:v>
                </c:pt>
                <c:pt idx="979">
                  <c:v>100</c:v>
                </c:pt>
                <c:pt idx="980">
                  <c:v>100</c:v>
                </c:pt>
                <c:pt idx="981">
                  <c:v>100</c:v>
                </c:pt>
                <c:pt idx="982">
                  <c:v>100</c:v>
                </c:pt>
                <c:pt idx="983">
                  <c:v>100</c:v>
                </c:pt>
                <c:pt idx="984">
                  <c:v>100</c:v>
                </c:pt>
                <c:pt idx="985">
                  <c:v>100</c:v>
                </c:pt>
                <c:pt idx="986">
                  <c:v>100</c:v>
                </c:pt>
                <c:pt idx="987">
                  <c:v>100</c:v>
                </c:pt>
                <c:pt idx="988">
                  <c:v>100</c:v>
                </c:pt>
                <c:pt idx="989">
                  <c:v>100</c:v>
                </c:pt>
                <c:pt idx="990">
                  <c:v>100</c:v>
                </c:pt>
                <c:pt idx="991">
                  <c:v>100</c:v>
                </c:pt>
                <c:pt idx="992">
                  <c:v>100</c:v>
                </c:pt>
                <c:pt idx="993">
                  <c:v>100</c:v>
                </c:pt>
                <c:pt idx="994">
                  <c:v>100</c:v>
                </c:pt>
                <c:pt idx="995">
                  <c:v>100</c:v>
                </c:pt>
                <c:pt idx="996">
                  <c:v>100</c:v>
                </c:pt>
                <c:pt idx="997">
                  <c:v>100</c:v>
                </c:pt>
                <c:pt idx="998">
                  <c:v>100</c:v>
                </c:pt>
                <c:pt idx="999">
                  <c:v>100</c:v>
                </c:pt>
                <c:pt idx="1000">
                  <c:v>100</c:v>
                </c:pt>
                <c:pt idx="1001">
                  <c:v>100</c:v>
                </c:pt>
                <c:pt idx="1002">
                  <c:v>100</c:v>
                </c:pt>
                <c:pt idx="1003">
                  <c:v>100</c:v>
                </c:pt>
                <c:pt idx="1004">
                  <c:v>100</c:v>
                </c:pt>
                <c:pt idx="1005">
                  <c:v>100</c:v>
                </c:pt>
                <c:pt idx="1006">
                  <c:v>100</c:v>
                </c:pt>
                <c:pt idx="1007">
                  <c:v>100</c:v>
                </c:pt>
                <c:pt idx="1008">
                  <c:v>100</c:v>
                </c:pt>
                <c:pt idx="1009">
                  <c:v>100</c:v>
                </c:pt>
                <c:pt idx="1010">
                  <c:v>100</c:v>
                </c:pt>
                <c:pt idx="1011">
                  <c:v>100</c:v>
                </c:pt>
                <c:pt idx="1012">
                  <c:v>100</c:v>
                </c:pt>
                <c:pt idx="1013">
                  <c:v>100</c:v>
                </c:pt>
                <c:pt idx="1014">
                  <c:v>100</c:v>
                </c:pt>
                <c:pt idx="1015">
                  <c:v>100</c:v>
                </c:pt>
                <c:pt idx="1016">
                  <c:v>100</c:v>
                </c:pt>
                <c:pt idx="1017">
                  <c:v>100</c:v>
                </c:pt>
                <c:pt idx="1018">
                  <c:v>100</c:v>
                </c:pt>
                <c:pt idx="1019">
                  <c:v>100</c:v>
                </c:pt>
                <c:pt idx="1020">
                  <c:v>100</c:v>
                </c:pt>
                <c:pt idx="1021">
                  <c:v>100</c:v>
                </c:pt>
                <c:pt idx="1022">
                  <c:v>100</c:v>
                </c:pt>
                <c:pt idx="1023">
                  <c:v>100</c:v>
                </c:pt>
                <c:pt idx="1024">
                  <c:v>100</c:v>
                </c:pt>
                <c:pt idx="1025">
                  <c:v>100</c:v>
                </c:pt>
                <c:pt idx="1026">
                  <c:v>100</c:v>
                </c:pt>
                <c:pt idx="1027">
                  <c:v>100</c:v>
                </c:pt>
                <c:pt idx="1028">
                  <c:v>100</c:v>
                </c:pt>
                <c:pt idx="1029">
                  <c:v>100</c:v>
                </c:pt>
                <c:pt idx="1030">
                  <c:v>100</c:v>
                </c:pt>
                <c:pt idx="1031">
                  <c:v>100</c:v>
                </c:pt>
                <c:pt idx="1032">
                  <c:v>100</c:v>
                </c:pt>
                <c:pt idx="1033">
                  <c:v>100</c:v>
                </c:pt>
                <c:pt idx="1034">
                  <c:v>100</c:v>
                </c:pt>
                <c:pt idx="1035">
                  <c:v>100</c:v>
                </c:pt>
                <c:pt idx="1036">
                  <c:v>100</c:v>
                </c:pt>
                <c:pt idx="1037">
                  <c:v>100</c:v>
                </c:pt>
                <c:pt idx="1038">
                  <c:v>100</c:v>
                </c:pt>
                <c:pt idx="1039">
                  <c:v>100</c:v>
                </c:pt>
                <c:pt idx="1040">
                  <c:v>100</c:v>
                </c:pt>
                <c:pt idx="1041">
                  <c:v>100</c:v>
                </c:pt>
                <c:pt idx="1042">
                  <c:v>100</c:v>
                </c:pt>
                <c:pt idx="1043">
                  <c:v>100</c:v>
                </c:pt>
                <c:pt idx="1044">
                  <c:v>100</c:v>
                </c:pt>
                <c:pt idx="1045">
                  <c:v>100</c:v>
                </c:pt>
                <c:pt idx="1046">
                  <c:v>100</c:v>
                </c:pt>
                <c:pt idx="1047">
                  <c:v>100</c:v>
                </c:pt>
                <c:pt idx="1048">
                  <c:v>100</c:v>
                </c:pt>
                <c:pt idx="1049">
                  <c:v>100</c:v>
                </c:pt>
                <c:pt idx="1050">
                  <c:v>100</c:v>
                </c:pt>
                <c:pt idx="1051">
                  <c:v>100</c:v>
                </c:pt>
                <c:pt idx="1052">
                  <c:v>100</c:v>
                </c:pt>
                <c:pt idx="1053">
                  <c:v>100</c:v>
                </c:pt>
                <c:pt idx="1054">
                  <c:v>100</c:v>
                </c:pt>
                <c:pt idx="1055">
                  <c:v>100</c:v>
                </c:pt>
                <c:pt idx="1056">
                  <c:v>100</c:v>
                </c:pt>
                <c:pt idx="1057">
                  <c:v>100</c:v>
                </c:pt>
                <c:pt idx="1058">
                  <c:v>100</c:v>
                </c:pt>
                <c:pt idx="1059">
                  <c:v>100</c:v>
                </c:pt>
                <c:pt idx="1060">
                  <c:v>100</c:v>
                </c:pt>
                <c:pt idx="1061">
                  <c:v>100</c:v>
                </c:pt>
                <c:pt idx="1062">
                  <c:v>100</c:v>
                </c:pt>
                <c:pt idx="1063">
                  <c:v>100</c:v>
                </c:pt>
                <c:pt idx="1064">
                  <c:v>100</c:v>
                </c:pt>
                <c:pt idx="1065">
                  <c:v>100</c:v>
                </c:pt>
                <c:pt idx="1066">
                  <c:v>100</c:v>
                </c:pt>
                <c:pt idx="1067">
                  <c:v>100</c:v>
                </c:pt>
                <c:pt idx="1068">
                  <c:v>100</c:v>
                </c:pt>
                <c:pt idx="1069">
                  <c:v>100</c:v>
                </c:pt>
                <c:pt idx="1070">
                  <c:v>100</c:v>
                </c:pt>
                <c:pt idx="1071">
                  <c:v>100</c:v>
                </c:pt>
                <c:pt idx="1072">
                  <c:v>100</c:v>
                </c:pt>
                <c:pt idx="1073">
                  <c:v>100</c:v>
                </c:pt>
                <c:pt idx="1074">
                  <c:v>100</c:v>
                </c:pt>
                <c:pt idx="1075">
                  <c:v>100</c:v>
                </c:pt>
                <c:pt idx="1076">
                  <c:v>100</c:v>
                </c:pt>
                <c:pt idx="1077">
                  <c:v>100</c:v>
                </c:pt>
                <c:pt idx="1078">
                  <c:v>100</c:v>
                </c:pt>
                <c:pt idx="1079">
                  <c:v>100</c:v>
                </c:pt>
                <c:pt idx="1080">
                  <c:v>100</c:v>
                </c:pt>
                <c:pt idx="1081">
                  <c:v>100</c:v>
                </c:pt>
                <c:pt idx="1082">
                  <c:v>100</c:v>
                </c:pt>
                <c:pt idx="1083">
                  <c:v>100</c:v>
                </c:pt>
                <c:pt idx="1084">
                  <c:v>100</c:v>
                </c:pt>
                <c:pt idx="1085">
                  <c:v>100</c:v>
                </c:pt>
                <c:pt idx="1086">
                  <c:v>100</c:v>
                </c:pt>
                <c:pt idx="1087">
                  <c:v>100</c:v>
                </c:pt>
                <c:pt idx="1088">
                  <c:v>100</c:v>
                </c:pt>
                <c:pt idx="1089">
                  <c:v>100</c:v>
                </c:pt>
                <c:pt idx="1090">
                  <c:v>100</c:v>
                </c:pt>
                <c:pt idx="1091">
                  <c:v>100</c:v>
                </c:pt>
                <c:pt idx="1092">
                  <c:v>100</c:v>
                </c:pt>
                <c:pt idx="1093">
                  <c:v>100</c:v>
                </c:pt>
                <c:pt idx="1094">
                  <c:v>100</c:v>
                </c:pt>
                <c:pt idx="1095">
                  <c:v>100</c:v>
                </c:pt>
                <c:pt idx="1096">
                  <c:v>100</c:v>
                </c:pt>
                <c:pt idx="1097">
                  <c:v>100</c:v>
                </c:pt>
                <c:pt idx="1098">
                  <c:v>100</c:v>
                </c:pt>
                <c:pt idx="1099">
                  <c:v>100</c:v>
                </c:pt>
                <c:pt idx="1100">
                  <c:v>100</c:v>
                </c:pt>
                <c:pt idx="1101">
                  <c:v>100</c:v>
                </c:pt>
                <c:pt idx="1102">
                  <c:v>100</c:v>
                </c:pt>
                <c:pt idx="1103">
                  <c:v>100</c:v>
                </c:pt>
                <c:pt idx="1104">
                  <c:v>100</c:v>
                </c:pt>
                <c:pt idx="1105">
                  <c:v>100</c:v>
                </c:pt>
                <c:pt idx="1106">
                  <c:v>100</c:v>
                </c:pt>
                <c:pt idx="1107">
                  <c:v>100</c:v>
                </c:pt>
                <c:pt idx="1108">
                  <c:v>100</c:v>
                </c:pt>
                <c:pt idx="1109">
                  <c:v>100</c:v>
                </c:pt>
                <c:pt idx="1110">
                  <c:v>100</c:v>
                </c:pt>
                <c:pt idx="1111">
                  <c:v>100</c:v>
                </c:pt>
                <c:pt idx="1112">
                  <c:v>100</c:v>
                </c:pt>
                <c:pt idx="1113">
                  <c:v>100</c:v>
                </c:pt>
                <c:pt idx="1114">
                  <c:v>100</c:v>
                </c:pt>
                <c:pt idx="1115">
                  <c:v>100</c:v>
                </c:pt>
                <c:pt idx="1116">
                  <c:v>100</c:v>
                </c:pt>
                <c:pt idx="1117">
                  <c:v>100</c:v>
                </c:pt>
                <c:pt idx="1118">
                  <c:v>100</c:v>
                </c:pt>
                <c:pt idx="1119">
                  <c:v>100</c:v>
                </c:pt>
                <c:pt idx="1120">
                  <c:v>100</c:v>
                </c:pt>
                <c:pt idx="1121">
                  <c:v>100</c:v>
                </c:pt>
                <c:pt idx="1122">
                  <c:v>100</c:v>
                </c:pt>
                <c:pt idx="1123">
                  <c:v>100</c:v>
                </c:pt>
                <c:pt idx="1124">
                  <c:v>100</c:v>
                </c:pt>
                <c:pt idx="1125">
                  <c:v>100</c:v>
                </c:pt>
                <c:pt idx="1126">
                  <c:v>100</c:v>
                </c:pt>
                <c:pt idx="1127">
                  <c:v>100</c:v>
                </c:pt>
                <c:pt idx="1128">
                  <c:v>100</c:v>
                </c:pt>
                <c:pt idx="1129">
                  <c:v>100</c:v>
                </c:pt>
                <c:pt idx="1130">
                  <c:v>100</c:v>
                </c:pt>
                <c:pt idx="1131">
                  <c:v>100</c:v>
                </c:pt>
                <c:pt idx="1132">
                  <c:v>100</c:v>
                </c:pt>
                <c:pt idx="1133">
                  <c:v>100</c:v>
                </c:pt>
                <c:pt idx="1134">
                  <c:v>100</c:v>
                </c:pt>
                <c:pt idx="1135">
                  <c:v>100</c:v>
                </c:pt>
                <c:pt idx="1136">
                  <c:v>100</c:v>
                </c:pt>
                <c:pt idx="1137">
                  <c:v>100</c:v>
                </c:pt>
                <c:pt idx="1138">
                  <c:v>100</c:v>
                </c:pt>
                <c:pt idx="1139">
                  <c:v>100</c:v>
                </c:pt>
                <c:pt idx="1140">
                  <c:v>50</c:v>
                </c:pt>
                <c:pt idx="1141">
                  <c:v>50</c:v>
                </c:pt>
                <c:pt idx="1142">
                  <c:v>50</c:v>
                </c:pt>
                <c:pt idx="1143">
                  <c:v>50</c:v>
                </c:pt>
                <c:pt idx="1144">
                  <c:v>50</c:v>
                </c:pt>
                <c:pt idx="1145">
                  <c:v>50</c:v>
                </c:pt>
                <c:pt idx="1146">
                  <c:v>50</c:v>
                </c:pt>
                <c:pt idx="1147">
                  <c:v>50</c:v>
                </c:pt>
                <c:pt idx="1148">
                  <c:v>50</c:v>
                </c:pt>
                <c:pt idx="1149">
                  <c:v>50</c:v>
                </c:pt>
                <c:pt idx="1150">
                  <c:v>50</c:v>
                </c:pt>
                <c:pt idx="1151">
                  <c:v>50</c:v>
                </c:pt>
                <c:pt idx="1152">
                  <c:v>50</c:v>
                </c:pt>
                <c:pt idx="1153">
                  <c:v>50</c:v>
                </c:pt>
                <c:pt idx="1154">
                  <c:v>50</c:v>
                </c:pt>
                <c:pt idx="1155">
                  <c:v>50</c:v>
                </c:pt>
                <c:pt idx="1156">
                  <c:v>50</c:v>
                </c:pt>
                <c:pt idx="1157">
                  <c:v>50</c:v>
                </c:pt>
                <c:pt idx="1158">
                  <c:v>50</c:v>
                </c:pt>
                <c:pt idx="1159">
                  <c:v>50</c:v>
                </c:pt>
                <c:pt idx="1160">
                  <c:v>50</c:v>
                </c:pt>
                <c:pt idx="1161">
                  <c:v>50</c:v>
                </c:pt>
                <c:pt idx="1162">
                  <c:v>50</c:v>
                </c:pt>
                <c:pt idx="1163">
                  <c:v>50</c:v>
                </c:pt>
                <c:pt idx="1164">
                  <c:v>50</c:v>
                </c:pt>
                <c:pt idx="1165">
                  <c:v>50</c:v>
                </c:pt>
                <c:pt idx="1166">
                  <c:v>50</c:v>
                </c:pt>
                <c:pt idx="1167">
                  <c:v>50</c:v>
                </c:pt>
                <c:pt idx="1168">
                  <c:v>50</c:v>
                </c:pt>
                <c:pt idx="1169">
                  <c:v>50</c:v>
                </c:pt>
                <c:pt idx="1170">
                  <c:v>50</c:v>
                </c:pt>
                <c:pt idx="1171">
                  <c:v>50</c:v>
                </c:pt>
                <c:pt idx="1172">
                  <c:v>50</c:v>
                </c:pt>
                <c:pt idx="1173">
                  <c:v>50</c:v>
                </c:pt>
                <c:pt idx="1174">
                  <c:v>50</c:v>
                </c:pt>
                <c:pt idx="1175">
                  <c:v>50</c:v>
                </c:pt>
                <c:pt idx="1176">
                  <c:v>50</c:v>
                </c:pt>
                <c:pt idx="1177">
                  <c:v>50</c:v>
                </c:pt>
                <c:pt idx="1178">
                  <c:v>50</c:v>
                </c:pt>
                <c:pt idx="1179">
                  <c:v>50</c:v>
                </c:pt>
                <c:pt idx="1180">
                  <c:v>50</c:v>
                </c:pt>
                <c:pt idx="1181">
                  <c:v>50</c:v>
                </c:pt>
                <c:pt idx="1182">
                  <c:v>50</c:v>
                </c:pt>
                <c:pt idx="1183">
                  <c:v>50</c:v>
                </c:pt>
                <c:pt idx="1184">
                  <c:v>50</c:v>
                </c:pt>
                <c:pt idx="1185">
                  <c:v>50</c:v>
                </c:pt>
                <c:pt idx="1186">
                  <c:v>50</c:v>
                </c:pt>
                <c:pt idx="1187">
                  <c:v>50</c:v>
                </c:pt>
                <c:pt idx="1188">
                  <c:v>50</c:v>
                </c:pt>
                <c:pt idx="1189">
                  <c:v>50</c:v>
                </c:pt>
                <c:pt idx="1190">
                  <c:v>50</c:v>
                </c:pt>
                <c:pt idx="1191">
                  <c:v>50</c:v>
                </c:pt>
                <c:pt idx="1192">
                  <c:v>50</c:v>
                </c:pt>
                <c:pt idx="1193">
                  <c:v>50</c:v>
                </c:pt>
                <c:pt idx="1194">
                  <c:v>50</c:v>
                </c:pt>
                <c:pt idx="1195">
                  <c:v>50</c:v>
                </c:pt>
                <c:pt idx="1196">
                  <c:v>50</c:v>
                </c:pt>
                <c:pt idx="1197">
                  <c:v>50</c:v>
                </c:pt>
                <c:pt idx="1198">
                  <c:v>50</c:v>
                </c:pt>
                <c:pt idx="1199">
                  <c:v>50</c:v>
                </c:pt>
                <c:pt idx="1200">
                  <c:v>50</c:v>
                </c:pt>
                <c:pt idx="1201">
                  <c:v>50</c:v>
                </c:pt>
                <c:pt idx="1202">
                  <c:v>50</c:v>
                </c:pt>
                <c:pt idx="1203">
                  <c:v>50</c:v>
                </c:pt>
                <c:pt idx="1204">
                  <c:v>50</c:v>
                </c:pt>
                <c:pt idx="1205">
                  <c:v>50</c:v>
                </c:pt>
                <c:pt idx="1206">
                  <c:v>50</c:v>
                </c:pt>
                <c:pt idx="1207">
                  <c:v>50</c:v>
                </c:pt>
                <c:pt idx="1208">
                  <c:v>50</c:v>
                </c:pt>
                <c:pt idx="1209">
                  <c:v>50</c:v>
                </c:pt>
                <c:pt idx="1210">
                  <c:v>50</c:v>
                </c:pt>
                <c:pt idx="1211">
                  <c:v>50</c:v>
                </c:pt>
                <c:pt idx="1212">
                  <c:v>50</c:v>
                </c:pt>
                <c:pt idx="1213">
                  <c:v>50</c:v>
                </c:pt>
                <c:pt idx="1214">
                  <c:v>50</c:v>
                </c:pt>
                <c:pt idx="1215">
                  <c:v>50</c:v>
                </c:pt>
                <c:pt idx="1216">
                  <c:v>50</c:v>
                </c:pt>
                <c:pt idx="1217">
                  <c:v>50</c:v>
                </c:pt>
                <c:pt idx="1218">
                  <c:v>50</c:v>
                </c:pt>
                <c:pt idx="1219">
                  <c:v>50</c:v>
                </c:pt>
                <c:pt idx="1220">
                  <c:v>50</c:v>
                </c:pt>
                <c:pt idx="1221">
                  <c:v>50</c:v>
                </c:pt>
                <c:pt idx="1222">
                  <c:v>50</c:v>
                </c:pt>
                <c:pt idx="1223">
                  <c:v>50</c:v>
                </c:pt>
                <c:pt idx="1224">
                  <c:v>50</c:v>
                </c:pt>
                <c:pt idx="1225">
                  <c:v>50</c:v>
                </c:pt>
                <c:pt idx="1226">
                  <c:v>50</c:v>
                </c:pt>
                <c:pt idx="1227">
                  <c:v>50</c:v>
                </c:pt>
                <c:pt idx="1228">
                  <c:v>50</c:v>
                </c:pt>
                <c:pt idx="1229">
                  <c:v>50</c:v>
                </c:pt>
                <c:pt idx="1230">
                  <c:v>50</c:v>
                </c:pt>
                <c:pt idx="1231">
                  <c:v>50</c:v>
                </c:pt>
                <c:pt idx="1232">
                  <c:v>50</c:v>
                </c:pt>
                <c:pt idx="1233">
                  <c:v>50</c:v>
                </c:pt>
                <c:pt idx="1234">
                  <c:v>50</c:v>
                </c:pt>
                <c:pt idx="1235">
                  <c:v>50</c:v>
                </c:pt>
                <c:pt idx="1236">
                  <c:v>50</c:v>
                </c:pt>
                <c:pt idx="1237">
                  <c:v>50</c:v>
                </c:pt>
                <c:pt idx="1238">
                  <c:v>50</c:v>
                </c:pt>
                <c:pt idx="1239">
                  <c:v>50</c:v>
                </c:pt>
                <c:pt idx="1240">
                  <c:v>50</c:v>
                </c:pt>
                <c:pt idx="1241">
                  <c:v>50</c:v>
                </c:pt>
                <c:pt idx="1242">
                  <c:v>50</c:v>
                </c:pt>
                <c:pt idx="1243">
                  <c:v>50</c:v>
                </c:pt>
                <c:pt idx="1244">
                  <c:v>50</c:v>
                </c:pt>
                <c:pt idx="1245">
                  <c:v>50</c:v>
                </c:pt>
                <c:pt idx="1246">
                  <c:v>50</c:v>
                </c:pt>
                <c:pt idx="1247">
                  <c:v>50</c:v>
                </c:pt>
                <c:pt idx="1248">
                  <c:v>50</c:v>
                </c:pt>
                <c:pt idx="1249">
                  <c:v>50</c:v>
                </c:pt>
                <c:pt idx="1250">
                  <c:v>50</c:v>
                </c:pt>
                <c:pt idx="1251">
                  <c:v>50</c:v>
                </c:pt>
                <c:pt idx="1252">
                  <c:v>50</c:v>
                </c:pt>
                <c:pt idx="1253">
                  <c:v>50</c:v>
                </c:pt>
                <c:pt idx="1254">
                  <c:v>50</c:v>
                </c:pt>
                <c:pt idx="1255">
                  <c:v>50</c:v>
                </c:pt>
                <c:pt idx="1256">
                  <c:v>50</c:v>
                </c:pt>
                <c:pt idx="1257">
                  <c:v>50</c:v>
                </c:pt>
                <c:pt idx="1258">
                  <c:v>50</c:v>
                </c:pt>
                <c:pt idx="1259">
                  <c:v>50</c:v>
                </c:pt>
                <c:pt idx="1260">
                  <c:v>50</c:v>
                </c:pt>
                <c:pt idx="1261">
                  <c:v>50</c:v>
                </c:pt>
                <c:pt idx="1262">
                  <c:v>50</c:v>
                </c:pt>
                <c:pt idx="1263">
                  <c:v>50</c:v>
                </c:pt>
                <c:pt idx="1264">
                  <c:v>50</c:v>
                </c:pt>
                <c:pt idx="1265">
                  <c:v>50</c:v>
                </c:pt>
                <c:pt idx="1266">
                  <c:v>50</c:v>
                </c:pt>
                <c:pt idx="1267">
                  <c:v>50</c:v>
                </c:pt>
                <c:pt idx="1268">
                  <c:v>50</c:v>
                </c:pt>
                <c:pt idx="1269">
                  <c:v>50</c:v>
                </c:pt>
                <c:pt idx="1270">
                  <c:v>50</c:v>
                </c:pt>
                <c:pt idx="1271">
                  <c:v>50</c:v>
                </c:pt>
                <c:pt idx="1272">
                  <c:v>50</c:v>
                </c:pt>
                <c:pt idx="1273">
                  <c:v>50</c:v>
                </c:pt>
                <c:pt idx="1274">
                  <c:v>50</c:v>
                </c:pt>
                <c:pt idx="1275">
                  <c:v>50</c:v>
                </c:pt>
                <c:pt idx="1276">
                  <c:v>50</c:v>
                </c:pt>
                <c:pt idx="1277">
                  <c:v>50</c:v>
                </c:pt>
                <c:pt idx="1278">
                  <c:v>50</c:v>
                </c:pt>
                <c:pt idx="1279">
                  <c:v>50</c:v>
                </c:pt>
                <c:pt idx="1280">
                  <c:v>50</c:v>
                </c:pt>
                <c:pt idx="1281">
                  <c:v>50</c:v>
                </c:pt>
                <c:pt idx="1282">
                  <c:v>50</c:v>
                </c:pt>
                <c:pt idx="1283">
                  <c:v>50</c:v>
                </c:pt>
                <c:pt idx="1284">
                  <c:v>50</c:v>
                </c:pt>
                <c:pt idx="1285">
                  <c:v>50</c:v>
                </c:pt>
                <c:pt idx="1286">
                  <c:v>50</c:v>
                </c:pt>
                <c:pt idx="1287">
                  <c:v>50</c:v>
                </c:pt>
                <c:pt idx="1288">
                  <c:v>50</c:v>
                </c:pt>
                <c:pt idx="1289">
                  <c:v>50</c:v>
                </c:pt>
                <c:pt idx="1290">
                  <c:v>50</c:v>
                </c:pt>
                <c:pt idx="1291">
                  <c:v>50</c:v>
                </c:pt>
                <c:pt idx="1292">
                  <c:v>50</c:v>
                </c:pt>
                <c:pt idx="1293">
                  <c:v>50</c:v>
                </c:pt>
                <c:pt idx="1294">
                  <c:v>50</c:v>
                </c:pt>
                <c:pt idx="1295">
                  <c:v>50</c:v>
                </c:pt>
                <c:pt idx="1296">
                  <c:v>50</c:v>
                </c:pt>
                <c:pt idx="1297">
                  <c:v>50</c:v>
                </c:pt>
                <c:pt idx="1298">
                  <c:v>50</c:v>
                </c:pt>
                <c:pt idx="1299">
                  <c:v>50</c:v>
                </c:pt>
                <c:pt idx="1300">
                  <c:v>50</c:v>
                </c:pt>
                <c:pt idx="1301">
                  <c:v>50</c:v>
                </c:pt>
                <c:pt idx="1302">
                  <c:v>50</c:v>
                </c:pt>
                <c:pt idx="1303">
                  <c:v>50</c:v>
                </c:pt>
                <c:pt idx="1304">
                  <c:v>50</c:v>
                </c:pt>
                <c:pt idx="1305">
                  <c:v>50</c:v>
                </c:pt>
                <c:pt idx="1306">
                  <c:v>50</c:v>
                </c:pt>
                <c:pt idx="1307">
                  <c:v>50</c:v>
                </c:pt>
                <c:pt idx="1308">
                  <c:v>50</c:v>
                </c:pt>
                <c:pt idx="1309">
                  <c:v>50</c:v>
                </c:pt>
                <c:pt idx="1310">
                  <c:v>50</c:v>
                </c:pt>
                <c:pt idx="1311">
                  <c:v>50</c:v>
                </c:pt>
                <c:pt idx="1312">
                  <c:v>50</c:v>
                </c:pt>
                <c:pt idx="1313">
                  <c:v>50</c:v>
                </c:pt>
                <c:pt idx="1314">
                  <c:v>50</c:v>
                </c:pt>
                <c:pt idx="1315">
                  <c:v>50</c:v>
                </c:pt>
                <c:pt idx="1316">
                  <c:v>50</c:v>
                </c:pt>
                <c:pt idx="1317">
                  <c:v>50</c:v>
                </c:pt>
                <c:pt idx="1318">
                  <c:v>50</c:v>
                </c:pt>
                <c:pt idx="1319">
                  <c:v>50</c:v>
                </c:pt>
                <c:pt idx="1320">
                  <c:v>50</c:v>
                </c:pt>
                <c:pt idx="1321">
                  <c:v>50</c:v>
                </c:pt>
                <c:pt idx="1322">
                  <c:v>50</c:v>
                </c:pt>
                <c:pt idx="1323">
                  <c:v>50</c:v>
                </c:pt>
                <c:pt idx="1324">
                  <c:v>50</c:v>
                </c:pt>
                <c:pt idx="1325">
                  <c:v>50</c:v>
                </c:pt>
                <c:pt idx="1326">
                  <c:v>50</c:v>
                </c:pt>
                <c:pt idx="1327">
                  <c:v>50</c:v>
                </c:pt>
                <c:pt idx="1328">
                  <c:v>50</c:v>
                </c:pt>
                <c:pt idx="1329">
                  <c:v>50</c:v>
                </c:pt>
                <c:pt idx="1330">
                  <c:v>50</c:v>
                </c:pt>
                <c:pt idx="1331">
                  <c:v>50</c:v>
                </c:pt>
                <c:pt idx="1332">
                  <c:v>50</c:v>
                </c:pt>
                <c:pt idx="1333">
                  <c:v>50</c:v>
                </c:pt>
                <c:pt idx="1334">
                  <c:v>50</c:v>
                </c:pt>
                <c:pt idx="1335">
                  <c:v>50</c:v>
                </c:pt>
                <c:pt idx="1336">
                  <c:v>50</c:v>
                </c:pt>
                <c:pt idx="1337">
                  <c:v>50</c:v>
                </c:pt>
                <c:pt idx="1338">
                  <c:v>50</c:v>
                </c:pt>
                <c:pt idx="1339">
                  <c:v>50</c:v>
                </c:pt>
                <c:pt idx="1340">
                  <c:v>50</c:v>
                </c:pt>
                <c:pt idx="1341">
                  <c:v>50</c:v>
                </c:pt>
                <c:pt idx="1342">
                  <c:v>50</c:v>
                </c:pt>
                <c:pt idx="1343">
                  <c:v>50</c:v>
                </c:pt>
                <c:pt idx="1344">
                  <c:v>50</c:v>
                </c:pt>
                <c:pt idx="1345">
                  <c:v>50</c:v>
                </c:pt>
                <c:pt idx="1346">
                  <c:v>50</c:v>
                </c:pt>
                <c:pt idx="1347">
                  <c:v>50</c:v>
                </c:pt>
                <c:pt idx="1348">
                  <c:v>50</c:v>
                </c:pt>
                <c:pt idx="1349">
                  <c:v>50</c:v>
                </c:pt>
                <c:pt idx="1350">
                  <c:v>50</c:v>
                </c:pt>
                <c:pt idx="1351">
                  <c:v>50</c:v>
                </c:pt>
                <c:pt idx="1352">
                  <c:v>50</c:v>
                </c:pt>
                <c:pt idx="1353">
                  <c:v>50</c:v>
                </c:pt>
                <c:pt idx="1354">
                  <c:v>50</c:v>
                </c:pt>
                <c:pt idx="1355">
                  <c:v>50</c:v>
                </c:pt>
                <c:pt idx="1356">
                  <c:v>50</c:v>
                </c:pt>
                <c:pt idx="1357">
                  <c:v>50</c:v>
                </c:pt>
                <c:pt idx="1358">
                  <c:v>50</c:v>
                </c:pt>
                <c:pt idx="1359">
                  <c:v>50</c:v>
                </c:pt>
                <c:pt idx="1360">
                  <c:v>50</c:v>
                </c:pt>
                <c:pt idx="1361">
                  <c:v>50</c:v>
                </c:pt>
                <c:pt idx="1362">
                  <c:v>50</c:v>
                </c:pt>
                <c:pt idx="1363">
                  <c:v>50</c:v>
                </c:pt>
                <c:pt idx="1364">
                  <c:v>50</c:v>
                </c:pt>
                <c:pt idx="1365">
                  <c:v>50</c:v>
                </c:pt>
                <c:pt idx="1366">
                  <c:v>50</c:v>
                </c:pt>
                <c:pt idx="1367">
                  <c:v>50</c:v>
                </c:pt>
                <c:pt idx="1368">
                  <c:v>50</c:v>
                </c:pt>
                <c:pt idx="1369">
                  <c:v>50</c:v>
                </c:pt>
                <c:pt idx="1370">
                  <c:v>50</c:v>
                </c:pt>
                <c:pt idx="1371">
                  <c:v>50</c:v>
                </c:pt>
                <c:pt idx="1372">
                  <c:v>50</c:v>
                </c:pt>
                <c:pt idx="1373">
                  <c:v>50</c:v>
                </c:pt>
                <c:pt idx="1374">
                  <c:v>50</c:v>
                </c:pt>
                <c:pt idx="1375">
                  <c:v>50</c:v>
                </c:pt>
                <c:pt idx="1376">
                  <c:v>50</c:v>
                </c:pt>
                <c:pt idx="1377">
                  <c:v>50</c:v>
                </c:pt>
                <c:pt idx="1378">
                  <c:v>50</c:v>
                </c:pt>
                <c:pt idx="1379">
                  <c:v>50</c:v>
                </c:pt>
                <c:pt idx="1380">
                  <c:v>50</c:v>
                </c:pt>
                <c:pt idx="1381">
                  <c:v>100</c:v>
                </c:pt>
                <c:pt idx="1382">
                  <c:v>100</c:v>
                </c:pt>
                <c:pt idx="1383">
                  <c:v>100</c:v>
                </c:pt>
                <c:pt idx="1384">
                  <c:v>100</c:v>
                </c:pt>
                <c:pt idx="1385">
                  <c:v>100</c:v>
                </c:pt>
                <c:pt idx="1386">
                  <c:v>100</c:v>
                </c:pt>
                <c:pt idx="1387">
                  <c:v>100</c:v>
                </c:pt>
                <c:pt idx="1388">
                  <c:v>100</c:v>
                </c:pt>
                <c:pt idx="1389">
                  <c:v>100</c:v>
                </c:pt>
                <c:pt idx="1390">
                  <c:v>100</c:v>
                </c:pt>
                <c:pt idx="1391">
                  <c:v>100</c:v>
                </c:pt>
                <c:pt idx="1392">
                  <c:v>100</c:v>
                </c:pt>
                <c:pt idx="1393">
                  <c:v>100</c:v>
                </c:pt>
                <c:pt idx="1394">
                  <c:v>100</c:v>
                </c:pt>
                <c:pt idx="1395">
                  <c:v>100</c:v>
                </c:pt>
                <c:pt idx="1396">
                  <c:v>100</c:v>
                </c:pt>
                <c:pt idx="1397">
                  <c:v>100</c:v>
                </c:pt>
                <c:pt idx="1398">
                  <c:v>100</c:v>
                </c:pt>
                <c:pt idx="1399">
                  <c:v>100</c:v>
                </c:pt>
                <c:pt idx="1400">
                  <c:v>100</c:v>
                </c:pt>
                <c:pt idx="1401">
                  <c:v>100</c:v>
                </c:pt>
                <c:pt idx="1402">
                  <c:v>100</c:v>
                </c:pt>
                <c:pt idx="1403">
                  <c:v>100</c:v>
                </c:pt>
                <c:pt idx="1404">
                  <c:v>100</c:v>
                </c:pt>
                <c:pt idx="1405">
                  <c:v>100</c:v>
                </c:pt>
                <c:pt idx="1406">
                  <c:v>100</c:v>
                </c:pt>
                <c:pt idx="1407">
                  <c:v>100</c:v>
                </c:pt>
                <c:pt idx="1408">
                  <c:v>100</c:v>
                </c:pt>
                <c:pt idx="1409">
                  <c:v>100</c:v>
                </c:pt>
                <c:pt idx="1410">
                  <c:v>100</c:v>
                </c:pt>
                <c:pt idx="1411">
                  <c:v>100</c:v>
                </c:pt>
                <c:pt idx="1412">
                  <c:v>100</c:v>
                </c:pt>
                <c:pt idx="1413">
                  <c:v>100</c:v>
                </c:pt>
                <c:pt idx="1414">
                  <c:v>100</c:v>
                </c:pt>
                <c:pt idx="1415">
                  <c:v>100</c:v>
                </c:pt>
                <c:pt idx="1416">
                  <c:v>100</c:v>
                </c:pt>
                <c:pt idx="1417">
                  <c:v>100</c:v>
                </c:pt>
                <c:pt idx="1418">
                  <c:v>100</c:v>
                </c:pt>
                <c:pt idx="1419">
                  <c:v>100</c:v>
                </c:pt>
                <c:pt idx="1420">
                  <c:v>100</c:v>
                </c:pt>
                <c:pt idx="1421">
                  <c:v>100</c:v>
                </c:pt>
                <c:pt idx="1422">
                  <c:v>100</c:v>
                </c:pt>
                <c:pt idx="1423">
                  <c:v>100</c:v>
                </c:pt>
                <c:pt idx="1424">
                  <c:v>100</c:v>
                </c:pt>
                <c:pt idx="1425">
                  <c:v>100</c:v>
                </c:pt>
                <c:pt idx="1426">
                  <c:v>100</c:v>
                </c:pt>
                <c:pt idx="1427">
                  <c:v>100</c:v>
                </c:pt>
                <c:pt idx="1428">
                  <c:v>100</c:v>
                </c:pt>
                <c:pt idx="1429">
                  <c:v>100</c:v>
                </c:pt>
                <c:pt idx="1430">
                  <c:v>100</c:v>
                </c:pt>
                <c:pt idx="1431">
                  <c:v>100</c:v>
                </c:pt>
                <c:pt idx="1432">
                  <c:v>100</c:v>
                </c:pt>
                <c:pt idx="1433">
                  <c:v>100</c:v>
                </c:pt>
                <c:pt idx="1434">
                  <c:v>100</c:v>
                </c:pt>
                <c:pt idx="1435">
                  <c:v>100</c:v>
                </c:pt>
                <c:pt idx="1436">
                  <c:v>100</c:v>
                </c:pt>
                <c:pt idx="1437">
                  <c:v>100</c:v>
                </c:pt>
                <c:pt idx="1438">
                  <c:v>100</c:v>
                </c:pt>
                <c:pt idx="1439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DB1-4660-B1F0-8932831B098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319740568"/>
        <c:axId val="1319738600"/>
      </c:areaChart>
      <c:line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Leistung der Ladevorgänge</c:v>
                </c:pt>
              </c:strCache>
            </c:strRef>
          </c:tx>
          <c:spPr>
            <a:ln w="28575" cap="rnd">
              <a:solidFill>
                <a:srgbClr val="000099"/>
              </a:solidFill>
              <a:round/>
            </a:ln>
            <a:effectLst/>
          </c:spPr>
          <c:marker>
            <c:symbol val="none"/>
          </c:marker>
          <c:cat>
            <c:numRef>
              <c:f>Tabelle1!$A$2:$A$1441</c:f>
              <c:numCache>
                <c:formatCode>h:mm;@</c:formatCode>
                <c:ptCount val="1440"/>
                <c:pt idx="0">
                  <c:v>0</c:v>
                </c:pt>
                <c:pt idx="1">
                  <c:v>6.9444444444444447E-4</c:v>
                </c:pt>
                <c:pt idx="2">
                  <c:v>1.38888888888889E-3</c:v>
                </c:pt>
                <c:pt idx="3">
                  <c:v>2.0833333333333298E-3</c:v>
                </c:pt>
                <c:pt idx="4">
                  <c:v>2.7777777777777801E-3</c:v>
                </c:pt>
                <c:pt idx="5">
                  <c:v>3.4722222222222199E-3</c:v>
                </c:pt>
                <c:pt idx="6">
                  <c:v>4.1666666666666701E-3</c:v>
                </c:pt>
                <c:pt idx="7">
                  <c:v>4.8611111111111103E-3</c:v>
                </c:pt>
                <c:pt idx="8">
                  <c:v>5.5555555555555601E-3</c:v>
                </c:pt>
                <c:pt idx="9">
                  <c:v>6.2500000000000003E-3</c:v>
                </c:pt>
                <c:pt idx="10">
                  <c:v>6.9444444444444397E-3</c:v>
                </c:pt>
                <c:pt idx="11">
                  <c:v>7.6388888888888904E-3</c:v>
                </c:pt>
                <c:pt idx="12">
                  <c:v>8.3333333333333297E-3</c:v>
                </c:pt>
                <c:pt idx="13">
                  <c:v>9.0277777777777804E-3</c:v>
                </c:pt>
                <c:pt idx="14">
                  <c:v>9.7222222222222206E-3</c:v>
                </c:pt>
                <c:pt idx="15">
                  <c:v>1.0416666666666701E-2</c:v>
                </c:pt>
                <c:pt idx="16">
                  <c:v>1.1111111111111099E-2</c:v>
                </c:pt>
                <c:pt idx="17">
                  <c:v>1.18055555555556E-2</c:v>
                </c:pt>
                <c:pt idx="18">
                  <c:v>1.2500000000000001E-2</c:v>
                </c:pt>
                <c:pt idx="19">
                  <c:v>1.3194444444444399E-2</c:v>
                </c:pt>
                <c:pt idx="20">
                  <c:v>1.38888888888889E-2</c:v>
                </c:pt>
                <c:pt idx="21">
                  <c:v>1.4583333333333301E-2</c:v>
                </c:pt>
                <c:pt idx="22">
                  <c:v>1.52777777777778E-2</c:v>
                </c:pt>
                <c:pt idx="23">
                  <c:v>1.59722222222222E-2</c:v>
                </c:pt>
                <c:pt idx="24">
                  <c:v>1.6666666666666701E-2</c:v>
                </c:pt>
                <c:pt idx="25">
                  <c:v>1.7361111111111101E-2</c:v>
                </c:pt>
                <c:pt idx="26">
                  <c:v>1.8055555555555599E-2</c:v>
                </c:pt>
                <c:pt idx="27">
                  <c:v>1.8749999999999999E-2</c:v>
                </c:pt>
                <c:pt idx="28">
                  <c:v>1.94444444444444E-2</c:v>
                </c:pt>
                <c:pt idx="29">
                  <c:v>2.0138888888888901E-2</c:v>
                </c:pt>
                <c:pt idx="30">
                  <c:v>2.0833333333333301E-2</c:v>
                </c:pt>
                <c:pt idx="31">
                  <c:v>2.1527777777777798E-2</c:v>
                </c:pt>
                <c:pt idx="32">
                  <c:v>2.2222222222222199E-2</c:v>
                </c:pt>
                <c:pt idx="33">
                  <c:v>2.29166666666667E-2</c:v>
                </c:pt>
                <c:pt idx="34">
                  <c:v>2.36111111111111E-2</c:v>
                </c:pt>
                <c:pt idx="35">
                  <c:v>2.4305555555555601E-2</c:v>
                </c:pt>
                <c:pt idx="36">
                  <c:v>2.5000000000000001E-2</c:v>
                </c:pt>
                <c:pt idx="37">
                  <c:v>2.5694444444444402E-2</c:v>
                </c:pt>
                <c:pt idx="38">
                  <c:v>2.6388888888888899E-2</c:v>
                </c:pt>
                <c:pt idx="39">
                  <c:v>2.70833333333333E-2</c:v>
                </c:pt>
                <c:pt idx="40">
                  <c:v>2.7777777777777801E-2</c:v>
                </c:pt>
                <c:pt idx="41">
                  <c:v>2.8472222222222201E-2</c:v>
                </c:pt>
                <c:pt idx="42">
                  <c:v>2.9166666666666698E-2</c:v>
                </c:pt>
                <c:pt idx="43">
                  <c:v>2.9861111111111099E-2</c:v>
                </c:pt>
                <c:pt idx="44">
                  <c:v>3.05555555555556E-2</c:v>
                </c:pt>
                <c:pt idx="45">
                  <c:v>3.125E-2</c:v>
                </c:pt>
                <c:pt idx="46">
                  <c:v>3.19444444444444E-2</c:v>
                </c:pt>
                <c:pt idx="47">
                  <c:v>3.2638888888888898E-2</c:v>
                </c:pt>
                <c:pt idx="48">
                  <c:v>3.3333333333333298E-2</c:v>
                </c:pt>
                <c:pt idx="49">
                  <c:v>3.4027777777777803E-2</c:v>
                </c:pt>
                <c:pt idx="50">
                  <c:v>3.4722222222222203E-2</c:v>
                </c:pt>
                <c:pt idx="51">
                  <c:v>3.54166666666667E-2</c:v>
                </c:pt>
                <c:pt idx="52">
                  <c:v>3.6111111111111101E-2</c:v>
                </c:pt>
                <c:pt idx="53">
                  <c:v>3.6805555555555598E-2</c:v>
                </c:pt>
                <c:pt idx="54">
                  <c:v>3.7499999999999999E-2</c:v>
                </c:pt>
                <c:pt idx="55">
                  <c:v>3.8194444444444399E-2</c:v>
                </c:pt>
                <c:pt idx="56">
                  <c:v>3.8888888888888903E-2</c:v>
                </c:pt>
                <c:pt idx="57">
                  <c:v>3.9583333333333297E-2</c:v>
                </c:pt>
                <c:pt idx="58">
                  <c:v>4.0277777777777801E-2</c:v>
                </c:pt>
                <c:pt idx="59">
                  <c:v>4.0972222222222202E-2</c:v>
                </c:pt>
                <c:pt idx="60">
                  <c:v>4.1666666666666699E-2</c:v>
                </c:pt>
                <c:pt idx="61">
                  <c:v>4.2361111111111099E-2</c:v>
                </c:pt>
                <c:pt idx="62">
                  <c:v>4.3055555555555597E-2</c:v>
                </c:pt>
                <c:pt idx="63">
                  <c:v>4.3749999999999997E-2</c:v>
                </c:pt>
                <c:pt idx="64">
                  <c:v>4.4444444444444398E-2</c:v>
                </c:pt>
                <c:pt idx="65">
                  <c:v>4.5138888888888902E-2</c:v>
                </c:pt>
                <c:pt idx="66">
                  <c:v>4.5833333333333302E-2</c:v>
                </c:pt>
                <c:pt idx="67">
                  <c:v>4.65277777777778E-2</c:v>
                </c:pt>
                <c:pt idx="68">
                  <c:v>4.72222222222222E-2</c:v>
                </c:pt>
                <c:pt idx="69">
                  <c:v>4.7916666666666698E-2</c:v>
                </c:pt>
                <c:pt idx="70">
                  <c:v>4.8611111111111098E-2</c:v>
                </c:pt>
                <c:pt idx="71">
                  <c:v>4.9305555555555602E-2</c:v>
                </c:pt>
                <c:pt idx="72">
                  <c:v>0.05</c:v>
                </c:pt>
                <c:pt idx="73">
                  <c:v>5.0694444444444403E-2</c:v>
                </c:pt>
                <c:pt idx="74">
                  <c:v>5.1388888888888901E-2</c:v>
                </c:pt>
                <c:pt idx="75">
                  <c:v>5.2083333333333301E-2</c:v>
                </c:pt>
                <c:pt idx="76">
                  <c:v>5.2777777777777798E-2</c:v>
                </c:pt>
                <c:pt idx="77">
                  <c:v>5.3472222222222199E-2</c:v>
                </c:pt>
                <c:pt idx="78">
                  <c:v>5.4166666666666703E-2</c:v>
                </c:pt>
                <c:pt idx="79">
                  <c:v>5.4861111111111097E-2</c:v>
                </c:pt>
                <c:pt idx="80">
                  <c:v>5.5555555555555601E-2</c:v>
                </c:pt>
                <c:pt idx="81">
                  <c:v>5.6250000000000001E-2</c:v>
                </c:pt>
                <c:pt idx="82">
                  <c:v>5.6944444444444402E-2</c:v>
                </c:pt>
                <c:pt idx="83">
                  <c:v>5.7638888888888899E-2</c:v>
                </c:pt>
                <c:pt idx="84">
                  <c:v>5.83333333333333E-2</c:v>
                </c:pt>
                <c:pt idx="85">
                  <c:v>5.9027777777777797E-2</c:v>
                </c:pt>
                <c:pt idx="86">
                  <c:v>5.9722222222222197E-2</c:v>
                </c:pt>
                <c:pt idx="87">
                  <c:v>6.0416666666666702E-2</c:v>
                </c:pt>
                <c:pt idx="88">
                  <c:v>6.1111111111111102E-2</c:v>
                </c:pt>
                <c:pt idx="89">
                  <c:v>6.18055555555556E-2</c:v>
                </c:pt>
                <c:pt idx="90">
                  <c:v>6.25E-2</c:v>
                </c:pt>
                <c:pt idx="91">
                  <c:v>6.31944444444444E-2</c:v>
                </c:pt>
                <c:pt idx="92">
                  <c:v>6.3888888888888898E-2</c:v>
                </c:pt>
                <c:pt idx="93">
                  <c:v>6.4583333333333298E-2</c:v>
                </c:pt>
                <c:pt idx="94">
                  <c:v>6.5277777777777796E-2</c:v>
                </c:pt>
                <c:pt idx="95">
                  <c:v>6.5972222222222196E-2</c:v>
                </c:pt>
                <c:pt idx="96">
                  <c:v>6.6666666666666693E-2</c:v>
                </c:pt>
                <c:pt idx="97">
                  <c:v>6.7361111111111094E-2</c:v>
                </c:pt>
                <c:pt idx="98">
                  <c:v>6.8055555555555605E-2</c:v>
                </c:pt>
                <c:pt idx="99">
                  <c:v>6.8750000000000006E-2</c:v>
                </c:pt>
                <c:pt idx="100">
                  <c:v>6.9444444444444406E-2</c:v>
                </c:pt>
                <c:pt idx="101">
                  <c:v>7.0138888888888903E-2</c:v>
                </c:pt>
                <c:pt idx="102">
                  <c:v>7.0833333333333304E-2</c:v>
                </c:pt>
                <c:pt idx="103">
                  <c:v>7.1527777777777801E-2</c:v>
                </c:pt>
                <c:pt idx="104">
                  <c:v>7.2222222222222202E-2</c:v>
                </c:pt>
                <c:pt idx="105">
                  <c:v>7.2916666666666699E-2</c:v>
                </c:pt>
                <c:pt idx="106">
                  <c:v>7.3611111111111099E-2</c:v>
                </c:pt>
                <c:pt idx="107">
                  <c:v>7.4305555555555597E-2</c:v>
                </c:pt>
                <c:pt idx="108">
                  <c:v>7.4999999999999997E-2</c:v>
                </c:pt>
                <c:pt idx="109">
                  <c:v>7.5694444444444495E-2</c:v>
                </c:pt>
                <c:pt idx="110">
                  <c:v>7.6388888888888895E-2</c:v>
                </c:pt>
                <c:pt idx="111">
                  <c:v>7.7083333333333295E-2</c:v>
                </c:pt>
                <c:pt idx="112">
                  <c:v>7.7777777777777807E-2</c:v>
                </c:pt>
                <c:pt idx="113">
                  <c:v>7.8472222222222193E-2</c:v>
                </c:pt>
                <c:pt idx="114">
                  <c:v>7.9166666666666705E-2</c:v>
                </c:pt>
                <c:pt idx="115">
                  <c:v>7.9861111111111105E-2</c:v>
                </c:pt>
                <c:pt idx="116">
                  <c:v>8.0555555555555602E-2</c:v>
                </c:pt>
                <c:pt idx="117">
                  <c:v>8.1250000000000003E-2</c:v>
                </c:pt>
                <c:pt idx="118">
                  <c:v>8.1944444444444403E-2</c:v>
                </c:pt>
                <c:pt idx="119">
                  <c:v>8.2638888888888901E-2</c:v>
                </c:pt>
                <c:pt idx="120">
                  <c:v>8.3333333333333301E-2</c:v>
                </c:pt>
                <c:pt idx="121">
                  <c:v>8.4027777777777798E-2</c:v>
                </c:pt>
                <c:pt idx="122">
                  <c:v>8.4722222222222199E-2</c:v>
                </c:pt>
                <c:pt idx="123">
                  <c:v>8.5416666666666696E-2</c:v>
                </c:pt>
                <c:pt idx="124">
                  <c:v>8.6111111111111097E-2</c:v>
                </c:pt>
                <c:pt idx="125">
                  <c:v>8.6805555555555594E-2</c:v>
                </c:pt>
                <c:pt idx="126">
                  <c:v>8.7499999999999994E-2</c:v>
                </c:pt>
                <c:pt idx="127">
                  <c:v>8.8194444444444506E-2</c:v>
                </c:pt>
                <c:pt idx="128">
                  <c:v>8.8888888888888906E-2</c:v>
                </c:pt>
                <c:pt idx="129">
                  <c:v>8.9583333333333307E-2</c:v>
                </c:pt>
                <c:pt idx="130">
                  <c:v>9.0277777777777804E-2</c:v>
                </c:pt>
                <c:pt idx="131">
                  <c:v>9.0972222222222204E-2</c:v>
                </c:pt>
                <c:pt idx="132">
                  <c:v>9.1666666666666702E-2</c:v>
                </c:pt>
                <c:pt idx="133">
                  <c:v>9.2361111111111102E-2</c:v>
                </c:pt>
                <c:pt idx="134">
                  <c:v>9.30555555555556E-2</c:v>
                </c:pt>
                <c:pt idx="135">
                  <c:v>9.375E-2</c:v>
                </c:pt>
                <c:pt idx="136">
                  <c:v>9.44444444444444E-2</c:v>
                </c:pt>
                <c:pt idx="137">
                  <c:v>9.5138888888888898E-2</c:v>
                </c:pt>
                <c:pt idx="138">
                  <c:v>9.5833333333333298E-2</c:v>
                </c:pt>
                <c:pt idx="139">
                  <c:v>9.6527777777777796E-2</c:v>
                </c:pt>
                <c:pt idx="140">
                  <c:v>9.7222222222222196E-2</c:v>
                </c:pt>
                <c:pt idx="141">
                  <c:v>9.7916666666666693E-2</c:v>
                </c:pt>
                <c:pt idx="142">
                  <c:v>9.8611111111111094E-2</c:v>
                </c:pt>
                <c:pt idx="143">
                  <c:v>9.9305555555555605E-2</c:v>
                </c:pt>
                <c:pt idx="144">
                  <c:v>0.1</c:v>
                </c:pt>
                <c:pt idx="145">
                  <c:v>0.100694444444444</c:v>
                </c:pt>
                <c:pt idx="146">
                  <c:v>0.101388888888889</c:v>
                </c:pt>
                <c:pt idx="147">
                  <c:v>0.102083333333333</c:v>
                </c:pt>
                <c:pt idx="148">
                  <c:v>0.102777777777778</c:v>
                </c:pt>
                <c:pt idx="149">
                  <c:v>0.10347222222222199</c:v>
                </c:pt>
                <c:pt idx="150">
                  <c:v>0.104166666666667</c:v>
                </c:pt>
                <c:pt idx="151">
                  <c:v>0.104861111111111</c:v>
                </c:pt>
                <c:pt idx="152">
                  <c:v>0.105555555555556</c:v>
                </c:pt>
                <c:pt idx="153">
                  <c:v>0.10625</c:v>
                </c:pt>
                <c:pt idx="154">
                  <c:v>0.106944444444444</c:v>
                </c:pt>
                <c:pt idx="155">
                  <c:v>0.10763888888888901</c:v>
                </c:pt>
                <c:pt idx="156">
                  <c:v>0.108333333333333</c:v>
                </c:pt>
                <c:pt idx="157">
                  <c:v>0.109027777777778</c:v>
                </c:pt>
                <c:pt idx="158">
                  <c:v>0.109722222222222</c:v>
                </c:pt>
                <c:pt idx="159">
                  <c:v>0.110416666666667</c:v>
                </c:pt>
                <c:pt idx="160">
                  <c:v>0.11111111111111099</c:v>
                </c:pt>
                <c:pt idx="161">
                  <c:v>0.111805555555556</c:v>
                </c:pt>
                <c:pt idx="162">
                  <c:v>0.1125</c:v>
                </c:pt>
                <c:pt idx="163">
                  <c:v>0.113194444444444</c:v>
                </c:pt>
                <c:pt idx="164">
                  <c:v>0.113888888888889</c:v>
                </c:pt>
                <c:pt idx="165">
                  <c:v>0.114583333333333</c:v>
                </c:pt>
                <c:pt idx="166">
                  <c:v>0.11527777777777801</c:v>
                </c:pt>
                <c:pt idx="167">
                  <c:v>0.115972222222222</c:v>
                </c:pt>
                <c:pt idx="168">
                  <c:v>0.116666666666667</c:v>
                </c:pt>
                <c:pt idx="169">
                  <c:v>0.117361111111111</c:v>
                </c:pt>
                <c:pt idx="170">
                  <c:v>0.118055555555556</c:v>
                </c:pt>
                <c:pt idx="171">
                  <c:v>0.11874999999999999</c:v>
                </c:pt>
                <c:pt idx="172">
                  <c:v>0.11944444444444401</c:v>
                </c:pt>
                <c:pt idx="173">
                  <c:v>0.120138888888889</c:v>
                </c:pt>
                <c:pt idx="174">
                  <c:v>0.120833333333333</c:v>
                </c:pt>
                <c:pt idx="175">
                  <c:v>0.121527777777778</c:v>
                </c:pt>
                <c:pt idx="176">
                  <c:v>0.122222222222222</c:v>
                </c:pt>
                <c:pt idx="177">
                  <c:v>0.12291666666666699</c:v>
                </c:pt>
                <c:pt idx="178">
                  <c:v>0.12361111111111101</c:v>
                </c:pt>
                <c:pt idx="179">
                  <c:v>0.124305555555556</c:v>
                </c:pt>
                <c:pt idx="180">
                  <c:v>0.125</c:v>
                </c:pt>
                <c:pt idx="181">
                  <c:v>0.125694444444444</c:v>
                </c:pt>
                <c:pt idx="182">
                  <c:v>0.12638888888888899</c:v>
                </c:pt>
                <c:pt idx="183">
                  <c:v>0.12708333333333299</c:v>
                </c:pt>
                <c:pt idx="184">
                  <c:v>0.12777777777777799</c:v>
                </c:pt>
                <c:pt idx="185">
                  <c:v>0.12847222222222199</c:v>
                </c:pt>
                <c:pt idx="186">
                  <c:v>0.12916666666666701</c:v>
                </c:pt>
                <c:pt idx="187">
                  <c:v>0.12986111111111101</c:v>
                </c:pt>
                <c:pt idx="188">
                  <c:v>0.13055555555555601</c:v>
                </c:pt>
                <c:pt idx="189">
                  <c:v>0.13125000000000001</c:v>
                </c:pt>
                <c:pt idx="190">
                  <c:v>0.131944444444444</c:v>
                </c:pt>
                <c:pt idx="191">
                  <c:v>0.132638888888889</c:v>
                </c:pt>
                <c:pt idx="192">
                  <c:v>0.133333333333333</c:v>
                </c:pt>
                <c:pt idx="193">
                  <c:v>0.134027777777778</c:v>
                </c:pt>
                <c:pt idx="194">
                  <c:v>0.13472222222222199</c:v>
                </c:pt>
                <c:pt idx="195">
                  <c:v>0.13541666666666699</c:v>
                </c:pt>
                <c:pt idx="196">
                  <c:v>0.13611111111111099</c:v>
                </c:pt>
                <c:pt idx="197">
                  <c:v>0.13680555555555601</c:v>
                </c:pt>
                <c:pt idx="198">
                  <c:v>0.13750000000000001</c:v>
                </c:pt>
                <c:pt idx="199">
                  <c:v>0.13819444444444401</c:v>
                </c:pt>
                <c:pt idx="200">
                  <c:v>0.13888888888888901</c:v>
                </c:pt>
                <c:pt idx="201">
                  <c:v>0.139583333333333</c:v>
                </c:pt>
                <c:pt idx="202">
                  <c:v>0.140277777777778</c:v>
                </c:pt>
                <c:pt idx="203">
                  <c:v>0.140972222222222</c:v>
                </c:pt>
                <c:pt idx="204">
                  <c:v>0.141666666666667</c:v>
                </c:pt>
                <c:pt idx="205">
                  <c:v>0.14236111111111099</c:v>
                </c:pt>
                <c:pt idx="206">
                  <c:v>0.14305555555555599</c:v>
                </c:pt>
                <c:pt idx="207">
                  <c:v>0.14374999999999999</c:v>
                </c:pt>
                <c:pt idx="208">
                  <c:v>0.14444444444444399</c:v>
                </c:pt>
                <c:pt idx="209">
                  <c:v>0.14513888888888901</c:v>
                </c:pt>
                <c:pt idx="210">
                  <c:v>0.14583333333333301</c:v>
                </c:pt>
                <c:pt idx="211">
                  <c:v>0.14652777777777801</c:v>
                </c:pt>
                <c:pt idx="212">
                  <c:v>0.147222222222222</c:v>
                </c:pt>
                <c:pt idx="213">
                  <c:v>0.147916666666667</c:v>
                </c:pt>
                <c:pt idx="214">
                  <c:v>0.148611111111111</c:v>
                </c:pt>
                <c:pt idx="215">
                  <c:v>0.149305555555556</c:v>
                </c:pt>
                <c:pt idx="216">
                  <c:v>0.15</c:v>
                </c:pt>
                <c:pt idx="217">
                  <c:v>0.15069444444444399</c:v>
                </c:pt>
                <c:pt idx="218">
                  <c:v>0.15138888888888899</c:v>
                </c:pt>
                <c:pt idx="219">
                  <c:v>0.15208333333333299</c:v>
                </c:pt>
                <c:pt idx="220">
                  <c:v>0.15277777777777801</c:v>
                </c:pt>
                <c:pt idx="221">
                  <c:v>0.15347222222222201</c:v>
                </c:pt>
                <c:pt idx="222">
                  <c:v>0.15416666666666701</c:v>
                </c:pt>
                <c:pt idx="223">
                  <c:v>0.15486111111111101</c:v>
                </c:pt>
                <c:pt idx="224">
                  <c:v>0.155555555555556</c:v>
                </c:pt>
                <c:pt idx="225">
                  <c:v>0.15625</c:v>
                </c:pt>
                <c:pt idx="226">
                  <c:v>0.156944444444444</c:v>
                </c:pt>
                <c:pt idx="227">
                  <c:v>0.15763888888888899</c:v>
                </c:pt>
                <c:pt idx="228">
                  <c:v>0.15833333333333299</c:v>
                </c:pt>
                <c:pt idx="229">
                  <c:v>0.15902777777777799</c:v>
                </c:pt>
                <c:pt idx="230">
                  <c:v>0.15972222222222199</c:v>
                </c:pt>
                <c:pt idx="231">
                  <c:v>0.16041666666666701</c:v>
                </c:pt>
                <c:pt idx="232">
                  <c:v>0.16111111111111101</c:v>
                </c:pt>
                <c:pt idx="233">
                  <c:v>0.16180555555555601</c:v>
                </c:pt>
                <c:pt idx="234">
                  <c:v>0.16250000000000001</c:v>
                </c:pt>
                <c:pt idx="235">
                  <c:v>0.163194444444444</c:v>
                </c:pt>
                <c:pt idx="236">
                  <c:v>0.163888888888889</c:v>
                </c:pt>
                <c:pt idx="237">
                  <c:v>0.164583333333333</c:v>
                </c:pt>
                <c:pt idx="238">
                  <c:v>0.165277777777778</c:v>
                </c:pt>
                <c:pt idx="239">
                  <c:v>0.16597222222222199</c:v>
                </c:pt>
                <c:pt idx="240">
                  <c:v>0.16666666666666699</c:v>
                </c:pt>
                <c:pt idx="241">
                  <c:v>0.16736111111111099</c:v>
                </c:pt>
                <c:pt idx="242">
                  <c:v>0.16805555555555601</c:v>
                </c:pt>
                <c:pt idx="243">
                  <c:v>0.16875000000000001</c:v>
                </c:pt>
                <c:pt idx="244">
                  <c:v>0.16944444444444401</c:v>
                </c:pt>
                <c:pt idx="245">
                  <c:v>0.17013888888888901</c:v>
                </c:pt>
                <c:pt idx="246">
                  <c:v>0.170833333333333</c:v>
                </c:pt>
                <c:pt idx="247">
                  <c:v>0.171527777777778</c:v>
                </c:pt>
                <c:pt idx="248">
                  <c:v>0.172222222222222</c:v>
                </c:pt>
                <c:pt idx="249">
                  <c:v>0.172916666666667</c:v>
                </c:pt>
                <c:pt idx="250">
                  <c:v>0.17361111111111099</c:v>
                </c:pt>
                <c:pt idx="251">
                  <c:v>0.17430555555555599</c:v>
                </c:pt>
                <c:pt idx="252">
                  <c:v>0.17499999999999999</c:v>
                </c:pt>
                <c:pt idx="253">
                  <c:v>0.17569444444444399</c:v>
                </c:pt>
                <c:pt idx="254">
                  <c:v>0.17638888888888901</c:v>
                </c:pt>
                <c:pt idx="255">
                  <c:v>0.17708333333333301</c:v>
                </c:pt>
                <c:pt idx="256">
                  <c:v>0.17777777777777801</c:v>
                </c:pt>
                <c:pt idx="257">
                  <c:v>0.178472222222222</c:v>
                </c:pt>
                <c:pt idx="258">
                  <c:v>0.179166666666667</c:v>
                </c:pt>
                <c:pt idx="259">
                  <c:v>0.179861111111111</c:v>
                </c:pt>
                <c:pt idx="260">
                  <c:v>0.180555555555556</c:v>
                </c:pt>
                <c:pt idx="261">
                  <c:v>0.18124999999999999</c:v>
                </c:pt>
                <c:pt idx="262">
                  <c:v>0.18194444444444399</c:v>
                </c:pt>
                <c:pt idx="263">
                  <c:v>0.18263888888888899</c:v>
                </c:pt>
                <c:pt idx="264">
                  <c:v>0.18333333333333299</c:v>
                </c:pt>
                <c:pt idx="265">
                  <c:v>0.18402777777777801</c:v>
                </c:pt>
                <c:pt idx="266">
                  <c:v>0.18472222222222201</c:v>
                </c:pt>
                <c:pt idx="267">
                  <c:v>0.18541666666666701</c:v>
                </c:pt>
                <c:pt idx="268">
                  <c:v>0.18611111111111101</c:v>
                </c:pt>
                <c:pt idx="269">
                  <c:v>0.186805555555556</c:v>
                </c:pt>
                <c:pt idx="270">
                  <c:v>0.1875</c:v>
                </c:pt>
                <c:pt idx="271">
                  <c:v>0.188194444444444</c:v>
                </c:pt>
                <c:pt idx="272">
                  <c:v>0.18888888888888899</c:v>
                </c:pt>
                <c:pt idx="273">
                  <c:v>0.18958333333333299</c:v>
                </c:pt>
                <c:pt idx="274">
                  <c:v>0.19027777777777799</c:v>
                </c:pt>
                <c:pt idx="275">
                  <c:v>0.19097222222222199</c:v>
                </c:pt>
                <c:pt idx="276">
                  <c:v>0.19166666666666701</c:v>
                </c:pt>
                <c:pt idx="277">
                  <c:v>0.19236111111111101</c:v>
                </c:pt>
                <c:pt idx="278">
                  <c:v>0.19305555555555601</c:v>
                </c:pt>
                <c:pt idx="279">
                  <c:v>0.19375000000000001</c:v>
                </c:pt>
                <c:pt idx="280">
                  <c:v>0.194444444444444</c:v>
                </c:pt>
                <c:pt idx="281">
                  <c:v>0.195138888888889</c:v>
                </c:pt>
                <c:pt idx="282">
                  <c:v>0.195833333333333</c:v>
                </c:pt>
                <c:pt idx="283">
                  <c:v>0.196527777777778</c:v>
                </c:pt>
                <c:pt idx="284">
                  <c:v>0.19722222222222199</c:v>
                </c:pt>
                <c:pt idx="285">
                  <c:v>0.19791666666666699</c:v>
                </c:pt>
                <c:pt idx="286">
                  <c:v>0.19861111111111099</c:v>
                </c:pt>
                <c:pt idx="287">
                  <c:v>0.19930555555555601</c:v>
                </c:pt>
                <c:pt idx="288">
                  <c:v>0.2</c:v>
                </c:pt>
                <c:pt idx="289">
                  <c:v>0.20069444444444401</c:v>
                </c:pt>
                <c:pt idx="290">
                  <c:v>0.20138888888888901</c:v>
                </c:pt>
                <c:pt idx="291">
                  <c:v>0.202083333333333</c:v>
                </c:pt>
                <c:pt idx="292">
                  <c:v>0.202777777777778</c:v>
                </c:pt>
                <c:pt idx="293">
                  <c:v>0.203472222222222</c:v>
                </c:pt>
                <c:pt idx="294">
                  <c:v>0.204166666666667</c:v>
                </c:pt>
                <c:pt idx="295">
                  <c:v>0.20486111111111099</c:v>
                </c:pt>
                <c:pt idx="296">
                  <c:v>0.20555555555555599</c:v>
                </c:pt>
                <c:pt idx="297">
                  <c:v>0.20624999999999999</c:v>
                </c:pt>
                <c:pt idx="298">
                  <c:v>0.20694444444444399</c:v>
                </c:pt>
                <c:pt idx="299">
                  <c:v>0.20763888888888901</c:v>
                </c:pt>
                <c:pt idx="300">
                  <c:v>0.20833333333333301</c:v>
                </c:pt>
                <c:pt idx="301">
                  <c:v>0.20902777777777801</c:v>
                </c:pt>
                <c:pt idx="302">
                  <c:v>0.209722222222222</c:v>
                </c:pt>
                <c:pt idx="303">
                  <c:v>0.210416666666667</c:v>
                </c:pt>
                <c:pt idx="304">
                  <c:v>0.211111111111111</c:v>
                </c:pt>
                <c:pt idx="305">
                  <c:v>0.211805555555556</c:v>
                </c:pt>
                <c:pt idx="306">
                  <c:v>0.21249999999999999</c:v>
                </c:pt>
                <c:pt idx="307">
                  <c:v>0.21319444444444399</c:v>
                </c:pt>
                <c:pt idx="308">
                  <c:v>0.21388888888888899</c:v>
                </c:pt>
                <c:pt idx="309">
                  <c:v>0.21458333333333299</c:v>
                </c:pt>
                <c:pt idx="310">
                  <c:v>0.21527777777777801</c:v>
                </c:pt>
                <c:pt idx="311">
                  <c:v>0.21597222222222201</c:v>
                </c:pt>
                <c:pt idx="312">
                  <c:v>0.21666666666666701</c:v>
                </c:pt>
                <c:pt idx="313">
                  <c:v>0.21736111111111101</c:v>
                </c:pt>
                <c:pt idx="314">
                  <c:v>0.218055555555556</c:v>
                </c:pt>
                <c:pt idx="315">
                  <c:v>0.21875</c:v>
                </c:pt>
                <c:pt idx="316">
                  <c:v>0.219444444444444</c:v>
                </c:pt>
                <c:pt idx="317">
                  <c:v>0.22013888888888899</c:v>
                </c:pt>
                <c:pt idx="318">
                  <c:v>0.22083333333333299</c:v>
                </c:pt>
                <c:pt idx="319">
                  <c:v>0.22152777777777799</c:v>
                </c:pt>
                <c:pt idx="320">
                  <c:v>0.22222222222222199</c:v>
                </c:pt>
                <c:pt idx="321">
                  <c:v>0.22291666666666701</c:v>
                </c:pt>
                <c:pt idx="322">
                  <c:v>0.22361111111111101</c:v>
                </c:pt>
                <c:pt idx="323">
                  <c:v>0.22430555555555601</c:v>
                </c:pt>
                <c:pt idx="324">
                  <c:v>0.22500000000000001</c:v>
                </c:pt>
                <c:pt idx="325">
                  <c:v>0.225694444444444</c:v>
                </c:pt>
                <c:pt idx="326">
                  <c:v>0.226388888888889</c:v>
                </c:pt>
                <c:pt idx="327">
                  <c:v>0.227083333333333</c:v>
                </c:pt>
                <c:pt idx="328">
                  <c:v>0.227777777777778</c:v>
                </c:pt>
                <c:pt idx="329">
                  <c:v>0.22847222222222199</c:v>
                </c:pt>
                <c:pt idx="330">
                  <c:v>0.22916666666666699</c:v>
                </c:pt>
                <c:pt idx="331">
                  <c:v>0.22986111111111099</c:v>
                </c:pt>
                <c:pt idx="332">
                  <c:v>0.23055555555555601</c:v>
                </c:pt>
                <c:pt idx="333">
                  <c:v>0.23125000000000001</c:v>
                </c:pt>
                <c:pt idx="334">
                  <c:v>0.23194444444444401</c:v>
                </c:pt>
                <c:pt idx="335">
                  <c:v>0.23263888888888901</c:v>
                </c:pt>
                <c:pt idx="336">
                  <c:v>0.233333333333333</c:v>
                </c:pt>
                <c:pt idx="337">
                  <c:v>0.234027777777778</c:v>
                </c:pt>
                <c:pt idx="338">
                  <c:v>0.234722222222222</c:v>
                </c:pt>
                <c:pt idx="339">
                  <c:v>0.235416666666667</c:v>
                </c:pt>
                <c:pt idx="340">
                  <c:v>0.23611111111111099</c:v>
                </c:pt>
                <c:pt idx="341">
                  <c:v>0.23680555555555599</c:v>
                </c:pt>
                <c:pt idx="342">
                  <c:v>0.23749999999999999</c:v>
                </c:pt>
                <c:pt idx="343">
                  <c:v>0.23819444444444399</c:v>
                </c:pt>
                <c:pt idx="344">
                  <c:v>0.23888888888888901</c:v>
                </c:pt>
                <c:pt idx="345">
                  <c:v>0.23958333333333301</c:v>
                </c:pt>
                <c:pt idx="346">
                  <c:v>0.24027777777777801</c:v>
                </c:pt>
                <c:pt idx="347">
                  <c:v>0.240972222222222</c:v>
                </c:pt>
                <c:pt idx="348">
                  <c:v>0.241666666666667</c:v>
                </c:pt>
                <c:pt idx="349">
                  <c:v>0.242361111111111</c:v>
                </c:pt>
                <c:pt idx="350">
                  <c:v>0.243055555555556</c:v>
                </c:pt>
                <c:pt idx="351">
                  <c:v>0.24374999999999999</c:v>
                </c:pt>
                <c:pt idx="352">
                  <c:v>0.24444444444444399</c:v>
                </c:pt>
                <c:pt idx="353">
                  <c:v>0.24513888888888899</c:v>
                </c:pt>
                <c:pt idx="354">
                  <c:v>0.24583333333333299</c:v>
                </c:pt>
                <c:pt idx="355">
                  <c:v>0.24652777777777801</c:v>
                </c:pt>
                <c:pt idx="356">
                  <c:v>0.24722222222222201</c:v>
                </c:pt>
                <c:pt idx="357">
                  <c:v>0.24791666666666701</c:v>
                </c:pt>
                <c:pt idx="358">
                  <c:v>0.24861111111111101</c:v>
                </c:pt>
                <c:pt idx="359">
                  <c:v>0.249305555555556</c:v>
                </c:pt>
                <c:pt idx="360">
                  <c:v>0.25</c:v>
                </c:pt>
                <c:pt idx="361">
                  <c:v>0.250694444444444</c:v>
                </c:pt>
                <c:pt idx="362">
                  <c:v>0.25138888888888899</c:v>
                </c:pt>
                <c:pt idx="363">
                  <c:v>0.25208333333333299</c:v>
                </c:pt>
                <c:pt idx="364">
                  <c:v>0.25277777777777799</c:v>
                </c:pt>
                <c:pt idx="365">
                  <c:v>0.25347222222222199</c:v>
                </c:pt>
                <c:pt idx="366">
                  <c:v>0.25416666666666698</c:v>
                </c:pt>
                <c:pt idx="367">
                  <c:v>0.25486111111111098</c:v>
                </c:pt>
                <c:pt idx="368">
                  <c:v>0.25555555555555598</c:v>
                </c:pt>
                <c:pt idx="369">
                  <c:v>0.25624999999999998</c:v>
                </c:pt>
                <c:pt idx="370">
                  <c:v>0.25694444444444398</c:v>
                </c:pt>
                <c:pt idx="371">
                  <c:v>0.25763888888888897</c:v>
                </c:pt>
                <c:pt idx="372">
                  <c:v>0.25833333333333303</c:v>
                </c:pt>
                <c:pt idx="373">
                  <c:v>0.25902777777777802</c:v>
                </c:pt>
                <c:pt idx="374">
                  <c:v>0.25972222222222202</c:v>
                </c:pt>
                <c:pt idx="375">
                  <c:v>0.26041666666666702</c:v>
                </c:pt>
                <c:pt idx="376">
                  <c:v>0.26111111111111102</c:v>
                </c:pt>
                <c:pt idx="377">
                  <c:v>0.26180555555555601</c:v>
                </c:pt>
                <c:pt idx="378">
                  <c:v>0.26250000000000001</c:v>
                </c:pt>
                <c:pt idx="379">
                  <c:v>0.26319444444444401</c:v>
                </c:pt>
                <c:pt idx="380">
                  <c:v>0.26388888888888901</c:v>
                </c:pt>
                <c:pt idx="381">
                  <c:v>0.264583333333333</c:v>
                </c:pt>
                <c:pt idx="382">
                  <c:v>0.265277777777778</c:v>
                </c:pt>
                <c:pt idx="383">
                  <c:v>0.265972222222222</c:v>
                </c:pt>
                <c:pt idx="384">
                  <c:v>0.266666666666667</c:v>
                </c:pt>
                <c:pt idx="385">
                  <c:v>0.26736111111111099</c:v>
                </c:pt>
                <c:pt idx="386">
                  <c:v>0.26805555555555599</c:v>
                </c:pt>
                <c:pt idx="387">
                  <c:v>0.26874999999999999</c:v>
                </c:pt>
                <c:pt idx="388">
                  <c:v>0.26944444444444399</c:v>
                </c:pt>
                <c:pt idx="389">
                  <c:v>0.27013888888888898</c:v>
                </c:pt>
                <c:pt idx="390">
                  <c:v>0.27083333333333298</c:v>
                </c:pt>
                <c:pt idx="391">
                  <c:v>0.27152777777777798</c:v>
                </c:pt>
                <c:pt idx="392">
                  <c:v>0.27222222222222198</c:v>
                </c:pt>
                <c:pt idx="393">
                  <c:v>0.27291666666666697</c:v>
                </c:pt>
                <c:pt idx="394">
                  <c:v>0.27361111111111103</c:v>
                </c:pt>
                <c:pt idx="395">
                  <c:v>0.27430555555555602</c:v>
                </c:pt>
                <c:pt idx="396">
                  <c:v>0.27500000000000002</c:v>
                </c:pt>
                <c:pt idx="397">
                  <c:v>0.27569444444444402</c:v>
                </c:pt>
                <c:pt idx="398">
                  <c:v>0.27638888888888902</c:v>
                </c:pt>
                <c:pt idx="399">
                  <c:v>0.27708333333333302</c:v>
                </c:pt>
                <c:pt idx="400">
                  <c:v>0.27777777777777801</c:v>
                </c:pt>
                <c:pt idx="401">
                  <c:v>0.27847222222222201</c:v>
                </c:pt>
                <c:pt idx="402">
                  <c:v>0.27916666666666701</c:v>
                </c:pt>
                <c:pt idx="403">
                  <c:v>0.27986111111111101</c:v>
                </c:pt>
                <c:pt idx="404">
                  <c:v>0.280555555555556</c:v>
                </c:pt>
                <c:pt idx="405">
                  <c:v>0.28125</c:v>
                </c:pt>
                <c:pt idx="406">
                  <c:v>0.281944444444444</c:v>
                </c:pt>
                <c:pt idx="407">
                  <c:v>0.28263888888888899</c:v>
                </c:pt>
                <c:pt idx="408">
                  <c:v>0.28333333333333299</c:v>
                </c:pt>
                <c:pt idx="409">
                  <c:v>0.28402777777777799</c:v>
                </c:pt>
                <c:pt idx="410">
                  <c:v>0.28472222222222199</c:v>
                </c:pt>
                <c:pt idx="411">
                  <c:v>0.28541666666666698</c:v>
                </c:pt>
                <c:pt idx="412">
                  <c:v>0.28611111111111098</c:v>
                </c:pt>
                <c:pt idx="413">
                  <c:v>0.28680555555555598</c:v>
                </c:pt>
                <c:pt idx="414">
                  <c:v>0.28749999999999998</c:v>
                </c:pt>
                <c:pt idx="415">
                  <c:v>0.28819444444444398</c:v>
                </c:pt>
                <c:pt idx="416">
                  <c:v>0.28888888888888897</c:v>
                </c:pt>
                <c:pt idx="417">
                  <c:v>0.28958333333333303</c:v>
                </c:pt>
                <c:pt idx="418">
                  <c:v>0.29027777777777802</c:v>
                </c:pt>
                <c:pt idx="419">
                  <c:v>0.29097222222222202</c:v>
                </c:pt>
                <c:pt idx="420">
                  <c:v>0.29166666666666702</c:v>
                </c:pt>
                <c:pt idx="421">
                  <c:v>0.29236111111111102</c:v>
                </c:pt>
                <c:pt idx="422">
                  <c:v>0.29305555555555601</c:v>
                </c:pt>
                <c:pt idx="423">
                  <c:v>0.29375000000000001</c:v>
                </c:pt>
                <c:pt idx="424">
                  <c:v>0.29444444444444401</c:v>
                </c:pt>
                <c:pt idx="425">
                  <c:v>0.29513888888888901</c:v>
                </c:pt>
                <c:pt idx="426">
                  <c:v>0.295833333333333</c:v>
                </c:pt>
                <c:pt idx="427">
                  <c:v>0.296527777777778</c:v>
                </c:pt>
                <c:pt idx="428">
                  <c:v>0.297222222222222</c:v>
                </c:pt>
                <c:pt idx="429">
                  <c:v>0.297916666666667</c:v>
                </c:pt>
                <c:pt idx="430">
                  <c:v>0.29861111111111099</c:v>
                </c:pt>
                <c:pt idx="431">
                  <c:v>0.29930555555555599</c:v>
                </c:pt>
                <c:pt idx="432">
                  <c:v>0.3</c:v>
                </c:pt>
                <c:pt idx="433">
                  <c:v>0.30069444444444399</c:v>
                </c:pt>
                <c:pt idx="434">
                  <c:v>0.30138888888888898</c:v>
                </c:pt>
                <c:pt idx="435">
                  <c:v>0.30208333333333298</c:v>
                </c:pt>
                <c:pt idx="436">
                  <c:v>0.30277777777777798</c:v>
                </c:pt>
                <c:pt idx="437">
                  <c:v>0.30347222222222198</c:v>
                </c:pt>
                <c:pt idx="438">
                  <c:v>0.30416666666666697</c:v>
                </c:pt>
                <c:pt idx="439">
                  <c:v>0.30486111111111103</c:v>
                </c:pt>
                <c:pt idx="440">
                  <c:v>0.30555555555555602</c:v>
                </c:pt>
                <c:pt idx="441">
                  <c:v>0.30625000000000002</c:v>
                </c:pt>
                <c:pt idx="442">
                  <c:v>0.30694444444444402</c:v>
                </c:pt>
                <c:pt idx="443">
                  <c:v>0.30763888888888902</c:v>
                </c:pt>
                <c:pt idx="444">
                  <c:v>0.30833333333333302</c:v>
                </c:pt>
                <c:pt idx="445">
                  <c:v>0.30902777777777801</c:v>
                </c:pt>
                <c:pt idx="446">
                  <c:v>0.30972222222222201</c:v>
                </c:pt>
                <c:pt idx="447">
                  <c:v>0.31041666666666701</c:v>
                </c:pt>
                <c:pt idx="448">
                  <c:v>0.31111111111111101</c:v>
                </c:pt>
                <c:pt idx="449">
                  <c:v>0.311805555555556</c:v>
                </c:pt>
                <c:pt idx="450">
                  <c:v>0.3125</c:v>
                </c:pt>
                <c:pt idx="451">
                  <c:v>0.313194444444444</c:v>
                </c:pt>
                <c:pt idx="452">
                  <c:v>0.31388888888888899</c:v>
                </c:pt>
                <c:pt idx="453">
                  <c:v>0.31458333333333299</c:v>
                </c:pt>
                <c:pt idx="454">
                  <c:v>0.31527777777777799</c:v>
                </c:pt>
                <c:pt idx="455">
                  <c:v>0.31597222222222199</c:v>
                </c:pt>
                <c:pt idx="456">
                  <c:v>0.31666666666666698</c:v>
                </c:pt>
                <c:pt idx="457">
                  <c:v>0.31736111111111098</c:v>
                </c:pt>
                <c:pt idx="458">
                  <c:v>0.31805555555555598</c:v>
                </c:pt>
                <c:pt idx="459">
                  <c:v>0.31874999999999998</c:v>
                </c:pt>
                <c:pt idx="460">
                  <c:v>0.31944444444444398</c:v>
                </c:pt>
                <c:pt idx="461">
                  <c:v>0.32013888888888897</c:v>
                </c:pt>
                <c:pt idx="462">
                  <c:v>0.32083333333333303</c:v>
                </c:pt>
                <c:pt idx="463">
                  <c:v>0.32152777777777802</c:v>
                </c:pt>
                <c:pt idx="464">
                  <c:v>0.32222222222222202</c:v>
                </c:pt>
                <c:pt idx="465">
                  <c:v>0.32291666666666702</c:v>
                </c:pt>
                <c:pt idx="466">
                  <c:v>0.32361111111111102</c:v>
                </c:pt>
                <c:pt idx="467">
                  <c:v>0.32430555555555601</c:v>
                </c:pt>
                <c:pt idx="468">
                  <c:v>0.32500000000000001</c:v>
                </c:pt>
                <c:pt idx="469">
                  <c:v>0.32569444444444401</c:v>
                </c:pt>
                <c:pt idx="470">
                  <c:v>0.32638888888888901</c:v>
                </c:pt>
                <c:pt idx="471">
                  <c:v>0.327083333333333</c:v>
                </c:pt>
                <c:pt idx="472">
                  <c:v>0.327777777777778</c:v>
                </c:pt>
                <c:pt idx="473">
                  <c:v>0.328472222222222</c:v>
                </c:pt>
                <c:pt idx="474">
                  <c:v>0.329166666666667</c:v>
                </c:pt>
                <c:pt idx="475">
                  <c:v>0.32986111111111099</c:v>
                </c:pt>
                <c:pt idx="476">
                  <c:v>0.33055555555555599</c:v>
                </c:pt>
                <c:pt idx="477">
                  <c:v>0.33124999999999999</c:v>
                </c:pt>
                <c:pt idx="478">
                  <c:v>0.33194444444444399</c:v>
                </c:pt>
                <c:pt idx="479">
                  <c:v>0.33263888888888898</c:v>
                </c:pt>
                <c:pt idx="480">
                  <c:v>0.33333333333333298</c:v>
                </c:pt>
                <c:pt idx="481">
                  <c:v>0.33402777777777798</c:v>
                </c:pt>
                <c:pt idx="482">
                  <c:v>0.33472222222222198</c:v>
                </c:pt>
                <c:pt idx="483">
                  <c:v>0.33541666666666697</c:v>
                </c:pt>
                <c:pt idx="484">
                  <c:v>0.33611111111111103</c:v>
                </c:pt>
                <c:pt idx="485">
                  <c:v>0.33680555555555602</c:v>
                </c:pt>
                <c:pt idx="486">
                  <c:v>0.33750000000000002</c:v>
                </c:pt>
                <c:pt idx="487">
                  <c:v>0.33819444444444402</c:v>
                </c:pt>
                <c:pt idx="488">
                  <c:v>0.33888888888888902</c:v>
                </c:pt>
                <c:pt idx="489">
                  <c:v>0.33958333333333302</c:v>
                </c:pt>
                <c:pt idx="490">
                  <c:v>0.34027777777777801</c:v>
                </c:pt>
                <c:pt idx="491">
                  <c:v>0.34097222222222201</c:v>
                </c:pt>
                <c:pt idx="492">
                  <c:v>0.34166666666666701</c:v>
                </c:pt>
                <c:pt idx="493">
                  <c:v>0.34236111111111101</c:v>
                </c:pt>
                <c:pt idx="494">
                  <c:v>0.343055555555556</c:v>
                </c:pt>
                <c:pt idx="495">
                  <c:v>0.34375</c:v>
                </c:pt>
                <c:pt idx="496">
                  <c:v>0.344444444444444</c:v>
                </c:pt>
                <c:pt idx="497">
                  <c:v>0.34513888888888899</c:v>
                </c:pt>
                <c:pt idx="498">
                  <c:v>0.34583333333333299</c:v>
                </c:pt>
                <c:pt idx="499">
                  <c:v>0.34652777777777799</c:v>
                </c:pt>
                <c:pt idx="500">
                  <c:v>0.34722222222222199</c:v>
                </c:pt>
                <c:pt idx="501">
                  <c:v>0.34791666666666698</c:v>
                </c:pt>
                <c:pt idx="502">
                  <c:v>0.34861111111111098</c:v>
                </c:pt>
                <c:pt idx="503">
                  <c:v>0.34930555555555598</c:v>
                </c:pt>
                <c:pt idx="504">
                  <c:v>0.35</c:v>
                </c:pt>
                <c:pt idx="505">
                  <c:v>0.35069444444444398</c:v>
                </c:pt>
                <c:pt idx="506">
                  <c:v>0.35138888888888897</c:v>
                </c:pt>
                <c:pt idx="507">
                  <c:v>0.35208333333333303</c:v>
                </c:pt>
                <c:pt idx="508">
                  <c:v>0.35277777777777802</c:v>
                </c:pt>
                <c:pt idx="509">
                  <c:v>0.35347222222222202</c:v>
                </c:pt>
                <c:pt idx="510">
                  <c:v>0.35416666666666702</c:v>
                </c:pt>
                <c:pt idx="511">
                  <c:v>0.35486111111111102</c:v>
                </c:pt>
                <c:pt idx="512">
                  <c:v>0.35555555555555601</c:v>
                </c:pt>
                <c:pt idx="513">
                  <c:v>0.35625000000000001</c:v>
                </c:pt>
                <c:pt idx="514">
                  <c:v>0.35694444444444401</c:v>
                </c:pt>
                <c:pt idx="515">
                  <c:v>0.35763888888888901</c:v>
                </c:pt>
                <c:pt idx="516">
                  <c:v>0.358333333333333</c:v>
                </c:pt>
                <c:pt idx="517">
                  <c:v>0.359027777777778</c:v>
                </c:pt>
                <c:pt idx="518">
                  <c:v>0.359722222222222</c:v>
                </c:pt>
                <c:pt idx="519">
                  <c:v>0.360416666666667</c:v>
                </c:pt>
                <c:pt idx="520">
                  <c:v>0.36111111111111099</c:v>
                </c:pt>
                <c:pt idx="521">
                  <c:v>0.36180555555555599</c:v>
                </c:pt>
                <c:pt idx="522">
                  <c:v>0.36249999999999999</c:v>
                </c:pt>
                <c:pt idx="523">
                  <c:v>0.36319444444444399</c:v>
                </c:pt>
                <c:pt idx="524">
                  <c:v>0.36388888888888898</c:v>
                </c:pt>
                <c:pt idx="525">
                  <c:v>0.36458333333333298</c:v>
                </c:pt>
                <c:pt idx="526">
                  <c:v>0.36527777777777798</c:v>
                </c:pt>
                <c:pt idx="527">
                  <c:v>0.36597222222222198</c:v>
                </c:pt>
                <c:pt idx="528">
                  <c:v>0.36666666666666697</c:v>
                </c:pt>
                <c:pt idx="529">
                  <c:v>0.36736111111111103</c:v>
                </c:pt>
                <c:pt idx="530">
                  <c:v>0.36805555555555602</c:v>
                </c:pt>
                <c:pt idx="531">
                  <c:v>0.36875000000000002</c:v>
                </c:pt>
                <c:pt idx="532">
                  <c:v>0.36944444444444402</c:v>
                </c:pt>
                <c:pt idx="533">
                  <c:v>0.37013888888888902</c:v>
                </c:pt>
                <c:pt idx="534">
                  <c:v>0.37083333333333302</c:v>
                </c:pt>
                <c:pt idx="535">
                  <c:v>0.37152777777777801</c:v>
                </c:pt>
                <c:pt idx="536">
                  <c:v>0.37222222222222201</c:v>
                </c:pt>
                <c:pt idx="537">
                  <c:v>0.37291666666666701</c:v>
                </c:pt>
                <c:pt idx="538">
                  <c:v>0.37361111111111101</c:v>
                </c:pt>
                <c:pt idx="539">
                  <c:v>0.374305555555556</c:v>
                </c:pt>
                <c:pt idx="540">
                  <c:v>0.375</c:v>
                </c:pt>
                <c:pt idx="541">
                  <c:v>0.375694444444444</c:v>
                </c:pt>
                <c:pt idx="542">
                  <c:v>0.37638888888888899</c:v>
                </c:pt>
                <c:pt idx="543">
                  <c:v>0.37708333333333299</c:v>
                </c:pt>
                <c:pt idx="544">
                  <c:v>0.37777777777777799</c:v>
                </c:pt>
                <c:pt idx="545">
                  <c:v>0.37847222222222199</c:v>
                </c:pt>
                <c:pt idx="546">
                  <c:v>0.37916666666666698</c:v>
                </c:pt>
                <c:pt idx="547">
                  <c:v>0.37986111111111098</c:v>
                </c:pt>
                <c:pt idx="548">
                  <c:v>0.38055555555555598</c:v>
                </c:pt>
                <c:pt idx="549">
                  <c:v>0.38124999999999998</c:v>
                </c:pt>
                <c:pt idx="550">
                  <c:v>0.38194444444444398</c:v>
                </c:pt>
                <c:pt idx="551">
                  <c:v>0.38263888888888897</c:v>
                </c:pt>
                <c:pt idx="552">
                  <c:v>0.38333333333333303</c:v>
                </c:pt>
                <c:pt idx="553">
                  <c:v>0.38402777777777802</c:v>
                </c:pt>
                <c:pt idx="554">
                  <c:v>0.38472222222222202</c:v>
                </c:pt>
                <c:pt idx="555">
                  <c:v>0.38541666666666702</c:v>
                </c:pt>
                <c:pt idx="556">
                  <c:v>0.38611111111111102</c:v>
                </c:pt>
                <c:pt idx="557">
                  <c:v>0.38680555555555601</c:v>
                </c:pt>
                <c:pt idx="558">
                  <c:v>0.38750000000000001</c:v>
                </c:pt>
                <c:pt idx="559">
                  <c:v>0.38819444444444401</c:v>
                </c:pt>
                <c:pt idx="560">
                  <c:v>0.38888888888888901</c:v>
                </c:pt>
                <c:pt idx="561">
                  <c:v>0.389583333333333</c:v>
                </c:pt>
                <c:pt idx="562">
                  <c:v>0.390277777777778</c:v>
                </c:pt>
                <c:pt idx="563">
                  <c:v>0.390972222222222</c:v>
                </c:pt>
                <c:pt idx="564">
                  <c:v>0.391666666666667</c:v>
                </c:pt>
                <c:pt idx="565">
                  <c:v>0.39236111111111099</c:v>
                </c:pt>
                <c:pt idx="566">
                  <c:v>0.39305555555555599</c:v>
                </c:pt>
                <c:pt idx="567">
                  <c:v>0.39374999999999999</c:v>
                </c:pt>
                <c:pt idx="568">
                  <c:v>0.39444444444444399</c:v>
                </c:pt>
                <c:pt idx="569">
                  <c:v>0.39513888888888898</c:v>
                </c:pt>
                <c:pt idx="570">
                  <c:v>0.39583333333333298</c:v>
                </c:pt>
                <c:pt idx="571">
                  <c:v>0.39652777777777798</c:v>
                </c:pt>
                <c:pt idx="572">
                  <c:v>0.39722222222222198</c:v>
                </c:pt>
                <c:pt idx="573">
                  <c:v>0.39791666666666697</c:v>
                </c:pt>
                <c:pt idx="574">
                  <c:v>0.39861111111111103</c:v>
                </c:pt>
                <c:pt idx="575">
                  <c:v>0.39930555555555602</c:v>
                </c:pt>
                <c:pt idx="576">
                  <c:v>0.4</c:v>
                </c:pt>
                <c:pt idx="577">
                  <c:v>0.40069444444444402</c:v>
                </c:pt>
                <c:pt idx="578">
                  <c:v>0.40138888888888902</c:v>
                </c:pt>
                <c:pt idx="579">
                  <c:v>0.40208333333333302</c:v>
                </c:pt>
                <c:pt idx="580">
                  <c:v>0.40277777777777801</c:v>
                </c:pt>
                <c:pt idx="581">
                  <c:v>0.40347222222222201</c:v>
                </c:pt>
                <c:pt idx="582">
                  <c:v>0.40416666666666701</c:v>
                </c:pt>
                <c:pt idx="583">
                  <c:v>0.40486111111111101</c:v>
                </c:pt>
                <c:pt idx="584">
                  <c:v>0.405555555555556</c:v>
                </c:pt>
                <c:pt idx="585">
                  <c:v>0.40625</c:v>
                </c:pt>
                <c:pt idx="586">
                  <c:v>0.406944444444444</c:v>
                </c:pt>
                <c:pt idx="587">
                  <c:v>0.40763888888888899</c:v>
                </c:pt>
                <c:pt idx="588">
                  <c:v>0.40833333333333299</c:v>
                </c:pt>
                <c:pt idx="589">
                  <c:v>0.40902777777777799</c:v>
                </c:pt>
                <c:pt idx="590">
                  <c:v>0.40972222222222199</c:v>
                </c:pt>
                <c:pt idx="591">
                  <c:v>0.41041666666666698</c:v>
                </c:pt>
                <c:pt idx="592">
                  <c:v>0.41111111111111098</c:v>
                </c:pt>
                <c:pt idx="593">
                  <c:v>0.41180555555555598</c:v>
                </c:pt>
                <c:pt idx="594">
                  <c:v>0.41249999999999998</c:v>
                </c:pt>
                <c:pt idx="595">
                  <c:v>0.41319444444444398</c:v>
                </c:pt>
                <c:pt idx="596">
                  <c:v>0.41388888888888897</c:v>
                </c:pt>
                <c:pt idx="597">
                  <c:v>0.41458333333333303</c:v>
                </c:pt>
                <c:pt idx="598">
                  <c:v>0.41527777777777802</c:v>
                </c:pt>
                <c:pt idx="599">
                  <c:v>0.41597222222222202</c:v>
                </c:pt>
                <c:pt idx="600">
                  <c:v>0.41666666666666702</c:v>
                </c:pt>
                <c:pt idx="601">
                  <c:v>0.41736111111111102</c:v>
                </c:pt>
                <c:pt idx="602">
                  <c:v>0.41805555555555601</c:v>
                </c:pt>
                <c:pt idx="603">
                  <c:v>0.41875000000000001</c:v>
                </c:pt>
                <c:pt idx="604">
                  <c:v>0.41944444444444401</c:v>
                </c:pt>
                <c:pt idx="605">
                  <c:v>0.42013888888888901</c:v>
                </c:pt>
                <c:pt idx="606">
                  <c:v>0.420833333333333</c:v>
                </c:pt>
                <c:pt idx="607">
                  <c:v>0.421527777777778</c:v>
                </c:pt>
                <c:pt idx="608">
                  <c:v>0.422222222222222</c:v>
                </c:pt>
                <c:pt idx="609">
                  <c:v>0.422916666666667</c:v>
                </c:pt>
                <c:pt idx="610">
                  <c:v>0.42361111111111099</c:v>
                </c:pt>
                <c:pt idx="611">
                  <c:v>0.42430555555555599</c:v>
                </c:pt>
                <c:pt idx="612">
                  <c:v>0.42499999999999999</c:v>
                </c:pt>
                <c:pt idx="613">
                  <c:v>0.42569444444444399</c:v>
                </c:pt>
                <c:pt idx="614">
                  <c:v>0.42638888888888898</c:v>
                </c:pt>
                <c:pt idx="615">
                  <c:v>0.42708333333333298</c:v>
                </c:pt>
                <c:pt idx="616">
                  <c:v>0.42777777777777798</c:v>
                </c:pt>
                <c:pt idx="617">
                  <c:v>0.42847222222222198</c:v>
                </c:pt>
                <c:pt idx="618">
                  <c:v>0.42916666666666697</c:v>
                </c:pt>
                <c:pt idx="619">
                  <c:v>0.42986111111111103</c:v>
                </c:pt>
                <c:pt idx="620">
                  <c:v>0.43055555555555602</c:v>
                </c:pt>
                <c:pt idx="621">
                  <c:v>0.43125000000000002</c:v>
                </c:pt>
                <c:pt idx="622">
                  <c:v>0.43194444444444402</c:v>
                </c:pt>
                <c:pt idx="623">
                  <c:v>0.43263888888888902</c:v>
                </c:pt>
                <c:pt idx="624">
                  <c:v>0.43333333333333302</c:v>
                </c:pt>
                <c:pt idx="625">
                  <c:v>0.43402777777777801</c:v>
                </c:pt>
                <c:pt idx="626">
                  <c:v>0.43472222222222201</c:v>
                </c:pt>
                <c:pt idx="627">
                  <c:v>0.43541666666666701</c:v>
                </c:pt>
                <c:pt idx="628">
                  <c:v>0.43611111111111101</c:v>
                </c:pt>
                <c:pt idx="629">
                  <c:v>0.436805555555556</c:v>
                </c:pt>
                <c:pt idx="630">
                  <c:v>0.4375</c:v>
                </c:pt>
                <c:pt idx="631">
                  <c:v>0.438194444444444</c:v>
                </c:pt>
                <c:pt idx="632">
                  <c:v>0.43888888888888899</c:v>
                </c:pt>
                <c:pt idx="633">
                  <c:v>0.43958333333333299</c:v>
                </c:pt>
                <c:pt idx="634">
                  <c:v>0.44027777777777799</c:v>
                </c:pt>
                <c:pt idx="635">
                  <c:v>0.44097222222222199</c:v>
                </c:pt>
                <c:pt idx="636">
                  <c:v>0.44166666666666698</c:v>
                </c:pt>
                <c:pt idx="637">
                  <c:v>0.44236111111111098</c:v>
                </c:pt>
                <c:pt idx="638">
                  <c:v>0.44305555555555598</c:v>
                </c:pt>
                <c:pt idx="639">
                  <c:v>0.44374999999999998</c:v>
                </c:pt>
                <c:pt idx="640">
                  <c:v>0.44444444444444398</c:v>
                </c:pt>
                <c:pt idx="641">
                  <c:v>0.44513888888888897</c:v>
                </c:pt>
                <c:pt idx="642">
                  <c:v>0.44583333333333303</c:v>
                </c:pt>
                <c:pt idx="643">
                  <c:v>0.44652777777777802</c:v>
                </c:pt>
                <c:pt idx="644">
                  <c:v>0.44722222222222202</c:v>
                </c:pt>
                <c:pt idx="645">
                  <c:v>0.44791666666666702</c:v>
                </c:pt>
                <c:pt idx="646">
                  <c:v>0.44861111111111102</c:v>
                </c:pt>
                <c:pt idx="647">
                  <c:v>0.44930555555555601</c:v>
                </c:pt>
                <c:pt idx="648">
                  <c:v>0.45</c:v>
                </c:pt>
                <c:pt idx="649">
                  <c:v>0.45069444444444401</c:v>
                </c:pt>
                <c:pt idx="650">
                  <c:v>0.45138888888888901</c:v>
                </c:pt>
                <c:pt idx="651">
                  <c:v>0.452083333333333</c:v>
                </c:pt>
                <c:pt idx="652">
                  <c:v>0.452777777777778</c:v>
                </c:pt>
                <c:pt idx="653">
                  <c:v>0.453472222222222</c:v>
                </c:pt>
                <c:pt idx="654">
                  <c:v>0.454166666666667</c:v>
                </c:pt>
                <c:pt idx="655">
                  <c:v>0.45486111111111099</c:v>
                </c:pt>
                <c:pt idx="656">
                  <c:v>0.45555555555555599</c:v>
                </c:pt>
                <c:pt idx="657">
                  <c:v>0.45624999999999999</c:v>
                </c:pt>
                <c:pt idx="658">
                  <c:v>0.45694444444444399</c:v>
                </c:pt>
                <c:pt idx="659">
                  <c:v>0.45763888888888898</c:v>
                </c:pt>
                <c:pt idx="660">
                  <c:v>0.45833333333333298</c:v>
                </c:pt>
                <c:pt idx="661">
                  <c:v>0.45902777777777798</c:v>
                </c:pt>
                <c:pt idx="662">
                  <c:v>0.45972222222222198</c:v>
                </c:pt>
                <c:pt idx="663">
                  <c:v>0.46041666666666697</c:v>
                </c:pt>
                <c:pt idx="664">
                  <c:v>0.46111111111111103</c:v>
                </c:pt>
                <c:pt idx="665">
                  <c:v>0.46180555555555602</c:v>
                </c:pt>
                <c:pt idx="666">
                  <c:v>0.46250000000000002</c:v>
                </c:pt>
                <c:pt idx="667">
                  <c:v>0.46319444444444402</c:v>
                </c:pt>
                <c:pt idx="668">
                  <c:v>0.46388888888888902</c:v>
                </c:pt>
                <c:pt idx="669">
                  <c:v>0.46458333333333302</c:v>
                </c:pt>
                <c:pt idx="670">
                  <c:v>0.46527777777777801</c:v>
                </c:pt>
                <c:pt idx="671">
                  <c:v>0.46597222222222201</c:v>
                </c:pt>
                <c:pt idx="672">
                  <c:v>0.46666666666666701</c:v>
                </c:pt>
                <c:pt idx="673">
                  <c:v>0.46736111111111101</c:v>
                </c:pt>
                <c:pt idx="674">
                  <c:v>0.468055555555556</c:v>
                </c:pt>
                <c:pt idx="675">
                  <c:v>0.46875</c:v>
                </c:pt>
                <c:pt idx="676">
                  <c:v>0.469444444444444</c:v>
                </c:pt>
                <c:pt idx="677">
                  <c:v>0.47013888888888899</c:v>
                </c:pt>
                <c:pt idx="678">
                  <c:v>0.47083333333333299</c:v>
                </c:pt>
                <c:pt idx="679">
                  <c:v>0.47152777777777799</c:v>
                </c:pt>
                <c:pt idx="680">
                  <c:v>0.47222222222222199</c:v>
                </c:pt>
                <c:pt idx="681">
                  <c:v>0.47291666666666698</c:v>
                </c:pt>
                <c:pt idx="682">
                  <c:v>0.47361111111111098</c:v>
                </c:pt>
                <c:pt idx="683">
                  <c:v>0.47430555555555598</c:v>
                </c:pt>
                <c:pt idx="684">
                  <c:v>0.47499999999999998</c:v>
                </c:pt>
                <c:pt idx="685">
                  <c:v>0.47569444444444398</c:v>
                </c:pt>
                <c:pt idx="686">
                  <c:v>0.47638888888888897</c:v>
                </c:pt>
                <c:pt idx="687">
                  <c:v>0.47708333333333303</c:v>
                </c:pt>
                <c:pt idx="688">
                  <c:v>0.47777777777777802</c:v>
                </c:pt>
                <c:pt idx="689">
                  <c:v>0.47847222222222202</c:v>
                </c:pt>
                <c:pt idx="690">
                  <c:v>0.47916666666666702</c:v>
                </c:pt>
                <c:pt idx="691">
                  <c:v>0.47986111111111102</c:v>
                </c:pt>
                <c:pt idx="692">
                  <c:v>0.48055555555555601</c:v>
                </c:pt>
                <c:pt idx="693">
                  <c:v>0.48125000000000001</c:v>
                </c:pt>
                <c:pt idx="694">
                  <c:v>0.48194444444444401</c:v>
                </c:pt>
                <c:pt idx="695">
                  <c:v>0.48263888888888901</c:v>
                </c:pt>
                <c:pt idx="696">
                  <c:v>0.483333333333333</c:v>
                </c:pt>
                <c:pt idx="697">
                  <c:v>0.484027777777778</c:v>
                </c:pt>
                <c:pt idx="698">
                  <c:v>0.484722222222222</c:v>
                </c:pt>
                <c:pt idx="699">
                  <c:v>0.485416666666667</c:v>
                </c:pt>
                <c:pt idx="700">
                  <c:v>0.48611111111111099</c:v>
                </c:pt>
                <c:pt idx="701">
                  <c:v>0.48680555555555599</c:v>
                </c:pt>
                <c:pt idx="702">
                  <c:v>0.48749999999999999</c:v>
                </c:pt>
                <c:pt idx="703">
                  <c:v>0.48819444444444399</c:v>
                </c:pt>
                <c:pt idx="704">
                  <c:v>0.48888888888888898</c:v>
                </c:pt>
                <c:pt idx="705">
                  <c:v>0.48958333333333298</c:v>
                </c:pt>
                <c:pt idx="706">
                  <c:v>0.49027777777777798</c:v>
                </c:pt>
                <c:pt idx="707">
                  <c:v>0.49097222222222198</c:v>
                </c:pt>
                <c:pt idx="708">
                  <c:v>0.49166666666666697</c:v>
                </c:pt>
                <c:pt idx="709">
                  <c:v>0.49236111111111103</c:v>
                </c:pt>
                <c:pt idx="710">
                  <c:v>0.49305555555555602</c:v>
                </c:pt>
                <c:pt idx="711">
                  <c:v>0.49375000000000002</c:v>
                </c:pt>
                <c:pt idx="712">
                  <c:v>0.49444444444444402</c:v>
                </c:pt>
                <c:pt idx="713">
                  <c:v>0.49513888888888902</c:v>
                </c:pt>
                <c:pt idx="714">
                  <c:v>0.49583333333333302</c:v>
                </c:pt>
                <c:pt idx="715">
                  <c:v>0.49652777777777801</c:v>
                </c:pt>
                <c:pt idx="716">
                  <c:v>0.49722222222222201</c:v>
                </c:pt>
                <c:pt idx="717">
                  <c:v>0.49791666666666701</c:v>
                </c:pt>
                <c:pt idx="718">
                  <c:v>0.49861111111111101</c:v>
                </c:pt>
                <c:pt idx="719">
                  <c:v>0.499305555555556</c:v>
                </c:pt>
                <c:pt idx="720">
                  <c:v>0.5</c:v>
                </c:pt>
                <c:pt idx="721">
                  <c:v>0.500694444444444</c:v>
                </c:pt>
                <c:pt idx="722">
                  <c:v>0.50138888888888899</c:v>
                </c:pt>
                <c:pt idx="723">
                  <c:v>0.50208333333333299</c:v>
                </c:pt>
                <c:pt idx="724">
                  <c:v>0.50277777777777799</c:v>
                </c:pt>
                <c:pt idx="725">
                  <c:v>0.50347222222222199</c:v>
                </c:pt>
                <c:pt idx="726">
                  <c:v>0.50416666666666698</c:v>
                </c:pt>
                <c:pt idx="727">
                  <c:v>0.50486111111111098</c:v>
                </c:pt>
                <c:pt idx="728">
                  <c:v>0.50555555555555598</c:v>
                </c:pt>
                <c:pt idx="729">
                  <c:v>0.50624999999999998</c:v>
                </c:pt>
                <c:pt idx="730">
                  <c:v>0.50694444444444398</c:v>
                </c:pt>
                <c:pt idx="731">
                  <c:v>0.50763888888888897</c:v>
                </c:pt>
                <c:pt idx="732">
                  <c:v>0.50833333333333297</c:v>
                </c:pt>
                <c:pt idx="733">
                  <c:v>0.50902777777777797</c:v>
                </c:pt>
                <c:pt idx="734">
                  <c:v>0.50972222222222197</c:v>
                </c:pt>
                <c:pt idx="735">
                  <c:v>0.51041666666666696</c:v>
                </c:pt>
                <c:pt idx="736">
                  <c:v>0.51111111111111096</c:v>
                </c:pt>
                <c:pt idx="737">
                  <c:v>0.51180555555555596</c:v>
                </c:pt>
                <c:pt idx="738">
                  <c:v>0.51249999999999996</c:v>
                </c:pt>
                <c:pt idx="739">
                  <c:v>0.51319444444444495</c:v>
                </c:pt>
                <c:pt idx="740">
                  <c:v>0.51388888888888895</c:v>
                </c:pt>
                <c:pt idx="741">
                  <c:v>0.51458333333333295</c:v>
                </c:pt>
                <c:pt idx="742">
                  <c:v>0.51527777777777795</c:v>
                </c:pt>
                <c:pt idx="743">
                  <c:v>0.51597222222222205</c:v>
                </c:pt>
                <c:pt idx="744">
                  <c:v>0.51666666666666705</c:v>
                </c:pt>
                <c:pt idx="745">
                  <c:v>0.51736111111111105</c:v>
                </c:pt>
                <c:pt idx="746">
                  <c:v>0.51805555555555605</c:v>
                </c:pt>
                <c:pt idx="747">
                  <c:v>0.51875000000000004</c:v>
                </c:pt>
                <c:pt idx="748">
                  <c:v>0.51944444444444404</c:v>
                </c:pt>
                <c:pt idx="749">
                  <c:v>0.52013888888888904</c:v>
                </c:pt>
                <c:pt idx="750">
                  <c:v>0.52083333333333304</c:v>
                </c:pt>
                <c:pt idx="751">
                  <c:v>0.52152777777777803</c:v>
                </c:pt>
                <c:pt idx="752">
                  <c:v>0.52222222222222203</c:v>
                </c:pt>
                <c:pt idx="753">
                  <c:v>0.52291666666666703</c:v>
                </c:pt>
                <c:pt idx="754">
                  <c:v>0.52361111111111103</c:v>
                </c:pt>
                <c:pt idx="755">
                  <c:v>0.52430555555555602</c:v>
                </c:pt>
                <c:pt idx="756">
                  <c:v>0.52500000000000002</c:v>
                </c:pt>
                <c:pt idx="757">
                  <c:v>0.52569444444444402</c:v>
                </c:pt>
                <c:pt idx="758">
                  <c:v>0.52638888888888902</c:v>
                </c:pt>
                <c:pt idx="759">
                  <c:v>0.52708333333333302</c:v>
                </c:pt>
                <c:pt idx="760">
                  <c:v>0.52777777777777801</c:v>
                </c:pt>
                <c:pt idx="761">
                  <c:v>0.52847222222222201</c:v>
                </c:pt>
                <c:pt idx="762">
                  <c:v>0.52916666666666701</c:v>
                </c:pt>
                <c:pt idx="763">
                  <c:v>0.52986111111111101</c:v>
                </c:pt>
                <c:pt idx="764">
                  <c:v>0.530555555555556</c:v>
                </c:pt>
                <c:pt idx="765">
                  <c:v>0.53125</c:v>
                </c:pt>
                <c:pt idx="766">
                  <c:v>0.531944444444444</c:v>
                </c:pt>
                <c:pt idx="767">
                  <c:v>0.53263888888888899</c:v>
                </c:pt>
                <c:pt idx="768">
                  <c:v>0.53333333333333299</c:v>
                </c:pt>
                <c:pt idx="769">
                  <c:v>0.53402777777777799</c:v>
                </c:pt>
                <c:pt idx="770">
                  <c:v>0.53472222222222199</c:v>
                </c:pt>
                <c:pt idx="771">
                  <c:v>0.53541666666666698</c:v>
                </c:pt>
                <c:pt idx="772">
                  <c:v>0.53611111111111098</c:v>
                </c:pt>
                <c:pt idx="773">
                  <c:v>0.53680555555555598</c:v>
                </c:pt>
                <c:pt idx="774">
                  <c:v>0.53749999999999998</c:v>
                </c:pt>
                <c:pt idx="775">
                  <c:v>0.53819444444444398</c:v>
                </c:pt>
                <c:pt idx="776">
                  <c:v>0.53888888888888897</c:v>
                </c:pt>
                <c:pt idx="777">
                  <c:v>0.53958333333333297</c:v>
                </c:pt>
                <c:pt idx="778">
                  <c:v>0.54027777777777797</c:v>
                </c:pt>
                <c:pt idx="779">
                  <c:v>0.54097222222222197</c:v>
                </c:pt>
                <c:pt idx="780">
                  <c:v>0.54166666666666696</c:v>
                </c:pt>
                <c:pt idx="781">
                  <c:v>0.54236111111111096</c:v>
                </c:pt>
                <c:pt idx="782">
                  <c:v>0.54305555555555596</c:v>
                </c:pt>
                <c:pt idx="783">
                  <c:v>0.54374999999999996</c:v>
                </c:pt>
                <c:pt idx="784">
                  <c:v>0.54444444444444495</c:v>
                </c:pt>
                <c:pt idx="785">
                  <c:v>0.54513888888888895</c:v>
                </c:pt>
                <c:pt idx="786">
                  <c:v>0.54583333333333295</c:v>
                </c:pt>
                <c:pt idx="787">
                  <c:v>0.54652777777777795</c:v>
                </c:pt>
                <c:pt idx="788">
                  <c:v>0.54722222222222205</c:v>
                </c:pt>
                <c:pt idx="789">
                  <c:v>0.54791666666666705</c:v>
                </c:pt>
                <c:pt idx="790">
                  <c:v>0.54861111111111105</c:v>
                </c:pt>
                <c:pt idx="791">
                  <c:v>0.54930555555555605</c:v>
                </c:pt>
                <c:pt idx="792">
                  <c:v>0.55000000000000004</c:v>
                </c:pt>
                <c:pt idx="793">
                  <c:v>0.55069444444444404</c:v>
                </c:pt>
                <c:pt idx="794">
                  <c:v>0.55138888888888904</c:v>
                </c:pt>
                <c:pt idx="795">
                  <c:v>0.55208333333333304</c:v>
                </c:pt>
                <c:pt idx="796">
                  <c:v>0.55277777777777803</c:v>
                </c:pt>
                <c:pt idx="797">
                  <c:v>0.55347222222222203</c:v>
                </c:pt>
                <c:pt idx="798">
                  <c:v>0.55416666666666703</c:v>
                </c:pt>
                <c:pt idx="799">
                  <c:v>0.55486111111111103</c:v>
                </c:pt>
                <c:pt idx="800">
                  <c:v>0.55555555555555602</c:v>
                </c:pt>
                <c:pt idx="801">
                  <c:v>0.55625000000000002</c:v>
                </c:pt>
                <c:pt idx="802">
                  <c:v>0.55694444444444402</c:v>
                </c:pt>
                <c:pt idx="803">
                  <c:v>0.55763888888888902</c:v>
                </c:pt>
                <c:pt idx="804">
                  <c:v>0.55833333333333302</c:v>
                </c:pt>
                <c:pt idx="805">
                  <c:v>0.55902777777777801</c:v>
                </c:pt>
                <c:pt idx="806">
                  <c:v>0.55972222222222201</c:v>
                </c:pt>
                <c:pt idx="807">
                  <c:v>0.56041666666666701</c:v>
                </c:pt>
                <c:pt idx="808">
                  <c:v>0.56111111111111101</c:v>
                </c:pt>
                <c:pt idx="809">
                  <c:v>0.561805555555556</c:v>
                </c:pt>
                <c:pt idx="810">
                  <c:v>0.5625</c:v>
                </c:pt>
                <c:pt idx="811">
                  <c:v>0.563194444444444</c:v>
                </c:pt>
                <c:pt idx="812">
                  <c:v>0.56388888888888899</c:v>
                </c:pt>
                <c:pt idx="813">
                  <c:v>0.56458333333333299</c:v>
                </c:pt>
                <c:pt idx="814">
                  <c:v>0.56527777777777799</c:v>
                </c:pt>
                <c:pt idx="815">
                  <c:v>0.56597222222222199</c:v>
                </c:pt>
                <c:pt idx="816">
                  <c:v>0.56666666666666698</c:v>
                </c:pt>
                <c:pt idx="817">
                  <c:v>0.56736111111111098</c:v>
                </c:pt>
                <c:pt idx="818">
                  <c:v>0.56805555555555598</c:v>
                </c:pt>
                <c:pt idx="819">
                  <c:v>0.56874999999999998</c:v>
                </c:pt>
                <c:pt idx="820">
                  <c:v>0.56944444444444398</c:v>
                </c:pt>
                <c:pt idx="821">
                  <c:v>0.57013888888888897</c:v>
                </c:pt>
                <c:pt idx="822">
                  <c:v>0.57083333333333297</c:v>
                </c:pt>
                <c:pt idx="823">
                  <c:v>0.57152777777777797</c:v>
                </c:pt>
                <c:pt idx="824">
                  <c:v>0.57222222222222197</c:v>
                </c:pt>
                <c:pt idx="825">
                  <c:v>0.57291666666666696</c:v>
                </c:pt>
                <c:pt idx="826">
                  <c:v>0.57361111111111096</c:v>
                </c:pt>
                <c:pt idx="827">
                  <c:v>0.57430555555555596</c:v>
                </c:pt>
                <c:pt idx="828">
                  <c:v>0.57499999999999996</c:v>
                </c:pt>
                <c:pt idx="829">
                  <c:v>0.57569444444444495</c:v>
                </c:pt>
                <c:pt idx="830">
                  <c:v>0.57638888888888895</c:v>
                </c:pt>
                <c:pt idx="831">
                  <c:v>0.57708333333333295</c:v>
                </c:pt>
                <c:pt idx="832">
                  <c:v>0.57777777777777795</c:v>
                </c:pt>
                <c:pt idx="833">
                  <c:v>0.57847222222222205</c:v>
                </c:pt>
                <c:pt idx="834">
                  <c:v>0.57916666666666705</c:v>
                </c:pt>
                <c:pt idx="835">
                  <c:v>0.57986111111111105</c:v>
                </c:pt>
                <c:pt idx="836">
                  <c:v>0.58055555555555605</c:v>
                </c:pt>
                <c:pt idx="837">
                  <c:v>0.58125000000000004</c:v>
                </c:pt>
                <c:pt idx="838">
                  <c:v>0.58194444444444404</c:v>
                </c:pt>
                <c:pt idx="839">
                  <c:v>0.58263888888888904</c:v>
                </c:pt>
                <c:pt idx="840">
                  <c:v>0.58333333333333304</c:v>
                </c:pt>
                <c:pt idx="841">
                  <c:v>0.58402777777777803</c:v>
                </c:pt>
                <c:pt idx="842">
                  <c:v>0.58472222222222203</c:v>
                </c:pt>
                <c:pt idx="843">
                  <c:v>0.58541666666666703</c:v>
                </c:pt>
                <c:pt idx="844">
                  <c:v>0.58611111111111103</c:v>
                </c:pt>
                <c:pt idx="845">
                  <c:v>0.58680555555555602</c:v>
                </c:pt>
                <c:pt idx="846">
                  <c:v>0.58750000000000002</c:v>
                </c:pt>
                <c:pt idx="847">
                  <c:v>0.58819444444444402</c:v>
                </c:pt>
                <c:pt idx="848">
                  <c:v>0.58888888888888902</c:v>
                </c:pt>
                <c:pt idx="849">
                  <c:v>0.58958333333333302</c:v>
                </c:pt>
                <c:pt idx="850">
                  <c:v>0.59027777777777801</c:v>
                </c:pt>
                <c:pt idx="851">
                  <c:v>0.59097222222222201</c:v>
                </c:pt>
                <c:pt idx="852">
                  <c:v>0.59166666666666701</c:v>
                </c:pt>
                <c:pt idx="853">
                  <c:v>0.59236111111111101</c:v>
                </c:pt>
                <c:pt idx="854">
                  <c:v>0.593055555555556</c:v>
                </c:pt>
                <c:pt idx="855">
                  <c:v>0.59375</c:v>
                </c:pt>
                <c:pt idx="856">
                  <c:v>0.594444444444444</c:v>
                </c:pt>
                <c:pt idx="857">
                  <c:v>0.59513888888888899</c:v>
                </c:pt>
                <c:pt idx="858">
                  <c:v>0.59583333333333299</c:v>
                </c:pt>
                <c:pt idx="859">
                  <c:v>0.59652777777777799</c:v>
                </c:pt>
                <c:pt idx="860">
                  <c:v>0.59722222222222199</c:v>
                </c:pt>
                <c:pt idx="861">
                  <c:v>0.59791666666666698</c:v>
                </c:pt>
                <c:pt idx="862">
                  <c:v>0.59861111111111098</c:v>
                </c:pt>
                <c:pt idx="863">
                  <c:v>0.59930555555555598</c:v>
                </c:pt>
                <c:pt idx="864">
                  <c:v>0.6</c:v>
                </c:pt>
                <c:pt idx="865">
                  <c:v>0.60069444444444398</c:v>
                </c:pt>
                <c:pt idx="866">
                  <c:v>0.60138888888888897</c:v>
                </c:pt>
                <c:pt idx="867">
                  <c:v>0.60208333333333297</c:v>
                </c:pt>
                <c:pt idx="868">
                  <c:v>0.60277777777777797</c:v>
                </c:pt>
                <c:pt idx="869">
                  <c:v>0.60347222222222197</c:v>
                </c:pt>
                <c:pt idx="870">
                  <c:v>0.60416666666666696</c:v>
                </c:pt>
                <c:pt idx="871">
                  <c:v>0.60486111111111096</c:v>
                </c:pt>
                <c:pt idx="872">
                  <c:v>0.60555555555555596</c:v>
                </c:pt>
                <c:pt idx="873">
                  <c:v>0.60624999999999996</c:v>
                </c:pt>
                <c:pt idx="874">
                  <c:v>0.60694444444444495</c:v>
                </c:pt>
                <c:pt idx="875">
                  <c:v>0.60763888888888895</c:v>
                </c:pt>
                <c:pt idx="876">
                  <c:v>0.60833333333333295</c:v>
                </c:pt>
                <c:pt idx="877">
                  <c:v>0.60902777777777795</c:v>
                </c:pt>
                <c:pt idx="878">
                  <c:v>0.60972222222222205</c:v>
                </c:pt>
                <c:pt idx="879">
                  <c:v>0.61041666666666705</c:v>
                </c:pt>
                <c:pt idx="880">
                  <c:v>0.61111111111111105</c:v>
                </c:pt>
                <c:pt idx="881">
                  <c:v>0.61180555555555605</c:v>
                </c:pt>
                <c:pt idx="882">
                  <c:v>0.61250000000000004</c:v>
                </c:pt>
                <c:pt idx="883">
                  <c:v>0.61319444444444404</c:v>
                </c:pt>
                <c:pt idx="884">
                  <c:v>0.61388888888888904</c:v>
                </c:pt>
                <c:pt idx="885">
                  <c:v>0.61458333333333304</c:v>
                </c:pt>
                <c:pt idx="886">
                  <c:v>0.61527777777777803</c:v>
                </c:pt>
                <c:pt idx="887">
                  <c:v>0.61597222222222203</c:v>
                </c:pt>
                <c:pt idx="888">
                  <c:v>0.61666666666666703</c:v>
                </c:pt>
                <c:pt idx="889">
                  <c:v>0.61736111111111103</c:v>
                </c:pt>
                <c:pt idx="890">
                  <c:v>0.61805555555555602</c:v>
                </c:pt>
                <c:pt idx="891">
                  <c:v>0.61875000000000002</c:v>
                </c:pt>
                <c:pt idx="892">
                  <c:v>0.61944444444444402</c:v>
                </c:pt>
                <c:pt idx="893">
                  <c:v>0.62013888888888902</c:v>
                </c:pt>
                <c:pt idx="894">
                  <c:v>0.62083333333333302</c:v>
                </c:pt>
                <c:pt idx="895">
                  <c:v>0.62152777777777801</c:v>
                </c:pt>
                <c:pt idx="896">
                  <c:v>0.62222222222222201</c:v>
                </c:pt>
                <c:pt idx="897">
                  <c:v>0.62291666666666701</c:v>
                </c:pt>
                <c:pt idx="898">
                  <c:v>0.62361111111111101</c:v>
                </c:pt>
                <c:pt idx="899">
                  <c:v>0.624305555555556</c:v>
                </c:pt>
                <c:pt idx="900">
                  <c:v>0.625</c:v>
                </c:pt>
                <c:pt idx="901">
                  <c:v>0.625694444444444</c:v>
                </c:pt>
                <c:pt idx="902">
                  <c:v>0.62638888888888899</c:v>
                </c:pt>
                <c:pt idx="903">
                  <c:v>0.62708333333333299</c:v>
                </c:pt>
                <c:pt idx="904">
                  <c:v>0.62777777777777799</c:v>
                </c:pt>
                <c:pt idx="905">
                  <c:v>0.62847222222222199</c:v>
                </c:pt>
                <c:pt idx="906">
                  <c:v>0.62916666666666698</c:v>
                </c:pt>
                <c:pt idx="907">
                  <c:v>0.62986111111111098</c:v>
                </c:pt>
                <c:pt idx="908">
                  <c:v>0.63055555555555598</c:v>
                </c:pt>
                <c:pt idx="909">
                  <c:v>0.63124999999999998</c:v>
                </c:pt>
                <c:pt idx="910">
                  <c:v>0.63194444444444398</c:v>
                </c:pt>
                <c:pt idx="911">
                  <c:v>0.63263888888888897</c:v>
                </c:pt>
                <c:pt idx="912">
                  <c:v>0.63333333333333297</c:v>
                </c:pt>
                <c:pt idx="913">
                  <c:v>0.63402777777777797</c:v>
                </c:pt>
                <c:pt idx="914">
                  <c:v>0.63472222222222197</c:v>
                </c:pt>
                <c:pt idx="915">
                  <c:v>0.63541666666666696</c:v>
                </c:pt>
                <c:pt idx="916">
                  <c:v>0.63611111111111096</c:v>
                </c:pt>
                <c:pt idx="917">
                  <c:v>0.63680555555555596</c:v>
                </c:pt>
                <c:pt idx="918">
                  <c:v>0.63749999999999996</c:v>
                </c:pt>
                <c:pt idx="919">
                  <c:v>0.63819444444444495</c:v>
                </c:pt>
                <c:pt idx="920">
                  <c:v>0.63888888888888895</c:v>
                </c:pt>
                <c:pt idx="921">
                  <c:v>0.63958333333333295</c:v>
                </c:pt>
                <c:pt idx="922">
                  <c:v>0.64027777777777795</c:v>
                </c:pt>
                <c:pt idx="923">
                  <c:v>0.64097222222222205</c:v>
                </c:pt>
                <c:pt idx="924">
                  <c:v>0.64166666666666705</c:v>
                </c:pt>
                <c:pt idx="925">
                  <c:v>0.64236111111111105</c:v>
                </c:pt>
                <c:pt idx="926">
                  <c:v>0.64305555555555605</c:v>
                </c:pt>
                <c:pt idx="927">
                  <c:v>0.64375000000000004</c:v>
                </c:pt>
                <c:pt idx="928">
                  <c:v>0.64444444444444404</c:v>
                </c:pt>
                <c:pt idx="929">
                  <c:v>0.64513888888888904</c:v>
                </c:pt>
                <c:pt idx="930">
                  <c:v>0.64583333333333304</c:v>
                </c:pt>
                <c:pt idx="931">
                  <c:v>0.64652777777777803</c:v>
                </c:pt>
                <c:pt idx="932">
                  <c:v>0.64722222222222203</c:v>
                </c:pt>
                <c:pt idx="933">
                  <c:v>0.64791666666666703</c:v>
                </c:pt>
                <c:pt idx="934">
                  <c:v>0.64861111111111103</c:v>
                </c:pt>
                <c:pt idx="935">
                  <c:v>0.64930555555555602</c:v>
                </c:pt>
                <c:pt idx="936">
                  <c:v>0.65</c:v>
                </c:pt>
                <c:pt idx="937">
                  <c:v>0.65069444444444402</c:v>
                </c:pt>
                <c:pt idx="938">
                  <c:v>0.65138888888888902</c:v>
                </c:pt>
                <c:pt idx="939">
                  <c:v>0.65208333333333302</c:v>
                </c:pt>
                <c:pt idx="940">
                  <c:v>0.65277777777777801</c:v>
                </c:pt>
                <c:pt idx="941">
                  <c:v>0.65347222222222201</c:v>
                </c:pt>
                <c:pt idx="942">
                  <c:v>0.65416666666666701</c:v>
                </c:pt>
                <c:pt idx="943">
                  <c:v>0.65486111111111101</c:v>
                </c:pt>
                <c:pt idx="944">
                  <c:v>0.655555555555556</c:v>
                </c:pt>
                <c:pt idx="945">
                  <c:v>0.65625</c:v>
                </c:pt>
                <c:pt idx="946">
                  <c:v>0.656944444444444</c:v>
                </c:pt>
                <c:pt idx="947">
                  <c:v>0.65763888888888899</c:v>
                </c:pt>
                <c:pt idx="948">
                  <c:v>0.65833333333333299</c:v>
                </c:pt>
                <c:pt idx="949">
                  <c:v>0.65902777777777799</c:v>
                </c:pt>
                <c:pt idx="950">
                  <c:v>0.65972222222222199</c:v>
                </c:pt>
                <c:pt idx="951">
                  <c:v>0.66041666666666698</c:v>
                </c:pt>
                <c:pt idx="952">
                  <c:v>0.66111111111111098</c:v>
                </c:pt>
                <c:pt idx="953">
                  <c:v>0.66180555555555598</c:v>
                </c:pt>
                <c:pt idx="954">
                  <c:v>0.66249999999999998</c:v>
                </c:pt>
                <c:pt idx="955">
                  <c:v>0.66319444444444398</c:v>
                </c:pt>
                <c:pt idx="956">
                  <c:v>0.66388888888888897</c:v>
                </c:pt>
                <c:pt idx="957">
                  <c:v>0.66458333333333297</c:v>
                </c:pt>
                <c:pt idx="958">
                  <c:v>0.66527777777777797</c:v>
                </c:pt>
                <c:pt idx="959">
                  <c:v>0.66597222222222197</c:v>
                </c:pt>
                <c:pt idx="960">
                  <c:v>0.66666666666666696</c:v>
                </c:pt>
                <c:pt idx="961">
                  <c:v>0.66736111111111096</c:v>
                </c:pt>
                <c:pt idx="962">
                  <c:v>0.66805555555555596</c:v>
                </c:pt>
                <c:pt idx="963">
                  <c:v>0.66874999999999996</c:v>
                </c:pt>
                <c:pt idx="964">
                  <c:v>0.66944444444444495</c:v>
                </c:pt>
                <c:pt idx="965">
                  <c:v>0.67013888888888895</c:v>
                </c:pt>
                <c:pt idx="966">
                  <c:v>0.67083333333333295</c:v>
                </c:pt>
                <c:pt idx="967">
                  <c:v>0.67152777777777795</c:v>
                </c:pt>
                <c:pt idx="968">
                  <c:v>0.67222222222222205</c:v>
                </c:pt>
                <c:pt idx="969">
                  <c:v>0.67291666666666705</c:v>
                </c:pt>
                <c:pt idx="970">
                  <c:v>0.67361111111111105</c:v>
                </c:pt>
                <c:pt idx="971">
                  <c:v>0.67430555555555605</c:v>
                </c:pt>
                <c:pt idx="972">
                  <c:v>0.67500000000000004</c:v>
                </c:pt>
                <c:pt idx="973">
                  <c:v>0.67569444444444404</c:v>
                </c:pt>
                <c:pt idx="974">
                  <c:v>0.67638888888888904</c:v>
                </c:pt>
                <c:pt idx="975">
                  <c:v>0.67708333333333304</c:v>
                </c:pt>
                <c:pt idx="976">
                  <c:v>0.67777777777777803</c:v>
                </c:pt>
                <c:pt idx="977">
                  <c:v>0.67847222222222203</c:v>
                </c:pt>
                <c:pt idx="978">
                  <c:v>0.67916666666666703</c:v>
                </c:pt>
                <c:pt idx="979">
                  <c:v>0.67986111111111103</c:v>
                </c:pt>
                <c:pt idx="980">
                  <c:v>0.68055555555555602</c:v>
                </c:pt>
                <c:pt idx="981">
                  <c:v>0.68125000000000002</c:v>
                </c:pt>
                <c:pt idx="982">
                  <c:v>0.68194444444444402</c:v>
                </c:pt>
                <c:pt idx="983">
                  <c:v>0.68263888888888902</c:v>
                </c:pt>
                <c:pt idx="984">
                  <c:v>0.68333333333333302</c:v>
                </c:pt>
                <c:pt idx="985">
                  <c:v>0.68402777777777801</c:v>
                </c:pt>
                <c:pt idx="986">
                  <c:v>0.68472222222222201</c:v>
                </c:pt>
                <c:pt idx="987">
                  <c:v>0.68541666666666701</c:v>
                </c:pt>
                <c:pt idx="988">
                  <c:v>0.68611111111111101</c:v>
                </c:pt>
                <c:pt idx="989">
                  <c:v>0.686805555555556</c:v>
                </c:pt>
                <c:pt idx="990">
                  <c:v>0.6875</c:v>
                </c:pt>
                <c:pt idx="991">
                  <c:v>0.688194444444444</c:v>
                </c:pt>
                <c:pt idx="992">
                  <c:v>0.68888888888888899</c:v>
                </c:pt>
                <c:pt idx="993">
                  <c:v>0.68958333333333299</c:v>
                </c:pt>
                <c:pt idx="994">
                  <c:v>0.69027777777777799</c:v>
                </c:pt>
                <c:pt idx="995">
                  <c:v>0.69097222222222199</c:v>
                </c:pt>
                <c:pt idx="996">
                  <c:v>0.69166666666666698</c:v>
                </c:pt>
                <c:pt idx="997">
                  <c:v>0.69236111111111098</c:v>
                </c:pt>
                <c:pt idx="998">
                  <c:v>0.69305555555555598</c:v>
                </c:pt>
                <c:pt idx="999">
                  <c:v>0.69374999999999998</c:v>
                </c:pt>
                <c:pt idx="1000">
                  <c:v>0.69444444444444398</c:v>
                </c:pt>
                <c:pt idx="1001">
                  <c:v>0.69513888888888897</c:v>
                </c:pt>
                <c:pt idx="1002">
                  <c:v>0.69583333333333297</c:v>
                </c:pt>
                <c:pt idx="1003">
                  <c:v>0.69652777777777797</c:v>
                </c:pt>
                <c:pt idx="1004">
                  <c:v>0.69722222222222197</c:v>
                </c:pt>
                <c:pt idx="1005">
                  <c:v>0.69791666666666696</c:v>
                </c:pt>
                <c:pt idx="1006">
                  <c:v>0.69861111111111096</c:v>
                </c:pt>
                <c:pt idx="1007">
                  <c:v>0.69930555555555596</c:v>
                </c:pt>
                <c:pt idx="1008">
                  <c:v>0.7</c:v>
                </c:pt>
                <c:pt idx="1009">
                  <c:v>0.70069444444444495</c:v>
                </c:pt>
                <c:pt idx="1010">
                  <c:v>0.70138888888888895</c:v>
                </c:pt>
                <c:pt idx="1011">
                  <c:v>0.70208333333333295</c:v>
                </c:pt>
                <c:pt idx="1012">
                  <c:v>0.70277777777777795</c:v>
                </c:pt>
                <c:pt idx="1013">
                  <c:v>0.70347222222222205</c:v>
                </c:pt>
                <c:pt idx="1014">
                  <c:v>0.70416666666666705</c:v>
                </c:pt>
                <c:pt idx="1015">
                  <c:v>0.70486111111111105</c:v>
                </c:pt>
                <c:pt idx="1016">
                  <c:v>0.70555555555555605</c:v>
                </c:pt>
                <c:pt idx="1017">
                  <c:v>0.70625000000000004</c:v>
                </c:pt>
                <c:pt idx="1018">
                  <c:v>0.70694444444444404</c:v>
                </c:pt>
                <c:pt idx="1019">
                  <c:v>0.70763888888888904</c:v>
                </c:pt>
                <c:pt idx="1020">
                  <c:v>0.70833333333333304</c:v>
                </c:pt>
                <c:pt idx="1021">
                  <c:v>0.70902777777777803</c:v>
                </c:pt>
                <c:pt idx="1022">
                  <c:v>0.70972222222222203</c:v>
                </c:pt>
                <c:pt idx="1023">
                  <c:v>0.71041666666666703</c:v>
                </c:pt>
                <c:pt idx="1024">
                  <c:v>0.71111111111111103</c:v>
                </c:pt>
                <c:pt idx="1025">
                  <c:v>0.71180555555555602</c:v>
                </c:pt>
                <c:pt idx="1026">
                  <c:v>0.71250000000000002</c:v>
                </c:pt>
                <c:pt idx="1027">
                  <c:v>0.71319444444444402</c:v>
                </c:pt>
                <c:pt idx="1028">
                  <c:v>0.71388888888888902</c:v>
                </c:pt>
                <c:pt idx="1029">
                  <c:v>0.71458333333333302</c:v>
                </c:pt>
                <c:pt idx="1030">
                  <c:v>0.71527777777777801</c:v>
                </c:pt>
                <c:pt idx="1031">
                  <c:v>0.71597222222222201</c:v>
                </c:pt>
                <c:pt idx="1032">
                  <c:v>0.71666666666666701</c:v>
                </c:pt>
                <c:pt idx="1033">
                  <c:v>0.71736111111111101</c:v>
                </c:pt>
                <c:pt idx="1034">
                  <c:v>0.718055555555556</c:v>
                </c:pt>
                <c:pt idx="1035">
                  <c:v>0.71875</c:v>
                </c:pt>
                <c:pt idx="1036">
                  <c:v>0.719444444444444</c:v>
                </c:pt>
                <c:pt idx="1037">
                  <c:v>0.72013888888888899</c:v>
                </c:pt>
                <c:pt idx="1038">
                  <c:v>0.72083333333333299</c:v>
                </c:pt>
                <c:pt idx="1039">
                  <c:v>0.72152777777777799</c:v>
                </c:pt>
                <c:pt idx="1040">
                  <c:v>0.72222222222222199</c:v>
                </c:pt>
                <c:pt idx="1041">
                  <c:v>0.72291666666666698</c:v>
                </c:pt>
                <c:pt idx="1042">
                  <c:v>0.72361111111111098</c:v>
                </c:pt>
                <c:pt idx="1043">
                  <c:v>0.72430555555555598</c:v>
                </c:pt>
                <c:pt idx="1044">
                  <c:v>0.72499999999999998</c:v>
                </c:pt>
                <c:pt idx="1045">
                  <c:v>0.72569444444444398</c:v>
                </c:pt>
                <c:pt idx="1046">
                  <c:v>0.72638888888888897</c:v>
                </c:pt>
                <c:pt idx="1047">
                  <c:v>0.72708333333333297</c:v>
                </c:pt>
                <c:pt idx="1048">
                  <c:v>0.72777777777777797</c:v>
                </c:pt>
                <c:pt idx="1049">
                  <c:v>0.72847222222222197</c:v>
                </c:pt>
                <c:pt idx="1050">
                  <c:v>0.72916666666666696</c:v>
                </c:pt>
                <c:pt idx="1051">
                  <c:v>0.72986111111111096</c:v>
                </c:pt>
                <c:pt idx="1052">
                  <c:v>0.73055555555555596</c:v>
                </c:pt>
                <c:pt idx="1053">
                  <c:v>0.73124999999999996</c:v>
                </c:pt>
                <c:pt idx="1054">
                  <c:v>0.73194444444444495</c:v>
                </c:pt>
                <c:pt idx="1055">
                  <c:v>0.73263888888888895</c:v>
                </c:pt>
                <c:pt idx="1056">
                  <c:v>0.73333333333333295</c:v>
                </c:pt>
                <c:pt idx="1057">
                  <c:v>0.73402777777777795</c:v>
                </c:pt>
                <c:pt idx="1058">
                  <c:v>0.73472222222222205</c:v>
                </c:pt>
                <c:pt idx="1059">
                  <c:v>0.73541666666666705</c:v>
                </c:pt>
                <c:pt idx="1060">
                  <c:v>0.73611111111111105</c:v>
                </c:pt>
                <c:pt idx="1061">
                  <c:v>0.73680555555555605</c:v>
                </c:pt>
                <c:pt idx="1062">
                  <c:v>0.73750000000000004</c:v>
                </c:pt>
                <c:pt idx="1063">
                  <c:v>0.73819444444444404</c:v>
                </c:pt>
                <c:pt idx="1064">
                  <c:v>0.73888888888888904</c:v>
                </c:pt>
                <c:pt idx="1065">
                  <c:v>0.73958333333333304</c:v>
                </c:pt>
                <c:pt idx="1066">
                  <c:v>0.74027777777777803</c:v>
                </c:pt>
                <c:pt idx="1067">
                  <c:v>0.74097222222222203</c:v>
                </c:pt>
                <c:pt idx="1068">
                  <c:v>0.74166666666666703</c:v>
                </c:pt>
                <c:pt idx="1069">
                  <c:v>0.74236111111111103</c:v>
                </c:pt>
                <c:pt idx="1070">
                  <c:v>0.74305555555555602</c:v>
                </c:pt>
                <c:pt idx="1071">
                  <c:v>0.74375000000000002</c:v>
                </c:pt>
                <c:pt idx="1072">
                  <c:v>0.74444444444444402</c:v>
                </c:pt>
                <c:pt idx="1073">
                  <c:v>0.74513888888888902</c:v>
                </c:pt>
                <c:pt idx="1074">
                  <c:v>0.74583333333333302</c:v>
                </c:pt>
                <c:pt idx="1075">
                  <c:v>0.74652777777777801</c:v>
                </c:pt>
                <c:pt idx="1076">
                  <c:v>0.74722222222222201</c:v>
                </c:pt>
                <c:pt idx="1077">
                  <c:v>0.74791666666666701</c:v>
                </c:pt>
                <c:pt idx="1078">
                  <c:v>0.74861111111111101</c:v>
                </c:pt>
                <c:pt idx="1079">
                  <c:v>0.749305555555556</c:v>
                </c:pt>
                <c:pt idx="1080">
                  <c:v>0.75</c:v>
                </c:pt>
                <c:pt idx="1081">
                  <c:v>0.750694444444444</c:v>
                </c:pt>
                <c:pt idx="1082">
                  <c:v>0.75138888888888899</c:v>
                </c:pt>
                <c:pt idx="1083">
                  <c:v>0.75208333333333299</c:v>
                </c:pt>
                <c:pt idx="1084">
                  <c:v>0.75277777777777799</c:v>
                </c:pt>
                <c:pt idx="1085">
                  <c:v>0.75347222222222199</c:v>
                </c:pt>
                <c:pt idx="1086">
                  <c:v>0.75416666666666698</c:v>
                </c:pt>
                <c:pt idx="1087">
                  <c:v>0.75486111111111098</c:v>
                </c:pt>
                <c:pt idx="1088">
                  <c:v>0.75555555555555598</c:v>
                </c:pt>
                <c:pt idx="1089">
                  <c:v>0.75624999999999998</c:v>
                </c:pt>
                <c:pt idx="1090">
                  <c:v>0.75694444444444398</c:v>
                </c:pt>
                <c:pt idx="1091">
                  <c:v>0.75763888888888897</c:v>
                </c:pt>
                <c:pt idx="1092">
                  <c:v>0.75833333333333297</c:v>
                </c:pt>
                <c:pt idx="1093">
                  <c:v>0.75902777777777797</c:v>
                </c:pt>
                <c:pt idx="1094">
                  <c:v>0.75972222222222197</c:v>
                </c:pt>
                <c:pt idx="1095">
                  <c:v>0.76041666666666696</c:v>
                </c:pt>
                <c:pt idx="1096">
                  <c:v>0.76111111111111096</c:v>
                </c:pt>
                <c:pt idx="1097">
                  <c:v>0.76180555555555596</c:v>
                </c:pt>
                <c:pt idx="1098">
                  <c:v>0.76249999999999996</c:v>
                </c:pt>
                <c:pt idx="1099">
                  <c:v>0.76319444444444495</c:v>
                </c:pt>
                <c:pt idx="1100">
                  <c:v>0.76388888888888895</c:v>
                </c:pt>
                <c:pt idx="1101">
                  <c:v>0.76458333333333295</c:v>
                </c:pt>
                <c:pt idx="1102">
                  <c:v>0.76527777777777795</c:v>
                </c:pt>
                <c:pt idx="1103">
                  <c:v>0.76597222222222205</c:v>
                </c:pt>
                <c:pt idx="1104">
                  <c:v>0.76666666666666705</c:v>
                </c:pt>
                <c:pt idx="1105">
                  <c:v>0.76736111111111105</c:v>
                </c:pt>
                <c:pt idx="1106">
                  <c:v>0.76805555555555605</c:v>
                </c:pt>
                <c:pt idx="1107">
                  <c:v>0.76875000000000004</c:v>
                </c:pt>
                <c:pt idx="1108">
                  <c:v>0.76944444444444404</c:v>
                </c:pt>
                <c:pt idx="1109">
                  <c:v>0.77013888888888904</c:v>
                </c:pt>
                <c:pt idx="1110">
                  <c:v>0.77083333333333304</c:v>
                </c:pt>
                <c:pt idx="1111">
                  <c:v>0.77152777777777803</c:v>
                </c:pt>
                <c:pt idx="1112">
                  <c:v>0.77222222222222203</c:v>
                </c:pt>
                <c:pt idx="1113">
                  <c:v>0.77291666666666703</c:v>
                </c:pt>
                <c:pt idx="1114">
                  <c:v>0.77361111111111103</c:v>
                </c:pt>
                <c:pt idx="1115">
                  <c:v>0.77430555555555602</c:v>
                </c:pt>
                <c:pt idx="1116">
                  <c:v>0.77500000000000002</c:v>
                </c:pt>
                <c:pt idx="1117">
                  <c:v>0.77569444444444402</c:v>
                </c:pt>
                <c:pt idx="1118">
                  <c:v>0.77638888888888902</c:v>
                </c:pt>
                <c:pt idx="1119">
                  <c:v>0.77708333333333302</c:v>
                </c:pt>
                <c:pt idx="1120">
                  <c:v>0.77777777777777801</c:v>
                </c:pt>
                <c:pt idx="1121">
                  <c:v>0.77847222222222201</c:v>
                </c:pt>
                <c:pt idx="1122">
                  <c:v>0.77916666666666701</c:v>
                </c:pt>
                <c:pt idx="1123">
                  <c:v>0.77986111111111101</c:v>
                </c:pt>
                <c:pt idx="1124">
                  <c:v>0.780555555555556</c:v>
                </c:pt>
                <c:pt idx="1125">
                  <c:v>0.78125</c:v>
                </c:pt>
                <c:pt idx="1126">
                  <c:v>0.781944444444444</c:v>
                </c:pt>
                <c:pt idx="1127">
                  <c:v>0.78263888888888899</c:v>
                </c:pt>
                <c:pt idx="1128">
                  <c:v>0.78333333333333299</c:v>
                </c:pt>
                <c:pt idx="1129">
                  <c:v>0.78402777777777799</c:v>
                </c:pt>
                <c:pt idx="1130">
                  <c:v>0.78472222222222199</c:v>
                </c:pt>
                <c:pt idx="1131">
                  <c:v>0.78541666666666698</c:v>
                </c:pt>
                <c:pt idx="1132">
                  <c:v>0.78611111111111098</c:v>
                </c:pt>
                <c:pt idx="1133">
                  <c:v>0.78680555555555598</c:v>
                </c:pt>
                <c:pt idx="1134">
                  <c:v>0.78749999999999998</c:v>
                </c:pt>
                <c:pt idx="1135">
                  <c:v>0.78819444444444398</c:v>
                </c:pt>
                <c:pt idx="1136">
                  <c:v>0.78888888888888897</c:v>
                </c:pt>
                <c:pt idx="1137">
                  <c:v>0.78958333333333297</c:v>
                </c:pt>
                <c:pt idx="1138">
                  <c:v>0.79027777777777797</c:v>
                </c:pt>
                <c:pt idx="1139">
                  <c:v>0.79097222222222197</c:v>
                </c:pt>
                <c:pt idx="1140">
                  <c:v>0.79166666666666696</c:v>
                </c:pt>
                <c:pt idx="1141">
                  <c:v>0.79236111111111096</c:v>
                </c:pt>
                <c:pt idx="1142">
                  <c:v>0.79305555555555596</c:v>
                </c:pt>
                <c:pt idx="1143">
                  <c:v>0.79374999999999996</c:v>
                </c:pt>
                <c:pt idx="1144">
                  <c:v>0.79444444444444495</c:v>
                </c:pt>
                <c:pt idx="1145">
                  <c:v>0.79513888888888895</c:v>
                </c:pt>
                <c:pt idx="1146">
                  <c:v>0.79583333333333295</c:v>
                </c:pt>
                <c:pt idx="1147">
                  <c:v>0.79652777777777795</c:v>
                </c:pt>
                <c:pt idx="1148">
                  <c:v>0.79722222222222205</c:v>
                </c:pt>
                <c:pt idx="1149">
                  <c:v>0.79791666666666705</c:v>
                </c:pt>
                <c:pt idx="1150">
                  <c:v>0.79861111111111105</c:v>
                </c:pt>
                <c:pt idx="1151">
                  <c:v>0.79930555555555605</c:v>
                </c:pt>
                <c:pt idx="1152">
                  <c:v>0.8</c:v>
                </c:pt>
                <c:pt idx="1153">
                  <c:v>0.80069444444444404</c:v>
                </c:pt>
                <c:pt idx="1154">
                  <c:v>0.80138888888888904</c:v>
                </c:pt>
                <c:pt idx="1155">
                  <c:v>0.80208333333333304</c:v>
                </c:pt>
                <c:pt idx="1156">
                  <c:v>0.80277777777777803</c:v>
                </c:pt>
                <c:pt idx="1157">
                  <c:v>0.80347222222222203</c:v>
                </c:pt>
                <c:pt idx="1158">
                  <c:v>0.80416666666666703</c:v>
                </c:pt>
                <c:pt idx="1159">
                  <c:v>0.80486111111111103</c:v>
                </c:pt>
                <c:pt idx="1160">
                  <c:v>0.80555555555555602</c:v>
                </c:pt>
                <c:pt idx="1161">
                  <c:v>0.80625000000000002</c:v>
                </c:pt>
                <c:pt idx="1162">
                  <c:v>0.80694444444444402</c:v>
                </c:pt>
                <c:pt idx="1163">
                  <c:v>0.80763888888888902</c:v>
                </c:pt>
                <c:pt idx="1164">
                  <c:v>0.80833333333333302</c:v>
                </c:pt>
                <c:pt idx="1165">
                  <c:v>0.80902777777777801</c:v>
                </c:pt>
                <c:pt idx="1166">
                  <c:v>0.80972222222222201</c:v>
                </c:pt>
                <c:pt idx="1167">
                  <c:v>0.81041666666666701</c:v>
                </c:pt>
                <c:pt idx="1168">
                  <c:v>0.81111111111111101</c:v>
                </c:pt>
                <c:pt idx="1169">
                  <c:v>0.811805555555556</c:v>
                </c:pt>
                <c:pt idx="1170">
                  <c:v>0.8125</c:v>
                </c:pt>
                <c:pt idx="1171">
                  <c:v>0.813194444444444</c:v>
                </c:pt>
                <c:pt idx="1172">
                  <c:v>0.81388888888888899</c:v>
                </c:pt>
                <c:pt idx="1173">
                  <c:v>0.81458333333333299</c:v>
                </c:pt>
                <c:pt idx="1174">
                  <c:v>0.81527777777777799</c:v>
                </c:pt>
                <c:pt idx="1175">
                  <c:v>0.81597222222222199</c:v>
                </c:pt>
                <c:pt idx="1176">
                  <c:v>0.81666666666666698</c:v>
                </c:pt>
                <c:pt idx="1177">
                  <c:v>0.81736111111111098</c:v>
                </c:pt>
                <c:pt idx="1178">
                  <c:v>0.81805555555555598</c:v>
                </c:pt>
                <c:pt idx="1179">
                  <c:v>0.81874999999999998</c:v>
                </c:pt>
                <c:pt idx="1180">
                  <c:v>0.81944444444444497</c:v>
                </c:pt>
                <c:pt idx="1181">
                  <c:v>0.82013888888888897</c:v>
                </c:pt>
                <c:pt idx="1182">
                  <c:v>0.82083333333333297</c:v>
                </c:pt>
                <c:pt idx="1183">
                  <c:v>0.82152777777777797</c:v>
                </c:pt>
                <c:pt idx="1184">
                  <c:v>0.82222222222222197</c:v>
                </c:pt>
                <c:pt idx="1185">
                  <c:v>0.82291666666666696</c:v>
                </c:pt>
                <c:pt idx="1186">
                  <c:v>0.82361111111111096</c:v>
                </c:pt>
                <c:pt idx="1187">
                  <c:v>0.82430555555555596</c:v>
                </c:pt>
                <c:pt idx="1188">
                  <c:v>0.82499999999999996</c:v>
                </c:pt>
                <c:pt idx="1189">
                  <c:v>0.82569444444444495</c:v>
                </c:pt>
                <c:pt idx="1190">
                  <c:v>0.82638888888888895</c:v>
                </c:pt>
                <c:pt idx="1191">
                  <c:v>0.82708333333333295</c:v>
                </c:pt>
                <c:pt idx="1192">
                  <c:v>0.82777777777777795</c:v>
                </c:pt>
                <c:pt idx="1193">
                  <c:v>0.82847222222222205</c:v>
                </c:pt>
                <c:pt idx="1194">
                  <c:v>0.82916666666666705</c:v>
                </c:pt>
                <c:pt idx="1195">
                  <c:v>0.82986111111111105</c:v>
                </c:pt>
                <c:pt idx="1196">
                  <c:v>0.83055555555555605</c:v>
                </c:pt>
                <c:pt idx="1197">
                  <c:v>0.83125000000000004</c:v>
                </c:pt>
                <c:pt idx="1198">
                  <c:v>0.83194444444444404</c:v>
                </c:pt>
                <c:pt idx="1199">
                  <c:v>0.83263888888888904</c:v>
                </c:pt>
                <c:pt idx="1200">
                  <c:v>0.83333333333333304</c:v>
                </c:pt>
                <c:pt idx="1201">
                  <c:v>0.83402777777777803</c:v>
                </c:pt>
                <c:pt idx="1202">
                  <c:v>0.83472222222222203</c:v>
                </c:pt>
                <c:pt idx="1203">
                  <c:v>0.83541666666666703</c:v>
                </c:pt>
                <c:pt idx="1204">
                  <c:v>0.83611111111111103</c:v>
                </c:pt>
                <c:pt idx="1205">
                  <c:v>0.83680555555555602</c:v>
                </c:pt>
                <c:pt idx="1206">
                  <c:v>0.83750000000000002</c:v>
                </c:pt>
                <c:pt idx="1207">
                  <c:v>0.83819444444444402</c:v>
                </c:pt>
                <c:pt idx="1208">
                  <c:v>0.83888888888888902</c:v>
                </c:pt>
                <c:pt idx="1209">
                  <c:v>0.83958333333333302</c:v>
                </c:pt>
                <c:pt idx="1210">
                  <c:v>0.84027777777777801</c:v>
                </c:pt>
                <c:pt idx="1211">
                  <c:v>0.84097222222222201</c:v>
                </c:pt>
                <c:pt idx="1212">
                  <c:v>0.84166666666666701</c:v>
                </c:pt>
                <c:pt idx="1213">
                  <c:v>0.84236111111111101</c:v>
                </c:pt>
                <c:pt idx="1214">
                  <c:v>0.843055555555556</c:v>
                </c:pt>
                <c:pt idx="1215">
                  <c:v>0.84375</c:v>
                </c:pt>
                <c:pt idx="1216">
                  <c:v>0.844444444444444</c:v>
                </c:pt>
                <c:pt idx="1217">
                  <c:v>0.84513888888888899</c:v>
                </c:pt>
                <c:pt idx="1218">
                  <c:v>0.84583333333333299</c:v>
                </c:pt>
                <c:pt idx="1219">
                  <c:v>0.84652777777777799</c:v>
                </c:pt>
                <c:pt idx="1220">
                  <c:v>0.84722222222222199</c:v>
                </c:pt>
                <c:pt idx="1221">
                  <c:v>0.84791666666666698</c:v>
                </c:pt>
                <c:pt idx="1222">
                  <c:v>0.84861111111111098</c:v>
                </c:pt>
                <c:pt idx="1223">
                  <c:v>0.84930555555555598</c:v>
                </c:pt>
                <c:pt idx="1224">
                  <c:v>0.85</c:v>
                </c:pt>
                <c:pt idx="1225">
                  <c:v>0.85069444444444497</c:v>
                </c:pt>
                <c:pt idx="1226">
                  <c:v>0.85138888888888897</c:v>
                </c:pt>
                <c:pt idx="1227">
                  <c:v>0.85208333333333297</c:v>
                </c:pt>
                <c:pt idx="1228">
                  <c:v>0.85277777777777797</c:v>
                </c:pt>
                <c:pt idx="1229">
                  <c:v>0.85347222222222197</c:v>
                </c:pt>
                <c:pt idx="1230">
                  <c:v>0.85416666666666696</c:v>
                </c:pt>
                <c:pt idx="1231">
                  <c:v>0.85486111111111096</c:v>
                </c:pt>
                <c:pt idx="1232">
                  <c:v>0.85555555555555596</c:v>
                </c:pt>
                <c:pt idx="1233">
                  <c:v>0.85624999999999996</c:v>
                </c:pt>
                <c:pt idx="1234">
                  <c:v>0.85694444444444495</c:v>
                </c:pt>
                <c:pt idx="1235">
                  <c:v>0.85763888888888895</c:v>
                </c:pt>
                <c:pt idx="1236">
                  <c:v>0.85833333333333295</c:v>
                </c:pt>
                <c:pt idx="1237">
                  <c:v>0.85902777777777795</c:v>
                </c:pt>
                <c:pt idx="1238">
                  <c:v>0.85972222222222205</c:v>
                </c:pt>
                <c:pt idx="1239">
                  <c:v>0.86041666666666705</c:v>
                </c:pt>
                <c:pt idx="1240">
                  <c:v>0.86111111111111105</c:v>
                </c:pt>
                <c:pt idx="1241">
                  <c:v>0.86180555555555605</c:v>
                </c:pt>
                <c:pt idx="1242">
                  <c:v>0.86250000000000004</c:v>
                </c:pt>
                <c:pt idx="1243">
                  <c:v>0.86319444444444404</c:v>
                </c:pt>
                <c:pt idx="1244">
                  <c:v>0.86388888888888904</c:v>
                </c:pt>
                <c:pt idx="1245">
                  <c:v>0.86458333333333304</c:v>
                </c:pt>
                <c:pt idx="1246">
                  <c:v>0.86527777777777803</c:v>
                </c:pt>
                <c:pt idx="1247">
                  <c:v>0.86597222222222203</c:v>
                </c:pt>
                <c:pt idx="1248">
                  <c:v>0.86666666666666703</c:v>
                </c:pt>
                <c:pt idx="1249">
                  <c:v>0.86736111111111103</c:v>
                </c:pt>
                <c:pt idx="1250">
                  <c:v>0.86805555555555602</c:v>
                </c:pt>
                <c:pt idx="1251">
                  <c:v>0.86875000000000002</c:v>
                </c:pt>
                <c:pt idx="1252">
                  <c:v>0.86944444444444402</c:v>
                </c:pt>
                <c:pt idx="1253">
                  <c:v>0.87013888888888902</c:v>
                </c:pt>
                <c:pt idx="1254">
                  <c:v>0.87083333333333302</c:v>
                </c:pt>
                <c:pt idx="1255">
                  <c:v>0.87152777777777801</c:v>
                </c:pt>
                <c:pt idx="1256">
                  <c:v>0.87222222222222201</c:v>
                </c:pt>
                <c:pt idx="1257">
                  <c:v>0.87291666666666701</c:v>
                </c:pt>
                <c:pt idx="1258">
                  <c:v>0.87361111111111101</c:v>
                </c:pt>
                <c:pt idx="1259">
                  <c:v>0.874305555555556</c:v>
                </c:pt>
                <c:pt idx="1260">
                  <c:v>0.875</c:v>
                </c:pt>
                <c:pt idx="1261">
                  <c:v>0.875694444444444</c:v>
                </c:pt>
                <c:pt idx="1262">
                  <c:v>0.87638888888888899</c:v>
                </c:pt>
                <c:pt idx="1263">
                  <c:v>0.87708333333333299</c:v>
                </c:pt>
                <c:pt idx="1264">
                  <c:v>0.87777777777777799</c:v>
                </c:pt>
                <c:pt idx="1265">
                  <c:v>0.87847222222222199</c:v>
                </c:pt>
                <c:pt idx="1266">
                  <c:v>0.87916666666666698</c:v>
                </c:pt>
                <c:pt idx="1267">
                  <c:v>0.87986111111111098</c:v>
                </c:pt>
                <c:pt idx="1268">
                  <c:v>0.88055555555555598</c:v>
                </c:pt>
                <c:pt idx="1269">
                  <c:v>0.88124999999999998</c:v>
                </c:pt>
                <c:pt idx="1270">
                  <c:v>0.88194444444444497</c:v>
                </c:pt>
                <c:pt idx="1271">
                  <c:v>0.88263888888888897</c:v>
                </c:pt>
                <c:pt idx="1272">
                  <c:v>0.88333333333333297</c:v>
                </c:pt>
                <c:pt idx="1273">
                  <c:v>0.88402777777777797</c:v>
                </c:pt>
                <c:pt idx="1274">
                  <c:v>0.88472222222222197</c:v>
                </c:pt>
                <c:pt idx="1275">
                  <c:v>0.88541666666666696</c:v>
                </c:pt>
                <c:pt idx="1276">
                  <c:v>0.88611111111111096</c:v>
                </c:pt>
                <c:pt idx="1277">
                  <c:v>0.88680555555555596</c:v>
                </c:pt>
                <c:pt idx="1278">
                  <c:v>0.88749999999999996</c:v>
                </c:pt>
                <c:pt idx="1279">
                  <c:v>0.88819444444444495</c:v>
                </c:pt>
                <c:pt idx="1280">
                  <c:v>0.88888888888888895</c:v>
                </c:pt>
                <c:pt idx="1281">
                  <c:v>0.88958333333333295</c:v>
                </c:pt>
                <c:pt idx="1282">
                  <c:v>0.89027777777777795</c:v>
                </c:pt>
                <c:pt idx="1283">
                  <c:v>0.89097222222222205</c:v>
                </c:pt>
                <c:pt idx="1284">
                  <c:v>0.89166666666666705</c:v>
                </c:pt>
                <c:pt idx="1285">
                  <c:v>0.89236111111111105</c:v>
                </c:pt>
                <c:pt idx="1286">
                  <c:v>0.89305555555555605</c:v>
                </c:pt>
                <c:pt idx="1287">
                  <c:v>0.89375000000000004</c:v>
                </c:pt>
                <c:pt idx="1288">
                  <c:v>0.89444444444444404</c:v>
                </c:pt>
                <c:pt idx="1289">
                  <c:v>0.89513888888888904</c:v>
                </c:pt>
                <c:pt idx="1290">
                  <c:v>0.89583333333333304</c:v>
                </c:pt>
                <c:pt idx="1291">
                  <c:v>0.89652777777777803</c:v>
                </c:pt>
                <c:pt idx="1292">
                  <c:v>0.89722222222222203</c:v>
                </c:pt>
                <c:pt idx="1293">
                  <c:v>0.89791666666666703</c:v>
                </c:pt>
                <c:pt idx="1294">
                  <c:v>0.89861111111111103</c:v>
                </c:pt>
                <c:pt idx="1295">
                  <c:v>0.89930555555555602</c:v>
                </c:pt>
                <c:pt idx="1296">
                  <c:v>0.9</c:v>
                </c:pt>
                <c:pt idx="1297">
                  <c:v>0.90069444444444402</c:v>
                </c:pt>
                <c:pt idx="1298">
                  <c:v>0.90138888888888902</c:v>
                </c:pt>
                <c:pt idx="1299">
                  <c:v>0.90208333333333302</c:v>
                </c:pt>
                <c:pt idx="1300">
                  <c:v>0.90277777777777801</c:v>
                </c:pt>
                <c:pt idx="1301">
                  <c:v>0.90347222222222201</c:v>
                </c:pt>
                <c:pt idx="1302">
                  <c:v>0.90416666666666701</c:v>
                </c:pt>
                <c:pt idx="1303">
                  <c:v>0.90486111111111101</c:v>
                </c:pt>
                <c:pt idx="1304">
                  <c:v>0.905555555555556</c:v>
                </c:pt>
                <c:pt idx="1305">
                  <c:v>0.90625</c:v>
                </c:pt>
                <c:pt idx="1306">
                  <c:v>0.906944444444444</c:v>
                </c:pt>
                <c:pt idx="1307">
                  <c:v>0.90763888888888899</c:v>
                </c:pt>
                <c:pt idx="1308">
                  <c:v>0.90833333333333299</c:v>
                </c:pt>
                <c:pt idx="1309">
                  <c:v>0.90902777777777799</c:v>
                </c:pt>
                <c:pt idx="1310">
                  <c:v>0.90972222222222199</c:v>
                </c:pt>
                <c:pt idx="1311">
                  <c:v>0.91041666666666698</c:v>
                </c:pt>
                <c:pt idx="1312">
                  <c:v>0.91111111111111098</c:v>
                </c:pt>
                <c:pt idx="1313">
                  <c:v>0.91180555555555598</c:v>
                </c:pt>
                <c:pt idx="1314">
                  <c:v>0.91249999999999998</c:v>
                </c:pt>
                <c:pt idx="1315">
                  <c:v>0.91319444444444497</c:v>
                </c:pt>
                <c:pt idx="1316">
                  <c:v>0.91388888888888897</c:v>
                </c:pt>
                <c:pt idx="1317">
                  <c:v>0.91458333333333297</c:v>
                </c:pt>
                <c:pt idx="1318">
                  <c:v>0.91527777777777797</c:v>
                </c:pt>
                <c:pt idx="1319">
                  <c:v>0.91597222222222197</c:v>
                </c:pt>
                <c:pt idx="1320">
                  <c:v>0.91666666666666696</c:v>
                </c:pt>
                <c:pt idx="1321">
                  <c:v>0.91736111111111096</c:v>
                </c:pt>
                <c:pt idx="1322">
                  <c:v>0.91805555555555596</c:v>
                </c:pt>
                <c:pt idx="1323">
                  <c:v>0.91874999999999996</c:v>
                </c:pt>
                <c:pt idx="1324">
                  <c:v>0.91944444444444495</c:v>
                </c:pt>
                <c:pt idx="1325">
                  <c:v>0.92013888888888895</c:v>
                </c:pt>
                <c:pt idx="1326">
                  <c:v>0.92083333333333295</c:v>
                </c:pt>
                <c:pt idx="1327">
                  <c:v>0.92152777777777795</c:v>
                </c:pt>
                <c:pt idx="1328">
                  <c:v>0.92222222222222205</c:v>
                </c:pt>
                <c:pt idx="1329">
                  <c:v>0.92291666666666705</c:v>
                </c:pt>
                <c:pt idx="1330">
                  <c:v>0.92361111111111105</c:v>
                </c:pt>
                <c:pt idx="1331">
                  <c:v>0.92430555555555605</c:v>
                </c:pt>
                <c:pt idx="1332">
                  <c:v>0.92500000000000004</c:v>
                </c:pt>
                <c:pt idx="1333">
                  <c:v>0.92569444444444404</c:v>
                </c:pt>
                <c:pt idx="1334">
                  <c:v>0.92638888888888904</c:v>
                </c:pt>
                <c:pt idx="1335">
                  <c:v>0.92708333333333304</c:v>
                </c:pt>
                <c:pt idx="1336">
                  <c:v>0.92777777777777803</c:v>
                </c:pt>
                <c:pt idx="1337">
                  <c:v>0.92847222222222203</c:v>
                </c:pt>
                <c:pt idx="1338">
                  <c:v>0.92916666666666703</c:v>
                </c:pt>
                <c:pt idx="1339">
                  <c:v>0.92986111111111103</c:v>
                </c:pt>
                <c:pt idx="1340">
                  <c:v>0.93055555555555602</c:v>
                </c:pt>
                <c:pt idx="1341">
                  <c:v>0.93125000000000002</c:v>
                </c:pt>
                <c:pt idx="1342">
                  <c:v>0.93194444444444402</c:v>
                </c:pt>
                <c:pt idx="1343">
                  <c:v>0.93263888888888902</c:v>
                </c:pt>
                <c:pt idx="1344">
                  <c:v>0.93333333333333302</c:v>
                </c:pt>
                <c:pt idx="1345">
                  <c:v>0.93402777777777801</c:v>
                </c:pt>
                <c:pt idx="1346">
                  <c:v>0.93472222222222201</c:v>
                </c:pt>
                <c:pt idx="1347">
                  <c:v>0.93541666666666701</c:v>
                </c:pt>
                <c:pt idx="1348">
                  <c:v>0.93611111111111101</c:v>
                </c:pt>
                <c:pt idx="1349">
                  <c:v>0.936805555555556</c:v>
                </c:pt>
                <c:pt idx="1350">
                  <c:v>0.9375</c:v>
                </c:pt>
                <c:pt idx="1351">
                  <c:v>0.938194444444444</c:v>
                </c:pt>
                <c:pt idx="1352">
                  <c:v>0.93888888888888899</c:v>
                </c:pt>
                <c:pt idx="1353">
                  <c:v>0.93958333333333299</c:v>
                </c:pt>
                <c:pt idx="1354">
                  <c:v>0.94027777777777799</c:v>
                </c:pt>
                <c:pt idx="1355">
                  <c:v>0.94097222222222199</c:v>
                </c:pt>
                <c:pt idx="1356">
                  <c:v>0.94166666666666698</c:v>
                </c:pt>
                <c:pt idx="1357">
                  <c:v>0.94236111111111098</c:v>
                </c:pt>
                <c:pt idx="1358">
                  <c:v>0.94305555555555598</c:v>
                </c:pt>
                <c:pt idx="1359">
                  <c:v>0.94374999999999998</c:v>
                </c:pt>
                <c:pt idx="1360">
                  <c:v>0.94444444444444497</c:v>
                </c:pt>
                <c:pt idx="1361">
                  <c:v>0.94513888888888897</c:v>
                </c:pt>
                <c:pt idx="1362">
                  <c:v>0.94583333333333297</c:v>
                </c:pt>
                <c:pt idx="1363">
                  <c:v>0.94652777777777797</c:v>
                </c:pt>
                <c:pt idx="1364">
                  <c:v>0.94722222222222197</c:v>
                </c:pt>
                <c:pt idx="1365">
                  <c:v>0.94791666666666696</c:v>
                </c:pt>
                <c:pt idx="1366">
                  <c:v>0.94861111111111096</c:v>
                </c:pt>
                <c:pt idx="1367">
                  <c:v>0.94930555555555596</c:v>
                </c:pt>
                <c:pt idx="1368">
                  <c:v>0.95</c:v>
                </c:pt>
                <c:pt idx="1369">
                  <c:v>0.95069444444444495</c:v>
                </c:pt>
                <c:pt idx="1370">
                  <c:v>0.95138888888888895</c:v>
                </c:pt>
                <c:pt idx="1371">
                  <c:v>0.95208333333333295</c:v>
                </c:pt>
                <c:pt idx="1372">
                  <c:v>0.95277777777777795</c:v>
                </c:pt>
                <c:pt idx="1373">
                  <c:v>0.95347222222222205</c:v>
                </c:pt>
                <c:pt idx="1374">
                  <c:v>0.95416666666666705</c:v>
                </c:pt>
                <c:pt idx="1375">
                  <c:v>0.95486111111111105</c:v>
                </c:pt>
                <c:pt idx="1376">
                  <c:v>0.95555555555555605</c:v>
                </c:pt>
                <c:pt idx="1377">
                  <c:v>0.95625000000000004</c:v>
                </c:pt>
                <c:pt idx="1378">
                  <c:v>0.95694444444444404</c:v>
                </c:pt>
                <c:pt idx="1379">
                  <c:v>0.95763888888888904</c:v>
                </c:pt>
                <c:pt idx="1380">
                  <c:v>0.95833333333333304</c:v>
                </c:pt>
                <c:pt idx="1381">
                  <c:v>0.95902777777777803</c:v>
                </c:pt>
                <c:pt idx="1382">
                  <c:v>0.95972222222222203</c:v>
                </c:pt>
                <c:pt idx="1383">
                  <c:v>0.96041666666666703</c:v>
                </c:pt>
                <c:pt idx="1384">
                  <c:v>0.96111111111111103</c:v>
                </c:pt>
                <c:pt idx="1385">
                  <c:v>0.96180555555555602</c:v>
                </c:pt>
                <c:pt idx="1386">
                  <c:v>0.96250000000000002</c:v>
                </c:pt>
                <c:pt idx="1387">
                  <c:v>0.96319444444444402</c:v>
                </c:pt>
                <c:pt idx="1388">
                  <c:v>0.96388888888888902</c:v>
                </c:pt>
                <c:pt idx="1389">
                  <c:v>0.96458333333333302</c:v>
                </c:pt>
                <c:pt idx="1390">
                  <c:v>0.96527777777777801</c:v>
                </c:pt>
                <c:pt idx="1391">
                  <c:v>0.96597222222222201</c:v>
                </c:pt>
                <c:pt idx="1392">
                  <c:v>0.96666666666666701</c:v>
                </c:pt>
                <c:pt idx="1393">
                  <c:v>0.96736111111111101</c:v>
                </c:pt>
                <c:pt idx="1394">
                  <c:v>0.968055555555556</c:v>
                </c:pt>
                <c:pt idx="1395">
                  <c:v>0.96875</c:v>
                </c:pt>
                <c:pt idx="1396">
                  <c:v>0.969444444444444</c:v>
                </c:pt>
                <c:pt idx="1397">
                  <c:v>0.97013888888888899</c:v>
                </c:pt>
                <c:pt idx="1398">
                  <c:v>0.97083333333333299</c:v>
                </c:pt>
                <c:pt idx="1399">
                  <c:v>0.97152777777777799</c:v>
                </c:pt>
                <c:pt idx="1400">
                  <c:v>0.97222222222222199</c:v>
                </c:pt>
                <c:pt idx="1401">
                  <c:v>0.97291666666666698</c:v>
                </c:pt>
                <c:pt idx="1402">
                  <c:v>0.97361111111111098</c:v>
                </c:pt>
                <c:pt idx="1403">
                  <c:v>0.97430555555555598</c:v>
                </c:pt>
                <c:pt idx="1404">
                  <c:v>0.97499999999999998</c:v>
                </c:pt>
                <c:pt idx="1405">
                  <c:v>0.97569444444444497</c:v>
                </c:pt>
                <c:pt idx="1406">
                  <c:v>0.97638888888888897</c:v>
                </c:pt>
                <c:pt idx="1407">
                  <c:v>0.97708333333333297</c:v>
                </c:pt>
                <c:pt idx="1408">
                  <c:v>0.97777777777777797</c:v>
                </c:pt>
                <c:pt idx="1409">
                  <c:v>0.97847222222222197</c:v>
                </c:pt>
                <c:pt idx="1410">
                  <c:v>0.97916666666666696</c:v>
                </c:pt>
                <c:pt idx="1411">
                  <c:v>0.97986111111111096</c:v>
                </c:pt>
                <c:pt idx="1412">
                  <c:v>0.98055555555555596</c:v>
                </c:pt>
                <c:pt idx="1413">
                  <c:v>0.98124999999999996</c:v>
                </c:pt>
                <c:pt idx="1414">
                  <c:v>0.98194444444444495</c:v>
                </c:pt>
                <c:pt idx="1415">
                  <c:v>0.98263888888888895</c:v>
                </c:pt>
                <c:pt idx="1416">
                  <c:v>0.98333333333333295</c:v>
                </c:pt>
                <c:pt idx="1417">
                  <c:v>0.98402777777777795</c:v>
                </c:pt>
                <c:pt idx="1418">
                  <c:v>0.98472222222222205</c:v>
                </c:pt>
                <c:pt idx="1419">
                  <c:v>0.98541666666666705</c:v>
                </c:pt>
                <c:pt idx="1420">
                  <c:v>0.98611111111111105</c:v>
                </c:pt>
                <c:pt idx="1421">
                  <c:v>0.98680555555555605</c:v>
                </c:pt>
                <c:pt idx="1422">
                  <c:v>0.98750000000000004</c:v>
                </c:pt>
                <c:pt idx="1423">
                  <c:v>0.98819444444444404</c:v>
                </c:pt>
                <c:pt idx="1424">
                  <c:v>0.98888888888888904</c:v>
                </c:pt>
                <c:pt idx="1425">
                  <c:v>0.98958333333333304</c:v>
                </c:pt>
                <c:pt idx="1426">
                  <c:v>0.99027777777777803</c:v>
                </c:pt>
                <c:pt idx="1427">
                  <c:v>0.99097222222222203</c:v>
                </c:pt>
                <c:pt idx="1428">
                  <c:v>0.99166666666666703</c:v>
                </c:pt>
                <c:pt idx="1429">
                  <c:v>0.99236111111111103</c:v>
                </c:pt>
                <c:pt idx="1430">
                  <c:v>0.99305555555555602</c:v>
                </c:pt>
                <c:pt idx="1431">
                  <c:v>0.99375000000000002</c:v>
                </c:pt>
                <c:pt idx="1432">
                  <c:v>0.99444444444444402</c:v>
                </c:pt>
                <c:pt idx="1433">
                  <c:v>0.99513888888888902</c:v>
                </c:pt>
                <c:pt idx="1434">
                  <c:v>0.99583333333333302</c:v>
                </c:pt>
                <c:pt idx="1435">
                  <c:v>0.99652777777777801</c:v>
                </c:pt>
                <c:pt idx="1436">
                  <c:v>0.99722222222222201</c:v>
                </c:pt>
                <c:pt idx="1437">
                  <c:v>0.99791666666666701</c:v>
                </c:pt>
                <c:pt idx="1438">
                  <c:v>0.99861111111111101</c:v>
                </c:pt>
                <c:pt idx="1439">
                  <c:v>0.999305555555556</c:v>
                </c:pt>
              </c:numCache>
            </c:numRef>
          </c:cat>
          <c:val>
            <c:numRef>
              <c:f>Tabelle1!$B$2:$B$1441</c:f>
              <c:numCache>
                <c:formatCode>General</c:formatCode>
                <c:ptCount val="1440"/>
                <c:pt idx="0">
                  <c:v>21</c:v>
                </c:pt>
                <c:pt idx="1">
                  <c:v>21</c:v>
                </c:pt>
                <c:pt idx="2">
                  <c:v>21</c:v>
                </c:pt>
                <c:pt idx="3">
                  <c:v>21</c:v>
                </c:pt>
                <c:pt idx="4">
                  <c:v>21</c:v>
                </c:pt>
                <c:pt idx="5">
                  <c:v>21</c:v>
                </c:pt>
                <c:pt idx="6">
                  <c:v>19</c:v>
                </c:pt>
                <c:pt idx="7">
                  <c:v>19</c:v>
                </c:pt>
                <c:pt idx="8">
                  <c:v>19</c:v>
                </c:pt>
                <c:pt idx="9">
                  <c:v>19</c:v>
                </c:pt>
                <c:pt idx="10">
                  <c:v>17</c:v>
                </c:pt>
                <c:pt idx="11">
                  <c:v>16</c:v>
                </c:pt>
                <c:pt idx="12">
                  <c:v>16</c:v>
                </c:pt>
                <c:pt idx="13">
                  <c:v>16</c:v>
                </c:pt>
                <c:pt idx="14">
                  <c:v>16</c:v>
                </c:pt>
                <c:pt idx="15">
                  <c:v>16</c:v>
                </c:pt>
                <c:pt idx="16">
                  <c:v>16</c:v>
                </c:pt>
                <c:pt idx="17">
                  <c:v>16</c:v>
                </c:pt>
                <c:pt idx="18">
                  <c:v>16</c:v>
                </c:pt>
                <c:pt idx="19">
                  <c:v>16</c:v>
                </c:pt>
                <c:pt idx="20">
                  <c:v>15</c:v>
                </c:pt>
                <c:pt idx="21">
                  <c:v>15</c:v>
                </c:pt>
                <c:pt idx="22">
                  <c:v>15</c:v>
                </c:pt>
                <c:pt idx="23">
                  <c:v>15</c:v>
                </c:pt>
                <c:pt idx="24">
                  <c:v>15</c:v>
                </c:pt>
                <c:pt idx="25">
                  <c:v>15</c:v>
                </c:pt>
                <c:pt idx="26">
                  <c:v>15</c:v>
                </c:pt>
                <c:pt idx="27">
                  <c:v>15</c:v>
                </c:pt>
                <c:pt idx="28">
                  <c:v>15</c:v>
                </c:pt>
                <c:pt idx="29">
                  <c:v>15</c:v>
                </c:pt>
                <c:pt idx="30">
                  <c:v>15</c:v>
                </c:pt>
                <c:pt idx="31">
                  <c:v>15</c:v>
                </c:pt>
                <c:pt idx="32">
                  <c:v>15</c:v>
                </c:pt>
                <c:pt idx="33">
                  <c:v>15</c:v>
                </c:pt>
                <c:pt idx="34">
                  <c:v>15</c:v>
                </c:pt>
                <c:pt idx="35">
                  <c:v>15</c:v>
                </c:pt>
                <c:pt idx="36">
                  <c:v>15</c:v>
                </c:pt>
                <c:pt idx="37">
                  <c:v>15</c:v>
                </c:pt>
                <c:pt idx="38">
                  <c:v>15</c:v>
                </c:pt>
                <c:pt idx="39">
                  <c:v>15</c:v>
                </c:pt>
                <c:pt idx="40">
                  <c:v>15</c:v>
                </c:pt>
                <c:pt idx="41">
                  <c:v>15</c:v>
                </c:pt>
                <c:pt idx="42">
                  <c:v>15</c:v>
                </c:pt>
                <c:pt idx="43">
                  <c:v>15</c:v>
                </c:pt>
                <c:pt idx="44">
                  <c:v>15</c:v>
                </c:pt>
                <c:pt idx="45">
                  <c:v>15</c:v>
                </c:pt>
                <c:pt idx="46">
                  <c:v>16</c:v>
                </c:pt>
                <c:pt idx="47">
                  <c:v>15</c:v>
                </c:pt>
                <c:pt idx="48">
                  <c:v>16</c:v>
                </c:pt>
                <c:pt idx="49">
                  <c:v>16</c:v>
                </c:pt>
                <c:pt idx="50">
                  <c:v>16</c:v>
                </c:pt>
                <c:pt idx="51">
                  <c:v>16</c:v>
                </c:pt>
                <c:pt idx="52">
                  <c:v>16</c:v>
                </c:pt>
                <c:pt idx="53">
                  <c:v>16</c:v>
                </c:pt>
                <c:pt idx="54">
                  <c:v>16</c:v>
                </c:pt>
                <c:pt idx="55">
                  <c:v>16</c:v>
                </c:pt>
                <c:pt idx="56">
                  <c:v>16</c:v>
                </c:pt>
                <c:pt idx="57">
                  <c:v>16</c:v>
                </c:pt>
                <c:pt idx="58">
                  <c:v>15</c:v>
                </c:pt>
                <c:pt idx="59">
                  <c:v>15</c:v>
                </c:pt>
                <c:pt idx="60">
                  <c:v>15</c:v>
                </c:pt>
                <c:pt idx="61">
                  <c:v>15</c:v>
                </c:pt>
                <c:pt idx="62">
                  <c:v>15</c:v>
                </c:pt>
                <c:pt idx="63">
                  <c:v>14</c:v>
                </c:pt>
                <c:pt idx="64">
                  <c:v>15</c:v>
                </c:pt>
                <c:pt idx="65">
                  <c:v>15</c:v>
                </c:pt>
                <c:pt idx="66">
                  <c:v>15</c:v>
                </c:pt>
                <c:pt idx="67">
                  <c:v>15</c:v>
                </c:pt>
                <c:pt idx="68">
                  <c:v>14</c:v>
                </c:pt>
                <c:pt idx="69">
                  <c:v>14</c:v>
                </c:pt>
                <c:pt idx="70">
                  <c:v>13</c:v>
                </c:pt>
                <c:pt idx="71">
                  <c:v>13</c:v>
                </c:pt>
                <c:pt idx="72">
                  <c:v>14</c:v>
                </c:pt>
                <c:pt idx="73">
                  <c:v>14</c:v>
                </c:pt>
                <c:pt idx="74">
                  <c:v>14</c:v>
                </c:pt>
                <c:pt idx="75">
                  <c:v>14</c:v>
                </c:pt>
                <c:pt idx="76">
                  <c:v>14</c:v>
                </c:pt>
                <c:pt idx="77">
                  <c:v>13</c:v>
                </c:pt>
                <c:pt idx="78">
                  <c:v>13</c:v>
                </c:pt>
                <c:pt idx="79">
                  <c:v>13</c:v>
                </c:pt>
                <c:pt idx="80">
                  <c:v>13</c:v>
                </c:pt>
                <c:pt idx="81">
                  <c:v>12</c:v>
                </c:pt>
                <c:pt idx="82">
                  <c:v>12</c:v>
                </c:pt>
                <c:pt idx="83">
                  <c:v>12</c:v>
                </c:pt>
                <c:pt idx="84">
                  <c:v>12</c:v>
                </c:pt>
                <c:pt idx="85">
                  <c:v>12</c:v>
                </c:pt>
                <c:pt idx="86">
                  <c:v>12</c:v>
                </c:pt>
                <c:pt idx="87">
                  <c:v>12</c:v>
                </c:pt>
                <c:pt idx="88">
                  <c:v>11</c:v>
                </c:pt>
                <c:pt idx="89">
                  <c:v>11</c:v>
                </c:pt>
                <c:pt idx="90">
                  <c:v>11</c:v>
                </c:pt>
                <c:pt idx="91">
                  <c:v>11</c:v>
                </c:pt>
                <c:pt idx="92">
                  <c:v>11</c:v>
                </c:pt>
                <c:pt idx="93">
                  <c:v>11</c:v>
                </c:pt>
                <c:pt idx="94">
                  <c:v>11</c:v>
                </c:pt>
                <c:pt idx="95">
                  <c:v>11</c:v>
                </c:pt>
                <c:pt idx="96">
                  <c:v>11</c:v>
                </c:pt>
                <c:pt idx="97">
                  <c:v>10</c:v>
                </c:pt>
                <c:pt idx="98">
                  <c:v>10</c:v>
                </c:pt>
                <c:pt idx="99">
                  <c:v>10</c:v>
                </c:pt>
                <c:pt idx="100">
                  <c:v>10</c:v>
                </c:pt>
                <c:pt idx="101">
                  <c:v>10</c:v>
                </c:pt>
                <c:pt idx="102">
                  <c:v>10</c:v>
                </c:pt>
                <c:pt idx="103">
                  <c:v>10</c:v>
                </c:pt>
                <c:pt idx="104">
                  <c:v>10</c:v>
                </c:pt>
                <c:pt idx="105">
                  <c:v>10</c:v>
                </c:pt>
                <c:pt idx="106">
                  <c:v>10</c:v>
                </c:pt>
                <c:pt idx="107">
                  <c:v>10</c:v>
                </c:pt>
                <c:pt idx="108">
                  <c:v>10</c:v>
                </c:pt>
                <c:pt idx="109">
                  <c:v>10</c:v>
                </c:pt>
                <c:pt idx="110">
                  <c:v>10</c:v>
                </c:pt>
                <c:pt idx="111">
                  <c:v>10</c:v>
                </c:pt>
                <c:pt idx="112">
                  <c:v>10</c:v>
                </c:pt>
                <c:pt idx="113">
                  <c:v>10</c:v>
                </c:pt>
                <c:pt idx="114">
                  <c:v>10</c:v>
                </c:pt>
                <c:pt idx="115">
                  <c:v>10</c:v>
                </c:pt>
                <c:pt idx="116">
                  <c:v>10</c:v>
                </c:pt>
                <c:pt idx="117">
                  <c:v>9</c:v>
                </c:pt>
                <c:pt idx="118">
                  <c:v>9</c:v>
                </c:pt>
                <c:pt idx="119">
                  <c:v>9</c:v>
                </c:pt>
                <c:pt idx="120">
                  <c:v>9</c:v>
                </c:pt>
                <c:pt idx="121">
                  <c:v>9</c:v>
                </c:pt>
                <c:pt idx="122">
                  <c:v>9</c:v>
                </c:pt>
                <c:pt idx="123">
                  <c:v>9</c:v>
                </c:pt>
                <c:pt idx="124">
                  <c:v>9</c:v>
                </c:pt>
                <c:pt idx="125">
                  <c:v>9</c:v>
                </c:pt>
                <c:pt idx="126">
                  <c:v>9</c:v>
                </c:pt>
                <c:pt idx="127">
                  <c:v>8</c:v>
                </c:pt>
                <c:pt idx="128">
                  <c:v>8</c:v>
                </c:pt>
                <c:pt idx="129">
                  <c:v>8</c:v>
                </c:pt>
                <c:pt idx="130">
                  <c:v>8</c:v>
                </c:pt>
                <c:pt idx="131">
                  <c:v>8</c:v>
                </c:pt>
                <c:pt idx="132">
                  <c:v>8</c:v>
                </c:pt>
                <c:pt idx="133">
                  <c:v>8</c:v>
                </c:pt>
                <c:pt idx="134">
                  <c:v>8</c:v>
                </c:pt>
                <c:pt idx="135">
                  <c:v>8</c:v>
                </c:pt>
                <c:pt idx="136">
                  <c:v>8</c:v>
                </c:pt>
                <c:pt idx="137">
                  <c:v>8</c:v>
                </c:pt>
                <c:pt idx="138">
                  <c:v>8</c:v>
                </c:pt>
                <c:pt idx="139">
                  <c:v>8</c:v>
                </c:pt>
                <c:pt idx="140">
                  <c:v>8</c:v>
                </c:pt>
                <c:pt idx="141">
                  <c:v>8</c:v>
                </c:pt>
                <c:pt idx="142">
                  <c:v>8</c:v>
                </c:pt>
                <c:pt idx="143">
                  <c:v>7</c:v>
                </c:pt>
                <c:pt idx="144">
                  <c:v>7</c:v>
                </c:pt>
                <c:pt idx="145">
                  <c:v>7</c:v>
                </c:pt>
                <c:pt idx="146">
                  <c:v>7</c:v>
                </c:pt>
                <c:pt idx="147">
                  <c:v>7</c:v>
                </c:pt>
                <c:pt idx="148">
                  <c:v>7</c:v>
                </c:pt>
                <c:pt idx="149">
                  <c:v>6</c:v>
                </c:pt>
                <c:pt idx="150">
                  <c:v>6</c:v>
                </c:pt>
                <c:pt idx="151">
                  <c:v>6</c:v>
                </c:pt>
                <c:pt idx="152">
                  <c:v>6</c:v>
                </c:pt>
                <c:pt idx="153">
                  <c:v>6</c:v>
                </c:pt>
                <c:pt idx="154">
                  <c:v>6</c:v>
                </c:pt>
                <c:pt idx="155">
                  <c:v>6</c:v>
                </c:pt>
                <c:pt idx="156">
                  <c:v>6</c:v>
                </c:pt>
                <c:pt idx="157">
                  <c:v>6</c:v>
                </c:pt>
                <c:pt idx="158">
                  <c:v>6</c:v>
                </c:pt>
                <c:pt idx="159">
                  <c:v>6</c:v>
                </c:pt>
                <c:pt idx="160">
                  <c:v>6</c:v>
                </c:pt>
                <c:pt idx="161">
                  <c:v>6</c:v>
                </c:pt>
                <c:pt idx="162">
                  <c:v>6</c:v>
                </c:pt>
                <c:pt idx="163">
                  <c:v>6</c:v>
                </c:pt>
                <c:pt idx="164">
                  <c:v>6</c:v>
                </c:pt>
                <c:pt idx="165">
                  <c:v>6</c:v>
                </c:pt>
                <c:pt idx="166">
                  <c:v>6</c:v>
                </c:pt>
                <c:pt idx="167">
                  <c:v>6</c:v>
                </c:pt>
                <c:pt idx="168">
                  <c:v>6</c:v>
                </c:pt>
                <c:pt idx="169">
                  <c:v>6</c:v>
                </c:pt>
                <c:pt idx="170">
                  <c:v>6</c:v>
                </c:pt>
                <c:pt idx="171">
                  <c:v>6</c:v>
                </c:pt>
                <c:pt idx="172">
                  <c:v>6</c:v>
                </c:pt>
                <c:pt idx="173">
                  <c:v>6</c:v>
                </c:pt>
                <c:pt idx="174">
                  <c:v>6</c:v>
                </c:pt>
                <c:pt idx="175">
                  <c:v>6</c:v>
                </c:pt>
                <c:pt idx="176">
                  <c:v>5</c:v>
                </c:pt>
                <c:pt idx="177">
                  <c:v>5</c:v>
                </c:pt>
                <c:pt idx="178">
                  <c:v>5</c:v>
                </c:pt>
                <c:pt idx="179">
                  <c:v>5</c:v>
                </c:pt>
                <c:pt idx="180">
                  <c:v>5</c:v>
                </c:pt>
                <c:pt idx="181">
                  <c:v>5</c:v>
                </c:pt>
                <c:pt idx="182">
                  <c:v>5</c:v>
                </c:pt>
                <c:pt idx="183">
                  <c:v>5</c:v>
                </c:pt>
                <c:pt idx="184">
                  <c:v>5</c:v>
                </c:pt>
                <c:pt idx="185">
                  <c:v>5</c:v>
                </c:pt>
                <c:pt idx="186">
                  <c:v>5</c:v>
                </c:pt>
                <c:pt idx="187">
                  <c:v>5</c:v>
                </c:pt>
                <c:pt idx="188">
                  <c:v>5</c:v>
                </c:pt>
                <c:pt idx="189">
                  <c:v>5</c:v>
                </c:pt>
                <c:pt idx="190">
                  <c:v>5</c:v>
                </c:pt>
                <c:pt idx="191">
                  <c:v>5</c:v>
                </c:pt>
                <c:pt idx="192">
                  <c:v>5</c:v>
                </c:pt>
                <c:pt idx="193">
                  <c:v>5</c:v>
                </c:pt>
                <c:pt idx="194">
                  <c:v>5</c:v>
                </c:pt>
                <c:pt idx="195">
                  <c:v>5</c:v>
                </c:pt>
                <c:pt idx="196">
                  <c:v>5</c:v>
                </c:pt>
                <c:pt idx="197">
                  <c:v>5</c:v>
                </c:pt>
                <c:pt idx="198">
                  <c:v>5</c:v>
                </c:pt>
                <c:pt idx="199">
                  <c:v>5</c:v>
                </c:pt>
                <c:pt idx="200">
                  <c:v>4</c:v>
                </c:pt>
                <c:pt idx="201">
                  <c:v>4</c:v>
                </c:pt>
                <c:pt idx="202">
                  <c:v>4</c:v>
                </c:pt>
                <c:pt idx="203">
                  <c:v>4</c:v>
                </c:pt>
                <c:pt idx="204">
                  <c:v>4</c:v>
                </c:pt>
                <c:pt idx="205">
                  <c:v>4</c:v>
                </c:pt>
                <c:pt idx="206">
                  <c:v>4</c:v>
                </c:pt>
                <c:pt idx="207">
                  <c:v>4</c:v>
                </c:pt>
                <c:pt idx="208">
                  <c:v>4</c:v>
                </c:pt>
                <c:pt idx="209">
                  <c:v>4</c:v>
                </c:pt>
                <c:pt idx="210">
                  <c:v>4</c:v>
                </c:pt>
                <c:pt idx="211">
                  <c:v>4</c:v>
                </c:pt>
                <c:pt idx="212">
                  <c:v>4</c:v>
                </c:pt>
                <c:pt idx="213">
                  <c:v>3</c:v>
                </c:pt>
                <c:pt idx="214">
                  <c:v>4</c:v>
                </c:pt>
                <c:pt idx="215">
                  <c:v>4</c:v>
                </c:pt>
                <c:pt idx="216">
                  <c:v>4</c:v>
                </c:pt>
                <c:pt idx="217">
                  <c:v>4</c:v>
                </c:pt>
                <c:pt idx="218">
                  <c:v>4</c:v>
                </c:pt>
                <c:pt idx="219">
                  <c:v>4</c:v>
                </c:pt>
                <c:pt idx="220">
                  <c:v>3</c:v>
                </c:pt>
                <c:pt idx="221">
                  <c:v>3</c:v>
                </c:pt>
                <c:pt idx="222">
                  <c:v>3</c:v>
                </c:pt>
                <c:pt idx="223">
                  <c:v>3</c:v>
                </c:pt>
                <c:pt idx="224">
                  <c:v>3</c:v>
                </c:pt>
                <c:pt idx="225">
                  <c:v>3</c:v>
                </c:pt>
                <c:pt idx="226">
                  <c:v>3</c:v>
                </c:pt>
                <c:pt idx="227">
                  <c:v>3</c:v>
                </c:pt>
                <c:pt idx="228">
                  <c:v>3</c:v>
                </c:pt>
                <c:pt idx="229">
                  <c:v>3</c:v>
                </c:pt>
                <c:pt idx="230">
                  <c:v>3</c:v>
                </c:pt>
                <c:pt idx="231">
                  <c:v>3</c:v>
                </c:pt>
                <c:pt idx="232">
                  <c:v>3</c:v>
                </c:pt>
                <c:pt idx="233">
                  <c:v>3</c:v>
                </c:pt>
                <c:pt idx="234">
                  <c:v>3</c:v>
                </c:pt>
                <c:pt idx="235">
                  <c:v>3</c:v>
                </c:pt>
                <c:pt idx="236">
                  <c:v>3</c:v>
                </c:pt>
                <c:pt idx="237">
                  <c:v>3</c:v>
                </c:pt>
                <c:pt idx="238">
                  <c:v>3</c:v>
                </c:pt>
                <c:pt idx="239">
                  <c:v>3</c:v>
                </c:pt>
                <c:pt idx="240">
                  <c:v>3</c:v>
                </c:pt>
                <c:pt idx="241">
                  <c:v>3</c:v>
                </c:pt>
                <c:pt idx="242">
                  <c:v>3</c:v>
                </c:pt>
                <c:pt idx="243">
                  <c:v>3</c:v>
                </c:pt>
                <c:pt idx="244">
                  <c:v>3</c:v>
                </c:pt>
                <c:pt idx="245">
                  <c:v>3</c:v>
                </c:pt>
                <c:pt idx="246">
                  <c:v>3</c:v>
                </c:pt>
                <c:pt idx="247">
                  <c:v>3</c:v>
                </c:pt>
                <c:pt idx="248">
                  <c:v>3</c:v>
                </c:pt>
                <c:pt idx="249">
                  <c:v>3</c:v>
                </c:pt>
                <c:pt idx="250">
                  <c:v>3</c:v>
                </c:pt>
                <c:pt idx="251">
                  <c:v>3</c:v>
                </c:pt>
                <c:pt idx="252">
                  <c:v>3</c:v>
                </c:pt>
                <c:pt idx="253">
                  <c:v>3</c:v>
                </c:pt>
                <c:pt idx="254">
                  <c:v>3</c:v>
                </c:pt>
                <c:pt idx="255">
                  <c:v>3</c:v>
                </c:pt>
                <c:pt idx="256">
                  <c:v>3</c:v>
                </c:pt>
                <c:pt idx="257">
                  <c:v>3</c:v>
                </c:pt>
                <c:pt idx="258">
                  <c:v>3</c:v>
                </c:pt>
                <c:pt idx="259">
                  <c:v>3</c:v>
                </c:pt>
                <c:pt idx="260">
                  <c:v>3</c:v>
                </c:pt>
                <c:pt idx="261">
                  <c:v>3</c:v>
                </c:pt>
                <c:pt idx="262">
                  <c:v>3</c:v>
                </c:pt>
                <c:pt idx="263">
                  <c:v>3</c:v>
                </c:pt>
                <c:pt idx="264">
                  <c:v>3</c:v>
                </c:pt>
                <c:pt idx="265">
                  <c:v>3</c:v>
                </c:pt>
                <c:pt idx="266">
                  <c:v>3</c:v>
                </c:pt>
                <c:pt idx="267">
                  <c:v>3</c:v>
                </c:pt>
                <c:pt idx="268">
                  <c:v>3</c:v>
                </c:pt>
                <c:pt idx="269">
                  <c:v>3</c:v>
                </c:pt>
                <c:pt idx="270">
                  <c:v>3</c:v>
                </c:pt>
                <c:pt idx="271">
                  <c:v>3</c:v>
                </c:pt>
                <c:pt idx="272">
                  <c:v>3</c:v>
                </c:pt>
                <c:pt idx="273">
                  <c:v>3</c:v>
                </c:pt>
                <c:pt idx="274">
                  <c:v>3</c:v>
                </c:pt>
                <c:pt idx="275">
                  <c:v>3</c:v>
                </c:pt>
                <c:pt idx="276">
                  <c:v>3</c:v>
                </c:pt>
                <c:pt idx="277">
                  <c:v>3</c:v>
                </c:pt>
                <c:pt idx="278">
                  <c:v>3</c:v>
                </c:pt>
                <c:pt idx="279">
                  <c:v>3</c:v>
                </c:pt>
                <c:pt idx="280">
                  <c:v>3</c:v>
                </c:pt>
                <c:pt idx="281">
                  <c:v>3</c:v>
                </c:pt>
                <c:pt idx="282">
                  <c:v>3</c:v>
                </c:pt>
                <c:pt idx="283">
                  <c:v>3</c:v>
                </c:pt>
                <c:pt idx="284">
                  <c:v>3</c:v>
                </c:pt>
                <c:pt idx="285">
                  <c:v>3</c:v>
                </c:pt>
                <c:pt idx="286">
                  <c:v>3</c:v>
                </c:pt>
                <c:pt idx="287">
                  <c:v>3</c:v>
                </c:pt>
                <c:pt idx="288">
                  <c:v>3</c:v>
                </c:pt>
                <c:pt idx="289">
                  <c:v>3</c:v>
                </c:pt>
                <c:pt idx="290">
                  <c:v>3</c:v>
                </c:pt>
                <c:pt idx="291">
                  <c:v>3</c:v>
                </c:pt>
                <c:pt idx="292">
                  <c:v>3</c:v>
                </c:pt>
                <c:pt idx="293">
                  <c:v>3</c:v>
                </c:pt>
                <c:pt idx="294">
                  <c:v>3</c:v>
                </c:pt>
                <c:pt idx="295">
                  <c:v>3</c:v>
                </c:pt>
                <c:pt idx="296">
                  <c:v>3</c:v>
                </c:pt>
                <c:pt idx="297">
                  <c:v>3</c:v>
                </c:pt>
                <c:pt idx="298">
                  <c:v>3</c:v>
                </c:pt>
                <c:pt idx="299">
                  <c:v>3</c:v>
                </c:pt>
                <c:pt idx="300">
                  <c:v>3</c:v>
                </c:pt>
                <c:pt idx="301">
                  <c:v>3</c:v>
                </c:pt>
                <c:pt idx="302">
                  <c:v>3</c:v>
                </c:pt>
                <c:pt idx="303">
                  <c:v>3</c:v>
                </c:pt>
                <c:pt idx="304">
                  <c:v>3</c:v>
                </c:pt>
                <c:pt idx="305">
                  <c:v>3</c:v>
                </c:pt>
                <c:pt idx="306">
                  <c:v>3</c:v>
                </c:pt>
                <c:pt idx="307">
                  <c:v>3</c:v>
                </c:pt>
                <c:pt idx="308">
                  <c:v>3</c:v>
                </c:pt>
                <c:pt idx="309">
                  <c:v>3</c:v>
                </c:pt>
                <c:pt idx="310">
                  <c:v>3</c:v>
                </c:pt>
                <c:pt idx="311">
                  <c:v>3</c:v>
                </c:pt>
                <c:pt idx="312">
                  <c:v>3</c:v>
                </c:pt>
                <c:pt idx="313">
                  <c:v>2</c:v>
                </c:pt>
                <c:pt idx="314">
                  <c:v>2</c:v>
                </c:pt>
                <c:pt idx="315">
                  <c:v>2</c:v>
                </c:pt>
                <c:pt idx="316">
                  <c:v>2</c:v>
                </c:pt>
                <c:pt idx="317">
                  <c:v>2</c:v>
                </c:pt>
                <c:pt idx="318">
                  <c:v>2</c:v>
                </c:pt>
                <c:pt idx="319">
                  <c:v>2</c:v>
                </c:pt>
                <c:pt idx="320">
                  <c:v>2</c:v>
                </c:pt>
                <c:pt idx="321">
                  <c:v>2</c:v>
                </c:pt>
                <c:pt idx="322">
                  <c:v>2</c:v>
                </c:pt>
                <c:pt idx="323">
                  <c:v>2</c:v>
                </c:pt>
                <c:pt idx="324">
                  <c:v>2</c:v>
                </c:pt>
                <c:pt idx="325">
                  <c:v>2</c:v>
                </c:pt>
                <c:pt idx="326">
                  <c:v>2</c:v>
                </c:pt>
                <c:pt idx="327">
                  <c:v>2</c:v>
                </c:pt>
                <c:pt idx="328">
                  <c:v>2</c:v>
                </c:pt>
                <c:pt idx="329">
                  <c:v>2</c:v>
                </c:pt>
                <c:pt idx="330">
                  <c:v>2</c:v>
                </c:pt>
                <c:pt idx="331">
                  <c:v>2</c:v>
                </c:pt>
                <c:pt idx="332">
                  <c:v>2</c:v>
                </c:pt>
                <c:pt idx="333">
                  <c:v>2</c:v>
                </c:pt>
                <c:pt idx="334">
                  <c:v>2</c:v>
                </c:pt>
                <c:pt idx="335">
                  <c:v>2</c:v>
                </c:pt>
                <c:pt idx="336">
                  <c:v>2</c:v>
                </c:pt>
                <c:pt idx="337">
                  <c:v>2</c:v>
                </c:pt>
                <c:pt idx="338">
                  <c:v>2</c:v>
                </c:pt>
                <c:pt idx="339">
                  <c:v>2</c:v>
                </c:pt>
                <c:pt idx="340">
                  <c:v>2</c:v>
                </c:pt>
                <c:pt idx="341">
                  <c:v>2</c:v>
                </c:pt>
                <c:pt idx="342">
                  <c:v>2</c:v>
                </c:pt>
                <c:pt idx="343">
                  <c:v>2</c:v>
                </c:pt>
                <c:pt idx="344">
                  <c:v>2</c:v>
                </c:pt>
                <c:pt idx="345">
                  <c:v>2</c:v>
                </c:pt>
                <c:pt idx="346">
                  <c:v>2</c:v>
                </c:pt>
                <c:pt idx="347">
                  <c:v>2</c:v>
                </c:pt>
                <c:pt idx="348">
                  <c:v>2</c:v>
                </c:pt>
                <c:pt idx="349">
                  <c:v>2</c:v>
                </c:pt>
                <c:pt idx="350">
                  <c:v>2</c:v>
                </c:pt>
                <c:pt idx="351">
                  <c:v>2</c:v>
                </c:pt>
                <c:pt idx="352">
                  <c:v>2</c:v>
                </c:pt>
                <c:pt idx="353">
                  <c:v>2</c:v>
                </c:pt>
                <c:pt idx="354">
                  <c:v>2</c:v>
                </c:pt>
                <c:pt idx="355">
                  <c:v>2</c:v>
                </c:pt>
                <c:pt idx="356">
                  <c:v>2</c:v>
                </c:pt>
                <c:pt idx="357">
                  <c:v>2</c:v>
                </c:pt>
                <c:pt idx="358">
                  <c:v>2</c:v>
                </c:pt>
                <c:pt idx="359">
                  <c:v>2</c:v>
                </c:pt>
                <c:pt idx="360">
                  <c:v>2</c:v>
                </c:pt>
                <c:pt idx="361">
                  <c:v>2</c:v>
                </c:pt>
                <c:pt idx="362">
                  <c:v>2</c:v>
                </c:pt>
                <c:pt idx="363">
                  <c:v>2</c:v>
                </c:pt>
                <c:pt idx="364">
                  <c:v>2</c:v>
                </c:pt>
                <c:pt idx="365">
                  <c:v>2</c:v>
                </c:pt>
                <c:pt idx="366">
                  <c:v>2</c:v>
                </c:pt>
                <c:pt idx="367">
                  <c:v>2</c:v>
                </c:pt>
                <c:pt idx="368">
                  <c:v>2</c:v>
                </c:pt>
                <c:pt idx="369">
                  <c:v>2</c:v>
                </c:pt>
                <c:pt idx="370">
                  <c:v>2</c:v>
                </c:pt>
                <c:pt idx="371">
                  <c:v>2</c:v>
                </c:pt>
                <c:pt idx="372">
                  <c:v>2</c:v>
                </c:pt>
                <c:pt idx="373">
                  <c:v>2</c:v>
                </c:pt>
                <c:pt idx="374">
                  <c:v>2</c:v>
                </c:pt>
                <c:pt idx="375">
                  <c:v>2</c:v>
                </c:pt>
                <c:pt idx="376">
                  <c:v>2</c:v>
                </c:pt>
                <c:pt idx="377">
                  <c:v>2</c:v>
                </c:pt>
                <c:pt idx="378">
                  <c:v>2</c:v>
                </c:pt>
                <c:pt idx="379">
                  <c:v>2</c:v>
                </c:pt>
                <c:pt idx="380">
                  <c:v>2</c:v>
                </c:pt>
                <c:pt idx="381">
                  <c:v>2</c:v>
                </c:pt>
                <c:pt idx="382">
                  <c:v>2</c:v>
                </c:pt>
                <c:pt idx="383">
                  <c:v>2</c:v>
                </c:pt>
                <c:pt idx="384">
                  <c:v>2</c:v>
                </c:pt>
                <c:pt idx="385">
                  <c:v>2</c:v>
                </c:pt>
                <c:pt idx="386">
                  <c:v>2</c:v>
                </c:pt>
                <c:pt idx="387">
                  <c:v>2</c:v>
                </c:pt>
                <c:pt idx="388">
                  <c:v>2</c:v>
                </c:pt>
                <c:pt idx="389">
                  <c:v>2</c:v>
                </c:pt>
                <c:pt idx="390">
                  <c:v>2</c:v>
                </c:pt>
                <c:pt idx="391">
                  <c:v>2</c:v>
                </c:pt>
                <c:pt idx="392">
                  <c:v>2</c:v>
                </c:pt>
                <c:pt idx="393">
                  <c:v>2</c:v>
                </c:pt>
                <c:pt idx="394">
                  <c:v>2</c:v>
                </c:pt>
                <c:pt idx="395">
                  <c:v>1</c:v>
                </c:pt>
                <c:pt idx="396">
                  <c:v>1</c:v>
                </c:pt>
                <c:pt idx="397">
                  <c:v>2</c:v>
                </c:pt>
                <c:pt idx="398">
                  <c:v>2</c:v>
                </c:pt>
                <c:pt idx="399">
                  <c:v>2</c:v>
                </c:pt>
                <c:pt idx="400">
                  <c:v>3</c:v>
                </c:pt>
                <c:pt idx="401">
                  <c:v>3</c:v>
                </c:pt>
                <c:pt idx="402">
                  <c:v>3</c:v>
                </c:pt>
                <c:pt idx="403">
                  <c:v>3</c:v>
                </c:pt>
                <c:pt idx="404">
                  <c:v>3</c:v>
                </c:pt>
                <c:pt idx="405">
                  <c:v>3</c:v>
                </c:pt>
                <c:pt idx="406">
                  <c:v>3</c:v>
                </c:pt>
                <c:pt idx="407">
                  <c:v>3</c:v>
                </c:pt>
                <c:pt idx="408">
                  <c:v>3</c:v>
                </c:pt>
                <c:pt idx="409">
                  <c:v>3</c:v>
                </c:pt>
                <c:pt idx="410">
                  <c:v>3</c:v>
                </c:pt>
                <c:pt idx="411">
                  <c:v>3</c:v>
                </c:pt>
                <c:pt idx="412">
                  <c:v>3</c:v>
                </c:pt>
                <c:pt idx="413">
                  <c:v>3</c:v>
                </c:pt>
                <c:pt idx="414">
                  <c:v>3</c:v>
                </c:pt>
                <c:pt idx="415">
                  <c:v>3</c:v>
                </c:pt>
                <c:pt idx="416">
                  <c:v>3</c:v>
                </c:pt>
                <c:pt idx="417">
                  <c:v>3</c:v>
                </c:pt>
                <c:pt idx="418">
                  <c:v>3</c:v>
                </c:pt>
                <c:pt idx="419">
                  <c:v>3</c:v>
                </c:pt>
                <c:pt idx="420">
                  <c:v>3</c:v>
                </c:pt>
                <c:pt idx="421">
                  <c:v>3</c:v>
                </c:pt>
                <c:pt idx="422">
                  <c:v>3</c:v>
                </c:pt>
                <c:pt idx="423">
                  <c:v>3</c:v>
                </c:pt>
                <c:pt idx="424">
                  <c:v>3</c:v>
                </c:pt>
                <c:pt idx="425">
                  <c:v>3</c:v>
                </c:pt>
                <c:pt idx="426">
                  <c:v>3</c:v>
                </c:pt>
                <c:pt idx="427">
                  <c:v>3</c:v>
                </c:pt>
                <c:pt idx="428">
                  <c:v>3</c:v>
                </c:pt>
                <c:pt idx="429">
                  <c:v>3</c:v>
                </c:pt>
                <c:pt idx="430">
                  <c:v>3</c:v>
                </c:pt>
                <c:pt idx="431">
                  <c:v>3</c:v>
                </c:pt>
                <c:pt idx="432">
                  <c:v>3</c:v>
                </c:pt>
                <c:pt idx="433">
                  <c:v>3</c:v>
                </c:pt>
                <c:pt idx="434">
                  <c:v>4</c:v>
                </c:pt>
                <c:pt idx="435">
                  <c:v>4</c:v>
                </c:pt>
                <c:pt idx="436">
                  <c:v>4</c:v>
                </c:pt>
                <c:pt idx="437">
                  <c:v>4</c:v>
                </c:pt>
                <c:pt idx="438">
                  <c:v>4</c:v>
                </c:pt>
                <c:pt idx="439">
                  <c:v>3</c:v>
                </c:pt>
                <c:pt idx="440">
                  <c:v>3</c:v>
                </c:pt>
                <c:pt idx="441">
                  <c:v>3</c:v>
                </c:pt>
                <c:pt idx="442">
                  <c:v>3</c:v>
                </c:pt>
                <c:pt idx="443">
                  <c:v>4</c:v>
                </c:pt>
                <c:pt idx="444">
                  <c:v>4</c:v>
                </c:pt>
                <c:pt idx="445">
                  <c:v>4</c:v>
                </c:pt>
                <c:pt idx="446">
                  <c:v>4</c:v>
                </c:pt>
                <c:pt idx="447">
                  <c:v>4</c:v>
                </c:pt>
                <c:pt idx="448">
                  <c:v>6</c:v>
                </c:pt>
                <c:pt idx="449">
                  <c:v>6</c:v>
                </c:pt>
                <c:pt idx="450">
                  <c:v>6</c:v>
                </c:pt>
                <c:pt idx="451">
                  <c:v>6</c:v>
                </c:pt>
                <c:pt idx="452">
                  <c:v>6</c:v>
                </c:pt>
                <c:pt idx="453">
                  <c:v>6</c:v>
                </c:pt>
                <c:pt idx="454">
                  <c:v>6</c:v>
                </c:pt>
                <c:pt idx="455">
                  <c:v>6</c:v>
                </c:pt>
                <c:pt idx="456">
                  <c:v>6</c:v>
                </c:pt>
                <c:pt idx="457">
                  <c:v>6</c:v>
                </c:pt>
                <c:pt idx="458">
                  <c:v>6</c:v>
                </c:pt>
                <c:pt idx="459">
                  <c:v>6</c:v>
                </c:pt>
                <c:pt idx="460">
                  <c:v>6</c:v>
                </c:pt>
                <c:pt idx="461">
                  <c:v>6</c:v>
                </c:pt>
                <c:pt idx="462">
                  <c:v>5</c:v>
                </c:pt>
                <c:pt idx="463">
                  <c:v>5</c:v>
                </c:pt>
                <c:pt idx="464">
                  <c:v>5</c:v>
                </c:pt>
                <c:pt idx="465">
                  <c:v>5</c:v>
                </c:pt>
                <c:pt idx="466">
                  <c:v>5</c:v>
                </c:pt>
                <c:pt idx="467">
                  <c:v>5</c:v>
                </c:pt>
                <c:pt idx="468">
                  <c:v>5</c:v>
                </c:pt>
                <c:pt idx="469">
                  <c:v>5</c:v>
                </c:pt>
                <c:pt idx="470">
                  <c:v>5</c:v>
                </c:pt>
                <c:pt idx="471">
                  <c:v>5</c:v>
                </c:pt>
                <c:pt idx="472">
                  <c:v>5</c:v>
                </c:pt>
                <c:pt idx="473">
                  <c:v>5</c:v>
                </c:pt>
                <c:pt idx="474">
                  <c:v>5</c:v>
                </c:pt>
                <c:pt idx="475">
                  <c:v>5</c:v>
                </c:pt>
                <c:pt idx="476">
                  <c:v>5</c:v>
                </c:pt>
                <c:pt idx="477">
                  <c:v>5</c:v>
                </c:pt>
                <c:pt idx="478">
                  <c:v>5</c:v>
                </c:pt>
                <c:pt idx="479">
                  <c:v>5</c:v>
                </c:pt>
                <c:pt idx="480">
                  <c:v>5</c:v>
                </c:pt>
                <c:pt idx="481">
                  <c:v>5</c:v>
                </c:pt>
                <c:pt idx="482">
                  <c:v>5</c:v>
                </c:pt>
                <c:pt idx="483">
                  <c:v>5</c:v>
                </c:pt>
                <c:pt idx="484">
                  <c:v>5</c:v>
                </c:pt>
                <c:pt idx="485">
                  <c:v>5</c:v>
                </c:pt>
                <c:pt idx="486">
                  <c:v>4</c:v>
                </c:pt>
                <c:pt idx="487">
                  <c:v>4</c:v>
                </c:pt>
                <c:pt idx="488">
                  <c:v>4</c:v>
                </c:pt>
                <c:pt idx="489">
                  <c:v>4</c:v>
                </c:pt>
                <c:pt idx="490">
                  <c:v>4</c:v>
                </c:pt>
                <c:pt idx="491">
                  <c:v>3</c:v>
                </c:pt>
                <c:pt idx="492">
                  <c:v>3</c:v>
                </c:pt>
                <c:pt idx="493">
                  <c:v>3</c:v>
                </c:pt>
                <c:pt idx="494">
                  <c:v>3</c:v>
                </c:pt>
                <c:pt idx="495">
                  <c:v>3</c:v>
                </c:pt>
                <c:pt idx="496">
                  <c:v>3</c:v>
                </c:pt>
                <c:pt idx="497">
                  <c:v>3</c:v>
                </c:pt>
                <c:pt idx="498">
                  <c:v>3</c:v>
                </c:pt>
                <c:pt idx="499">
                  <c:v>3</c:v>
                </c:pt>
                <c:pt idx="500">
                  <c:v>3</c:v>
                </c:pt>
                <c:pt idx="501">
                  <c:v>3</c:v>
                </c:pt>
                <c:pt idx="502">
                  <c:v>3</c:v>
                </c:pt>
                <c:pt idx="503">
                  <c:v>3</c:v>
                </c:pt>
                <c:pt idx="504">
                  <c:v>3</c:v>
                </c:pt>
                <c:pt idx="505">
                  <c:v>3</c:v>
                </c:pt>
                <c:pt idx="506">
                  <c:v>3</c:v>
                </c:pt>
                <c:pt idx="507">
                  <c:v>3</c:v>
                </c:pt>
                <c:pt idx="508">
                  <c:v>3</c:v>
                </c:pt>
                <c:pt idx="509">
                  <c:v>2</c:v>
                </c:pt>
                <c:pt idx="510">
                  <c:v>2</c:v>
                </c:pt>
                <c:pt idx="511">
                  <c:v>2</c:v>
                </c:pt>
                <c:pt idx="512">
                  <c:v>2</c:v>
                </c:pt>
                <c:pt idx="513">
                  <c:v>2</c:v>
                </c:pt>
                <c:pt idx="514">
                  <c:v>2</c:v>
                </c:pt>
                <c:pt idx="515">
                  <c:v>2</c:v>
                </c:pt>
                <c:pt idx="516">
                  <c:v>2</c:v>
                </c:pt>
                <c:pt idx="517">
                  <c:v>2</c:v>
                </c:pt>
                <c:pt idx="518">
                  <c:v>2</c:v>
                </c:pt>
                <c:pt idx="519">
                  <c:v>2</c:v>
                </c:pt>
                <c:pt idx="520">
                  <c:v>2</c:v>
                </c:pt>
                <c:pt idx="521">
                  <c:v>2</c:v>
                </c:pt>
                <c:pt idx="522">
                  <c:v>2</c:v>
                </c:pt>
                <c:pt idx="523">
                  <c:v>2</c:v>
                </c:pt>
                <c:pt idx="524">
                  <c:v>2</c:v>
                </c:pt>
                <c:pt idx="525">
                  <c:v>2</c:v>
                </c:pt>
                <c:pt idx="526">
                  <c:v>2</c:v>
                </c:pt>
                <c:pt idx="527">
                  <c:v>2</c:v>
                </c:pt>
                <c:pt idx="528">
                  <c:v>2</c:v>
                </c:pt>
                <c:pt idx="529">
                  <c:v>2</c:v>
                </c:pt>
                <c:pt idx="530">
                  <c:v>2</c:v>
                </c:pt>
                <c:pt idx="531">
                  <c:v>2</c:v>
                </c:pt>
                <c:pt idx="532">
                  <c:v>2</c:v>
                </c:pt>
                <c:pt idx="533">
                  <c:v>2</c:v>
                </c:pt>
                <c:pt idx="534">
                  <c:v>2</c:v>
                </c:pt>
                <c:pt idx="535">
                  <c:v>2</c:v>
                </c:pt>
                <c:pt idx="536">
                  <c:v>2</c:v>
                </c:pt>
                <c:pt idx="537">
                  <c:v>2</c:v>
                </c:pt>
                <c:pt idx="538">
                  <c:v>2</c:v>
                </c:pt>
                <c:pt idx="539">
                  <c:v>2</c:v>
                </c:pt>
                <c:pt idx="540">
                  <c:v>2</c:v>
                </c:pt>
                <c:pt idx="541">
                  <c:v>2</c:v>
                </c:pt>
                <c:pt idx="542">
                  <c:v>2</c:v>
                </c:pt>
                <c:pt idx="543">
                  <c:v>2</c:v>
                </c:pt>
                <c:pt idx="544">
                  <c:v>2</c:v>
                </c:pt>
                <c:pt idx="545">
                  <c:v>2</c:v>
                </c:pt>
                <c:pt idx="546">
                  <c:v>2</c:v>
                </c:pt>
                <c:pt idx="547">
                  <c:v>2</c:v>
                </c:pt>
                <c:pt idx="548">
                  <c:v>2</c:v>
                </c:pt>
                <c:pt idx="549">
                  <c:v>2</c:v>
                </c:pt>
                <c:pt idx="550">
                  <c:v>2</c:v>
                </c:pt>
                <c:pt idx="551">
                  <c:v>2</c:v>
                </c:pt>
                <c:pt idx="552">
                  <c:v>2</c:v>
                </c:pt>
                <c:pt idx="553">
                  <c:v>2</c:v>
                </c:pt>
                <c:pt idx="554">
                  <c:v>2</c:v>
                </c:pt>
                <c:pt idx="555">
                  <c:v>2</c:v>
                </c:pt>
                <c:pt idx="556">
                  <c:v>2</c:v>
                </c:pt>
                <c:pt idx="557">
                  <c:v>2</c:v>
                </c:pt>
                <c:pt idx="558">
                  <c:v>2</c:v>
                </c:pt>
                <c:pt idx="559">
                  <c:v>2</c:v>
                </c:pt>
                <c:pt idx="560">
                  <c:v>2</c:v>
                </c:pt>
                <c:pt idx="561">
                  <c:v>2</c:v>
                </c:pt>
                <c:pt idx="562">
                  <c:v>2</c:v>
                </c:pt>
                <c:pt idx="563">
                  <c:v>2</c:v>
                </c:pt>
                <c:pt idx="564">
                  <c:v>2</c:v>
                </c:pt>
                <c:pt idx="565">
                  <c:v>2</c:v>
                </c:pt>
                <c:pt idx="566">
                  <c:v>2</c:v>
                </c:pt>
                <c:pt idx="567">
                  <c:v>2</c:v>
                </c:pt>
                <c:pt idx="568">
                  <c:v>2</c:v>
                </c:pt>
                <c:pt idx="569">
                  <c:v>2</c:v>
                </c:pt>
                <c:pt idx="570">
                  <c:v>2</c:v>
                </c:pt>
                <c:pt idx="571">
                  <c:v>2</c:v>
                </c:pt>
                <c:pt idx="572">
                  <c:v>2</c:v>
                </c:pt>
                <c:pt idx="573">
                  <c:v>2</c:v>
                </c:pt>
                <c:pt idx="574">
                  <c:v>2</c:v>
                </c:pt>
                <c:pt idx="575">
                  <c:v>2</c:v>
                </c:pt>
                <c:pt idx="576">
                  <c:v>2</c:v>
                </c:pt>
                <c:pt idx="577">
                  <c:v>2</c:v>
                </c:pt>
                <c:pt idx="578">
                  <c:v>2</c:v>
                </c:pt>
                <c:pt idx="579">
                  <c:v>2</c:v>
                </c:pt>
                <c:pt idx="580">
                  <c:v>2</c:v>
                </c:pt>
                <c:pt idx="581">
                  <c:v>2</c:v>
                </c:pt>
                <c:pt idx="582">
                  <c:v>2</c:v>
                </c:pt>
                <c:pt idx="583">
                  <c:v>2</c:v>
                </c:pt>
                <c:pt idx="584">
                  <c:v>2</c:v>
                </c:pt>
                <c:pt idx="585">
                  <c:v>2</c:v>
                </c:pt>
                <c:pt idx="586">
                  <c:v>1</c:v>
                </c:pt>
                <c:pt idx="587">
                  <c:v>1</c:v>
                </c:pt>
                <c:pt idx="588">
                  <c:v>1</c:v>
                </c:pt>
                <c:pt idx="589">
                  <c:v>1</c:v>
                </c:pt>
                <c:pt idx="590">
                  <c:v>1</c:v>
                </c:pt>
                <c:pt idx="591">
                  <c:v>1</c:v>
                </c:pt>
                <c:pt idx="592">
                  <c:v>1</c:v>
                </c:pt>
                <c:pt idx="593">
                  <c:v>2</c:v>
                </c:pt>
                <c:pt idx="594">
                  <c:v>2</c:v>
                </c:pt>
                <c:pt idx="595">
                  <c:v>2</c:v>
                </c:pt>
                <c:pt idx="596">
                  <c:v>2</c:v>
                </c:pt>
                <c:pt idx="597">
                  <c:v>2</c:v>
                </c:pt>
                <c:pt idx="598">
                  <c:v>2</c:v>
                </c:pt>
                <c:pt idx="599">
                  <c:v>2</c:v>
                </c:pt>
                <c:pt idx="600">
                  <c:v>2</c:v>
                </c:pt>
                <c:pt idx="601">
                  <c:v>2</c:v>
                </c:pt>
                <c:pt idx="602">
                  <c:v>2</c:v>
                </c:pt>
                <c:pt idx="603">
                  <c:v>2</c:v>
                </c:pt>
                <c:pt idx="604">
                  <c:v>2</c:v>
                </c:pt>
                <c:pt idx="605">
                  <c:v>2</c:v>
                </c:pt>
                <c:pt idx="606">
                  <c:v>2</c:v>
                </c:pt>
                <c:pt idx="607">
                  <c:v>2</c:v>
                </c:pt>
                <c:pt idx="608">
                  <c:v>2</c:v>
                </c:pt>
                <c:pt idx="609">
                  <c:v>2</c:v>
                </c:pt>
                <c:pt idx="610">
                  <c:v>2</c:v>
                </c:pt>
                <c:pt idx="611">
                  <c:v>2</c:v>
                </c:pt>
                <c:pt idx="612">
                  <c:v>2</c:v>
                </c:pt>
                <c:pt idx="613">
                  <c:v>2</c:v>
                </c:pt>
                <c:pt idx="614">
                  <c:v>2</c:v>
                </c:pt>
                <c:pt idx="615">
                  <c:v>2</c:v>
                </c:pt>
                <c:pt idx="616">
                  <c:v>2</c:v>
                </c:pt>
                <c:pt idx="617">
                  <c:v>2</c:v>
                </c:pt>
                <c:pt idx="618">
                  <c:v>2</c:v>
                </c:pt>
                <c:pt idx="619">
                  <c:v>2</c:v>
                </c:pt>
                <c:pt idx="620">
                  <c:v>2</c:v>
                </c:pt>
                <c:pt idx="621">
                  <c:v>2</c:v>
                </c:pt>
                <c:pt idx="622">
                  <c:v>2</c:v>
                </c:pt>
                <c:pt idx="623">
                  <c:v>2</c:v>
                </c:pt>
                <c:pt idx="624">
                  <c:v>2</c:v>
                </c:pt>
                <c:pt idx="625">
                  <c:v>2</c:v>
                </c:pt>
                <c:pt idx="626">
                  <c:v>3</c:v>
                </c:pt>
                <c:pt idx="627">
                  <c:v>3</c:v>
                </c:pt>
                <c:pt idx="628">
                  <c:v>3</c:v>
                </c:pt>
                <c:pt idx="629">
                  <c:v>3</c:v>
                </c:pt>
                <c:pt idx="630">
                  <c:v>3</c:v>
                </c:pt>
                <c:pt idx="631">
                  <c:v>4</c:v>
                </c:pt>
                <c:pt idx="632">
                  <c:v>4</c:v>
                </c:pt>
                <c:pt idx="633">
                  <c:v>4</c:v>
                </c:pt>
                <c:pt idx="634">
                  <c:v>4</c:v>
                </c:pt>
                <c:pt idx="635">
                  <c:v>4</c:v>
                </c:pt>
                <c:pt idx="636">
                  <c:v>4</c:v>
                </c:pt>
                <c:pt idx="637">
                  <c:v>5</c:v>
                </c:pt>
                <c:pt idx="638">
                  <c:v>5</c:v>
                </c:pt>
                <c:pt idx="639">
                  <c:v>5</c:v>
                </c:pt>
                <c:pt idx="640">
                  <c:v>5</c:v>
                </c:pt>
                <c:pt idx="641">
                  <c:v>5</c:v>
                </c:pt>
                <c:pt idx="642">
                  <c:v>5</c:v>
                </c:pt>
                <c:pt idx="643">
                  <c:v>5</c:v>
                </c:pt>
                <c:pt idx="644">
                  <c:v>5</c:v>
                </c:pt>
                <c:pt idx="645">
                  <c:v>5</c:v>
                </c:pt>
                <c:pt idx="646">
                  <c:v>5</c:v>
                </c:pt>
                <c:pt idx="647">
                  <c:v>5</c:v>
                </c:pt>
                <c:pt idx="648">
                  <c:v>5</c:v>
                </c:pt>
                <c:pt idx="649">
                  <c:v>5</c:v>
                </c:pt>
                <c:pt idx="650">
                  <c:v>5</c:v>
                </c:pt>
                <c:pt idx="651">
                  <c:v>6</c:v>
                </c:pt>
                <c:pt idx="652">
                  <c:v>6</c:v>
                </c:pt>
                <c:pt idx="653">
                  <c:v>5</c:v>
                </c:pt>
                <c:pt idx="654">
                  <c:v>5</c:v>
                </c:pt>
                <c:pt idx="655">
                  <c:v>5</c:v>
                </c:pt>
                <c:pt idx="656">
                  <c:v>5</c:v>
                </c:pt>
                <c:pt idx="657">
                  <c:v>5</c:v>
                </c:pt>
                <c:pt idx="658">
                  <c:v>5</c:v>
                </c:pt>
                <c:pt idx="659">
                  <c:v>5</c:v>
                </c:pt>
                <c:pt idx="660">
                  <c:v>5</c:v>
                </c:pt>
                <c:pt idx="661">
                  <c:v>4</c:v>
                </c:pt>
                <c:pt idx="662">
                  <c:v>4</c:v>
                </c:pt>
                <c:pt idx="663">
                  <c:v>4</c:v>
                </c:pt>
                <c:pt idx="664">
                  <c:v>4</c:v>
                </c:pt>
                <c:pt idx="665">
                  <c:v>4</c:v>
                </c:pt>
                <c:pt idx="666">
                  <c:v>4</c:v>
                </c:pt>
                <c:pt idx="667">
                  <c:v>4</c:v>
                </c:pt>
                <c:pt idx="668">
                  <c:v>4</c:v>
                </c:pt>
                <c:pt idx="669">
                  <c:v>4</c:v>
                </c:pt>
                <c:pt idx="670">
                  <c:v>4</c:v>
                </c:pt>
                <c:pt idx="671">
                  <c:v>4</c:v>
                </c:pt>
                <c:pt idx="672">
                  <c:v>4</c:v>
                </c:pt>
                <c:pt idx="673">
                  <c:v>4</c:v>
                </c:pt>
                <c:pt idx="674">
                  <c:v>4</c:v>
                </c:pt>
                <c:pt idx="675">
                  <c:v>3</c:v>
                </c:pt>
                <c:pt idx="676">
                  <c:v>3</c:v>
                </c:pt>
                <c:pt idx="677">
                  <c:v>3</c:v>
                </c:pt>
                <c:pt idx="678">
                  <c:v>3</c:v>
                </c:pt>
                <c:pt idx="679">
                  <c:v>3</c:v>
                </c:pt>
                <c:pt idx="680">
                  <c:v>3</c:v>
                </c:pt>
                <c:pt idx="681">
                  <c:v>3</c:v>
                </c:pt>
                <c:pt idx="682">
                  <c:v>3</c:v>
                </c:pt>
                <c:pt idx="683">
                  <c:v>3</c:v>
                </c:pt>
                <c:pt idx="684">
                  <c:v>3</c:v>
                </c:pt>
                <c:pt idx="685">
                  <c:v>3</c:v>
                </c:pt>
                <c:pt idx="686">
                  <c:v>3</c:v>
                </c:pt>
                <c:pt idx="687">
                  <c:v>3</c:v>
                </c:pt>
                <c:pt idx="688">
                  <c:v>3</c:v>
                </c:pt>
                <c:pt idx="689">
                  <c:v>3</c:v>
                </c:pt>
                <c:pt idx="690">
                  <c:v>3</c:v>
                </c:pt>
                <c:pt idx="691">
                  <c:v>2</c:v>
                </c:pt>
                <c:pt idx="692">
                  <c:v>2</c:v>
                </c:pt>
                <c:pt idx="693">
                  <c:v>2</c:v>
                </c:pt>
                <c:pt idx="694">
                  <c:v>2</c:v>
                </c:pt>
                <c:pt idx="695">
                  <c:v>3</c:v>
                </c:pt>
                <c:pt idx="696">
                  <c:v>3</c:v>
                </c:pt>
                <c:pt idx="697">
                  <c:v>3</c:v>
                </c:pt>
                <c:pt idx="698">
                  <c:v>3</c:v>
                </c:pt>
                <c:pt idx="699">
                  <c:v>3</c:v>
                </c:pt>
                <c:pt idx="700">
                  <c:v>3</c:v>
                </c:pt>
                <c:pt idx="701">
                  <c:v>3</c:v>
                </c:pt>
                <c:pt idx="702">
                  <c:v>3</c:v>
                </c:pt>
                <c:pt idx="703">
                  <c:v>2</c:v>
                </c:pt>
                <c:pt idx="704">
                  <c:v>2</c:v>
                </c:pt>
                <c:pt idx="705">
                  <c:v>2</c:v>
                </c:pt>
                <c:pt idx="706">
                  <c:v>2</c:v>
                </c:pt>
                <c:pt idx="707">
                  <c:v>2</c:v>
                </c:pt>
                <c:pt idx="708">
                  <c:v>2</c:v>
                </c:pt>
                <c:pt idx="709">
                  <c:v>2</c:v>
                </c:pt>
                <c:pt idx="710">
                  <c:v>2</c:v>
                </c:pt>
                <c:pt idx="711">
                  <c:v>2</c:v>
                </c:pt>
                <c:pt idx="712">
                  <c:v>2</c:v>
                </c:pt>
                <c:pt idx="713">
                  <c:v>2</c:v>
                </c:pt>
                <c:pt idx="714">
                  <c:v>3</c:v>
                </c:pt>
                <c:pt idx="715">
                  <c:v>3</c:v>
                </c:pt>
                <c:pt idx="716">
                  <c:v>3</c:v>
                </c:pt>
                <c:pt idx="717">
                  <c:v>3</c:v>
                </c:pt>
                <c:pt idx="718">
                  <c:v>3</c:v>
                </c:pt>
                <c:pt idx="719">
                  <c:v>3</c:v>
                </c:pt>
                <c:pt idx="720">
                  <c:v>3</c:v>
                </c:pt>
                <c:pt idx="721">
                  <c:v>3</c:v>
                </c:pt>
                <c:pt idx="722">
                  <c:v>3</c:v>
                </c:pt>
                <c:pt idx="723">
                  <c:v>3</c:v>
                </c:pt>
                <c:pt idx="724">
                  <c:v>3</c:v>
                </c:pt>
                <c:pt idx="725">
                  <c:v>3</c:v>
                </c:pt>
                <c:pt idx="726">
                  <c:v>3</c:v>
                </c:pt>
                <c:pt idx="727">
                  <c:v>3</c:v>
                </c:pt>
                <c:pt idx="728">
                  <c:v>3</c:v>
                </c:pt>
                <c:pt idx="729">
                  <c:v>3</c:v>
                </c:pt>
                <c:pt idx="730">
                  <c:v>3</c:v>
                </c:pt>
                <c:pt idx="731">
                  <c:v>3</c:v>
                </c:pt>
                <c:pt idx="732">
                  <c:v>3</c:v>
                </c:pt>
                <c:pt idx="733">
                  <c:v>3</c:v>
                </c:pt>
                <c:pt idx="734">
                  <c:v>3</c:v>
                </c:pt>
                <c:pt idx="735">
                  <c:v>3</c:v>
                </c:pt>
                <c:pt idx="736">
                  <c:v>3</c:v>
                </c:pt>
                <c:pt idx="737">
                  <c:v>3</c:v>
                </c:pt>
                <c:pt idx="738">
                  <c:v>3</c:v>
                </c:pt>
                <c:pt idx="739">
                  <c:v>3</c:v>
                </c:pt>
                <c:pt idx="740">
                  <c:v>3</c:v>
                </c:pt>
                <c:pt idx="741">
                  <c:v>3</c:v>
                </c:pt>
                <c:pt idx="742">
                  <c:v>3</c:v>
                </c:pt>
                <c:pt idx="743">
                  <c:v>3</c:v>
                </c:pt>
                <c:pt idx="744">
                  <c:v>3</c:v>
                </c:pt>
                <c:pt idx="745">
                  <c:v>3</c:v>
                </c:pt>
                <c:pt idx="746">
                  <c:v>3</c:v>
                </c:pt>
                <c:pt idx="747">
                  <c:v>3</c:v>
                </c:pt>
                <c:pt idx="748">
                  <c:v>3</c:v>
                </c:pt>
                <c:pt idx="749">
                  <c:v>3</c:v>
                </c:pt>
                <c:pt idx="750">
                  <c:v>3</c:v>
                </c:pt>
                <c:pt idx="751">
                  <c:v>3</c:v>
                </c:pt>
                <c:pt idx="752">
                  <c:v>3</c:v>
                </c:pt>
                <c:pt idx="753">
                  <c:v>3</c:v>
                </c:pt>
                <c:pt idx="754">
                  <c:v>3</c:v>
                </c:pt>
                <c:pt idx="755">
                  <c:v>3</c:v>
                </c:pt>
                <c:pt idx="756">
                  <c:v>3</c:v>
                </c:pt>
                <c:pt idx="757">
                  <c:v>3</c:v>
                </c:pt>
                <c:pt idx="758">
                  <c:v>3</c:v>
                </c:pt>
                <c:pt idx="759">
                  <c:v>3</c:v>
                </c:pt>
                <c:pt idx="760">
                  <c:v>3</c:v>
                </c:pt>
                <c:pt idx="761">
                  <c:v>3</c:v>
                </c:pt>
                <c:pt idx="762">
                  <c:v>3</c:v>
                </c:pt>
                <c:pt idx="763">
                  <c:v>3</c:v>
                </c:pt>
                <c:pt idx="764">
                  <c:v>3</c:v>
                </c:pt>
                <c:pt idx="765">
                  <c:v>3</c:v>
                </c:pt>
                <c:pt idx="766">
                  <c:v>3</c:v>
                </c:pt>
                <c:pt idx="767">
                  <c:v>3</c:v>
                </c:pt>
                <c:pt idx="768">
                  <c:v>2</c:v>
                </c:pt>
                <c:pt idx="769">
                  <c:v>2</c:v>
                </c:pt>
                <c:pt idx="770">
                  <c:v>2</c:v>
                </c:pt>
                <c:pt idx="771">
                  <c:v>2</c:v>
                </c:pt>
                <c:pt idx="772">
                  <c:v>2</c:v>
                </c:pt>
                <c:pt idx="773">
                  <c:v>2</c:v>
                </c:pt>
                <c:pt idx="774">
                  <c:v>2</c:v>
                </c:pt>
                <c:pt idx="775">
                  <c:v>2</c:v>
                </c:pt>
                <c:pt idx="776">
                  <c:v>2</c:v>
                </c:pt>
                <c:pt idx="777">
                  <c:v>2</c:v>
                </c:pt>
                <c:pt idx="778">
                  <c:v>2</c:v>
                </c:pt>
                <c:pt idx="779">
                  <c:v>2</c:v>
                </c:pt>
                <c:pt idx="780">
                  <c:v>2</c:v>
                </c:pt>
                <c:pt idx="781">
                  <c:v>2</c:v>
                </c:pt>
                <c:pt idx="782">
                  <c:v>2</c:v>
                </c:pt>
                <c:pt idx="783">
                  <c:v>2</c:v>
                </c:pt>
                <c:pt idx="784">
                  <c:v>2</c:v>
                </c:pt>
                <c:pt idx="785">
                  <c:v>2</c:v>
                </c:pt>
                <c:pt idx="786">
                  <c:v>2</c:v>
                </c:pt>
                <c:pt idx="787">
                  <c:v>2</c:v>
                </c:pt>
                <c:pt idx="788">
                  <c:v>2</c:v>
                </c:pt>
                <c:pt idx="789">
                  <c:v>2</c:v>
                </c:pt>
                <c:pt idx="790">
                  <c:v>2</c:v>
                </c:pt>
                <c:pt idx="791">
                  <c:v>1</c:v>
                </c:pt>
                <c:pt idx="792">
                  <c:v>1</c:v>
                </c:pt>
                <c:pt idx="793">
                  <c:v>1</c:v>
                </c:pt>
                <c:pt idx="794">
                  <c:v>1</c:v>
                </c:pt>
                <c:pt idx="795">
                  <c:v>1</c:v>
                </c:pt>
                <c:pt idx="796">
                  <c:v>1</c:v>
                </c:pt>
                <c:pt idx="797">
                  <c:v>1</c:v>
                </c:pt>
                <c:pt idx="798">
                  <c:v>1</c:v>
                </c:pt>
                <c:pt idx="799">
                  <c:v>1</c:v>
                </c:pt>
                <c:pt idx="800">
                  <c:v>1</c:v>
                </c:pt>
                <c:pt idx="801">
                  <c:v>1</c:v>
                </c:pt>
                <c:pt idx="802">
                  <c:v>1</c:v>
                </c:pt>
                <c:pt idx="803">
                  <c:v>1</c:v>
                </c:pt>
                <c:pt idx="804">
                  <c:v>1</c:v>
                </c:pt>
                <c:pt idx="805">
                  <c:v>1</c:v>
                </c:pt>
                <c:pt idx="806">
                  <c:v>1</c:v>
                </c:pt>
                <c:pt idx="807">
                  <c:v>1</c:v>
                </c:pt>
                <c:pt idx="808">
                  <c:v>1</c:v>
                </c:pt>
                <c:pt idx="809">
                  <c:v>1</c:v>
                </c:pt>
                <c:pt idx="810">
                  <c:v>1</c:v>
                </c:pt>
                <c:pt idx="811">
                  <c:v>1</c:v>
                </c:pt>
                <c:pt idx="812">
                  <c:v>1</c:v>
                </c:pt>
                <c:pt idx="813">
                  <c:v>1</c:v>
                </c:pt>
                <c:pt idx="814">
                  <c:v>1</c:v>
                </c:pt>
                <c:pt idx="815">
                  <c:v>1</c:v>
                </c:pt>
                <c:pt idx="816">
                  <c:v>1</c:v>
                </c:pt>
                <c:pt idx="817">
                  <c:v>1</c:v>
                </c:pt>
                <c:pt idx="818">
                  <c:v>1</c:v>
                </c:pt>
                <c:pt idx="819">
                  <c:v>1</c:v>
                </c:pt>
                <c:pt idx="820">
                  <c:v>1</c:v>
                </c:pt>
                <c:pt idx="821">
                  <c:v>1</c:v>
                </c:pt>
                <c:pt idx="822">
                  <c:v>1</c:v>
                </c:pt>
                <c:pt idx="823">
                  <c:v>1</c:v>
                </c:pt>
                <c:pt idx="824">
                  <c:v>1</c:v>
                </c:pt>
                <c:pt idx="825">
                  <c:v>1</c:v>
                </c:pt>
                <c:pt idx="826">
                  <c:v>1</c:v>
                </c:pt>
                <c:pt idx="827">
                  <c:v>1</c:v>
                </c:pt>
                <c:pt idx="828">
                  <c:v>1</c:v>
                </c:pt>
                <c:pt idx="829">
                  <c:v>1</c:v>
                </c:pt>
                <c:pt idx="830">
                  <c:v>1</c:v>
                </c:pt>
                <c:pt idx="831">
                  <c:v>1</c:v>
                </c:pt>
                <c:pt idx="832">
                  <c:v>1</c:v>
                </c:pt>
                <c:pt idx="833">
                  <c:v>1</c:v>
                </c:pt>
                <c:pt idx="834">
                  <c:v>1</c:v>
                </c:pt>
                <c:pt idx="835">
                  <c:v>1</c:v>
                </c:pt>
                <c:pt idx="836">
                  <c:v>1</c:v>
                </c:pt>
                <c:pt idx="837">
                  <c:v>1</c:v>
                </c:pt>
                <c:pt idx="838">
                  <c:v>1</c:v>
                </c:pt>
                <c:pt idx="839">
                  <c:v>1</c:v>
                </c:pt>
                <c:pt idx="840">
                  <c:v>1</c:v>
                </c:pt>
                <c:pt idx="841">
                  <c:v>1</c:v>
                </c:pt>
                <c:pt idx="842">
                  <c:v>1</c:v>
                </c:pt>
                <c:pt idx="843">
                  <c:v>1</c:v>
                </c:pt>
                <c:pt idx="844">
                  <c:v>1</c:v>
                </c:pt>
                <c:pt idx="845">
                  <c:v>1</c:v>
                </c:pt>
                <c:pt idx="846">
                  <c:v>1</c:v>
                </c:pt>
                <c:pt idx="847">
                  <c:v>1</c:v>
                </c:pt>
                <c:pt idx="848">
                  <c:v>1</c:v>
                </c:pt>
                <c:pt idx="849">
                  <c:v>1</c:v>
                </c:pt>
                <c:pt idx="850">
                  <c:v>1</c:v>
                </c:pt>
                <c:pt idx="851">
                  <c:v>1</c:v>
                </c:pt>
                <c:pt idx="852">
                  <c:v>2</c:v>
                </c:pt>
                <c:pt idx="853">
                  <c:v>2</c:v>
                </c:pt>
                <c:pt idx="854">
                  <c:v>2</c:v>
                </c:pt>
                <c:pt idx="855">
                  <c:v>2</c:v>
                </c:pt>
                <c:pt idx="856">
                  <c:v>2</c:v>
                </c:pt>
                <c:pt idx="857">
                  <c:v>2</c:v>
                </c:pt>
                <c:pt idx="858">
                  <c:v>2</c:v>
                </c:pt>
                <c:pt idx="859">
                  <c:v>2</c:v>
                </c:pt>
                <c:pt idx="860">
                  <c:v>2</c:v>
                </c:pt>
                <c:pt idx="861">
                  <c:v>2</c:v>
                </c:pt>
                <c:pt idx="862">
                  <c:v>2</c:v>
                </c:pt>
                <c:pt idx="863">
                  <c:v>2</c:v>
                </c:pt>
                <c:pt idx="864">
                  <c:v>2</c:v>
                </c:pt>
                <c:pt idx="865">
                  <c:v>2</c:v>
                </c:pt>
                <c:pt idx="866">
                  <c:v>2</c:v>
                </c:pt>
                <c:pt idx="867">
                  <c:v>2</c:v>
                </c:pt>
                <c:pt idx="868">
                  <c:v>2</c:v>
                </c:pt>
                <c:pt idx="869">
                  <c:v>2</c:v>
                </c:pt>
                <c:pt idx="870">
                  <c:v>2</c:v>
                </c:pt>
                <c:pt idx="871">
                  <c:v>2</c:v>
                </c:pt>
                <c:pt idx="872">
                  <c:v>2</c:v>
                </c:pt>
                <c:pt idx="873">
                  <c:v>2</c:v>
                </c:pt>
                <c:pt idx="874">
                  <c:v>3</c:v>
                </c:pt>
                <c:pt idx="875">
                  <c:v>3</c:v>
                </c:pt>
                <c:pt idx="876">
                  <c:v>3</c:v>
                </c:pt>
                <c:pt idx="877">
                  <c:v>3</c:v>
                </c:pt>
                <c:pt idx="878">
                  <c:v>4</c:v>
                </c:pt>
                <c:pt idx="879">
                  <c:v>4</c:v>
                </c:pt>
                <c:pt idx="880">
                  <c:v>5</c:v>
                </c:pt>
                <c:pt idx="881">
                  <c:v>5</c:v>
                </c:pt>
                <c:pt idx="882">
                  <c:v>5</c:v>
                </c:pt>
                <c:pt idx="883">
                  <c:v>5</c:v>
                </c:pt>
                <c:pt idx="884">
                  <c:v>5</c:v>
                </c:pt>
                <c:pt idx="885">
                  <c:v>5</c:v>
                </c:pt>
                <c:pt idx="886">
                  <c:v>7</c:v>
                </c:pt>
                <c:pt idx="887">
                  <c:v>7</c:v>
                </c:pt>
                <c:pt idx="888">
                  <c:v>7</c:v>
                </c:pt>
                <c:pt idx="889">
                  <c:v>7</c:v>
                </c:pt>
                <c:pt idx="890">
                  <c:v>7</c:v>
                </c:pt>
                <c:pt idx="891">
                  <c:v>8</c:v>
                </c:pt>
                <c:pt idx="892">
                  <c:v>8</c:v>
                </c:pt>
                <c:pt idx="893">
                  <c:v>7</c:v>
                </c:pt>
                <c:pt idx="894">
                  <c:v>7</c:v>
                </c:pt>
                <c:pt idx="895">
                  <c:v>7</c:v>
                </c:pt>
                <c:pt idx="896">
                  <c:v>8</c:v>
                </c:pt>
                <c:pt idx="897">
                  <c:v>8</c:v>
                </c:pt>
                <c:pt idx="898">
                  <c:v>8</c:v>
                </c:pt>
                <c:pt idx="899">
                  <c:v>8</c:v>
                </c:pt>
                <c:pt idx="900">
                  <c:v>8</c:v>
                </c:pt>
                <c:pt idx="901">
                  <c:v>8</c:v>
                </c:pt>
                <c:pt idx="902">
                  <c:v>8</c:v>
                </c:pt>
                <c:pt idx="903">
                  <c:v>8</c:v>
                </c:pt>
                <c:pt idx="904">
                  <c:v>8</c:v>
                </c:pt>
                <c:pt idx="905">
                  <c:v>8</c:v>
                </c:pt>
                <c:pt idx="906">
                  <c:v>8</c:v>
                </c:pt>
                <c:pt idx="907">
                  <c:v>8</c:v>
                </c:pt>
                <c:pt idx="908">
                  <c:v>8</c:v>
                </c:pt>
                <c:pt idx="909">
                  <c:v>8</c:v>
                </c:pt>
                <c:pt idx="910">
                  <c:v>8</c:v>
                </c:pt>
                <c:pt idx="911">
                  <c:v>8</c:v>
                </c:pt>
                <c:pt idx="912">
                  <c:v>8</c:v>
                </c:pt>
                <c:pt idx="913">
                  <c:v>8</c:v>
                </c:pt>
                <c:pt idx="914">
                  <c:v>8</c:v>
                </c:pt>
                <c:pt idx="915">
                  <c:v>8</c:v>
                </c:pt>
                <c:pt idx="916">
                  <c:v>8</c:v>
                </c:pt>
                <c:pt idx="917">
                  <c:v>8</c:v>
                </c:pt>
                <c:pt idx="918">
                  <c:v>8</c:v>
                </c:pt>
                <c:pt idx="919">
                  <c:v>8</c:v>
                </c:pt>
                <c:pt idx="920">
                  <c:v>8</c:v>
                </c:pt>
                <c:pt idx="921">
                  <c:v>8</c:v>
                </c:pt>
                <c:pt idx="922">
                  <c:v>8</c:v>
                </c:pt>
                <c:pt idx="923">
                  <c:v>8</c:v>
                </c:pt>
                <c:pt idx="924">
                  <c:v>8</c:v>
                </c:pt>
                <c:pt idx="925">
                  <c:v>8</c:v>
                </c:pt>
                <c:pt idx="926">
                  <c:v>8</c:v>
                </c:pt>
                <c:pt idx="927">
                  <c:v>8</c:v>
                </c:pt>
                <c:pt idx="928">
                  <c:v>8</c:v>
                </c:pt>
                <c:pt idx="929">
                  <c:v>8</c:v>
                </c:pt>
                <c:pt idx="930">
                  <c:v>8</c:v>
                </c:pt>
                <c:pt idx="931">
                  <c:v>8</c:v>
                </c:pt>
                <c:pt idx="932">
                  <c:v>8</c:v>
                </c:pt>
                <c:pt idx="933">
                  <c:v>8</c:v>
                </c:pt>
                <c:pt idx="934">
                  <c:v>7</c:v>
                </c:pt>
                <c:pt idx="935">
                  <c:v>7</c:v>
                </c:pt>
                <c:pt idx="936">
                  <c:v>7</c:v>
                </c:pt>
                <c:pt idx="937">
                  <c:v>7</c:v>
                </c:pt>
                <c:pt idx="938">
                  <c:v>7</c:v>
                </c:pt>
                <c:pt idx="939">
                  <c:v>7</c:v>
                </c:pt>
                <c:pt idx="940">
                  <c:v>7</c:v>
                </c:pt>
                <c:pt idx="941">
                  <c:v>7</c:v>
                </c:pt>
                <c:pt idx="942">
                  <c:v>7</c:v>
                </c:pt>
                <c:pt idx="943">
                  <c:v>6</c:v>
                </c:pt>
                <c:pt idx="944">
                  <c:v>6</c:v>
                </c:pt>
                <c:pt idx="945">
                  <c:v>7</c:v>
                </c:pt>
                <c:pt idx="946">
                  <c:v>7</c:v>
                </c:pt>
                <c:pt idx="947">
                  <c:v>7</c:v>
                </c:pt>
                <c:pt idx="948">
                  <c:v>7</c:v>
                </c:pt>
                <c:pt idx="949">
                  <c:v>7</c:v>
                </c:pt>
                <c:pt idx="950">
                  <c:v>7</c:v>
                </c:pt>
                <c:pt idx="951">
                  <c:v>7</c:v>
                </c:pt>
                <c:pt idx="952">
                  <c:v>7</c:v>
                </c:pt>
                <c:pt idx="953">
                  <c:v>7</c:v>
                </c:pt>
                <c:pt idx="954">
                  <c:v>7</c:v>
                </c:pt>
                <c:pt idx="955">
                  <c:v>7</c:v>
                </c:pt>
                <c:pt idx="956">
                  <c:v>7</c:v>
                </c:pt>
                <c:pt idx="957">
                  <c:v>7</c:v>
                </c:pt>
                <c:pt idx="958">
                  <c:v>7</c:v>
                </c:pt>
                <c:pt idx="959">
                  <c:v>7</c:v>
                </c:pt>
                <c:pt idx="960">
                  <c:v>7</c:v>
                </c:pt>
                <c:pt idx="961">
                  <c:v>7</c:v>
                </c:pt>
                <c:pt idx="962">
                  <c:v>7</c:v>
                </c:pt>
                <c:pt idx="963">
                  <c:v>8</c:v>
                </c:pt>
                <c:pt idx="964">
                  <c:v>8</c:v>
                </c:pt>
                <c:pt idx="965">
                  <c:v>8</c:v>
                </c:pt>
                <c:pt idx="966">
                  <c:v>8</c:v>
                </c:pt>
                <c:pt idx="967">
                  <c:v>8</c:v>
                </c:pt>
                <c:pt idx="968">
                  <c:v>8</c:v>
                </c:pt>
                <c:pt idx="969">
                  <c:v>7</c:v>
                </c:pt>
                <c:pt idx="970">
                  <c:v>7</c:v>
                </c:pt>
                <c:pt idx="971">
                  <c:v>7</c:v>
                </c:pt>
                <c:pt idx="972">
                  <c:v>7</c:v>
                </c:pt>
                <c:pt idx="973">
                  <c:v>7</c:v>
                </c:pt>
                <c:pt idx="974">
                  <c:v>7</c:v>
                </c:pt>
                <c:pt idx="975">
                  <c:v>7</c:v>
                </c:pt>
                <c:pt idx="976">
                  <c:v>7</c:v>
                </c:pt>
                <c:pt idx="977">
                  <c:v>7</c:v>
                </c:pt>
                <c:pt idx="978">
                  <c:v>7</c:v>
                </c:pt>
                <c:pt idx="979">
                  <c:v>7</c:v>
                </c:pt>
                <c:pt idx="980">
                  <c:v>7</c:v>
                </c:pt>
                <c:pt idx="981">
                  <c:v>7</c:v>
                </c:pt>
                <c:pt idx="982">
                  <c:v>7</c:v>
                </c:pt>
                <c:pt idx="983">
                  <c:v>7</c:v>
                </c:pt>
                <c:pt idx="984">
                  <c:v>8</c:v>
                </c:pt>
                <c:pt idx="985">
                  <c:v>9</c:v>
                </c:pt>
                <c:pt idx="986">
                  <c:v>9</c:v>
                </c:pt>
                <c:pt idx="987">
                  <c:v>9</c:v>
                </c:pt>
                <c:pt idx="988">
                  <c:v>8</c:v>
                </c:pt>
                <c:pt idx="989">
                  <c:v>8</c:v>
                </c:pt>
                <c:pt idx="990">
                  <c:v>8</c:v>
                </c:pt>
                <c:pt idx="991">
                  <c:v>8</c:v>
                </c:pt>
                <c:pt idx="992">
                  <c:v>8</c:v>
                </c:pt>
                <c:pt idx="993">
                  <c:v>9</c:v>
                </c:pt>
                <c:pt idx="994">
                  <c:v>9</c:v>
                </c:pt>
                <c:pt idx="995">
                  <c:v>9</c:v>
                </c:pt>
                <c:pt idx="996">
                  <c:v>9</c:v>
                </c:pt>
                <c:pt idx="997">
                  <c:v>9</c:v>
                </c:pt>
                <c:pt idx="998">
                  <c:v>9</c:v>
                </c:pt>
                <c:pt idx="999">
                  <c:v>9</c:v>
                </c:pt>
                <c:pt idx="1000">
                  <c:v>9</c:v>
                </c:pt>
                <c:pt idx="1001">
                  <c:v>9</c:v>
                </c:pt>
                <c:pt idx="1002">
                  <c:v>9</c:v>
                </c:pt>
                <c:pt idx="1003">
                  <c:v>9</c:v>
                </c:pt>
                <c:pt idx="1004">
                  <c:v>9</c:v>
                </c:pt>
                <c:pt idx="1005">
                  <c:v>9</c:v>
                </c:pt>
                <c:pt idx="1006">
                  <c:v>9</c:v>
                </c:pt>
                <c:pt idx="1007">
                  <c:v>9</c:v>
                </c:pt>
                <c:pt idx="1008">
                  <c:v>9</c:v>
                </c:pt>
                <c:pt idx="1009">
                  <c:v>10</c:v>
                </c:pt>
                <c:pt idx="1010">
                  <c:v>10</c:v>
                </c:pt>
                <c:pt idx="1011">
                  <c:v>9</c:v>
                </c:pt>
                <c:pt idx="1012">
                  <c:v>9</c:v>
                </c:pt>
                <c:pt idx="1013">
                  <c:v>9</c:v>
                </c:pt>
                <c:pt idx="1014">
                  <c:v>9</c:v>
                </c:pt>
                <c:pt idx="1015">
                  <c:v>9</c:v>
                </c:pt>
                <c:pt idx="1016">
                  <c:v>9</c:v>
                </c:pt>
                <c:pt idx="1017">
                  <c:v>9</c:v>
                </c:pt>
                <c:pt idx="1018">
                  <c:v>9</c:v>
                </c:pt>
                <c:pt idx="1019">
                  <c:v>10</c:v>
                </c:pt>
                <c:pt idx="1020">
                  <c:v>11</c:v>
                </c:pt>
                <c:pt idx="1021">
                  <c:v>11</c:v>
                </c:pt>
                <c:pt idx="1022">
                  <c:v>11</c:v>
                </c:pt>
                <c:pt idx="1023">
                  <c:v>11</c:v>
                </c:pt>
                <c:pt idx="1024">
                  <c:v>11</c:v>
                </c:pt>
                <c:pt idx="1025">
                  <c:v>12</c:v>
                </c:pt>
                <c:pt idx="1026">
                  <c:v>11</c:v>
                </c:pt>
                <c:pt idx="1027">
                  <c:v>11</c:v>
                </c:pt>
                <c:pt idx="1028">
                  <c:v>11</c:v>
                </c:pt>
                <c:pt idx="1029">
                  <c:v>11</c:v>
                </c:pt>
                <c:pt idx="1030">
                  <c:v>11</c:v>
                </c:pt>
                <c:pt idx="1031">
                  <c:v>11</c:v>
                </c:pt>
                <c:pt idx="1032">
                  <c:v>10</c:v>
                </c:pt>
                <c:pt idx="1033">
                  <c:v>10</c:v>
                </c:pt>
                <c:pt idx="1034">
                  <c:v>10</c:v>
                </c:pt>
                <c:pt idx="1035">
                  <c:v>10</c:v>
                </c:pt>
                <c:pt idx="1036">
                  <c:v>10</c:v>
                </c:pt>
                <c:pt idx="1037">
                  <c:v>10</c:v>
                </c:pt>
                <c:pt idx="1038">
                  <c:v>10</c:v>
                </c:pt>
                <c:pt idx="1039">
                  <c:v>10</c:v>
                </c:pt>
                <c:pt idx="1040">
                  <c:v>10</c:v>
                </c:pt>
                <c:pt idx="1041">
                  <c:v>10</c:v>
                </c:pt>
                <c:pt idx="1042">
                  <c:v>10</c:v>
                </c:pt>
                <c:pt idx="1043">
                  <c:v>10</c:v>
                </c:pt>
                <c:pt idx="1044">
                  <c:v>10</c:v>
                </c:pt>
                <c:pt idx="1045">
                  <c:v>11</c:v>
                </c:pt>
                <c:pt idx="1046">
                  <c:v>12</c:v>
                </c:pt>
                <c:pt idx="1047">
                  <c:v>12</c:v>
                </c:pt>
                <c:pt idx="1048">
                  <c:v>12</c:v>
                </c:pt>
                <c:pt idx="1049">
                  <c:v>12</c:v>
                </c:pt>
                <c:pt idx="1050">
                  <c:v>12</c:v>
                </c:pt>
                <c:pt idx="1051">
                  <c:v>13</c:v>
                </c:pt>
                <c:pt idx="1052">
                  <c:v>14</c:v>
                </c:pt>
                <c:pt idx="1053">
                  <c:v>14</c:v>
                </c:pt>
                <c:pt idx="1054">
                  <c:v>15</c:v>
                </c:pt>
                <c:pt idx="1055">
                  <c:v>14</c:v>
                </c:pt>
                <c:pt idx="1056">
                  <c:v>14</c:v>
                </c:pt>
                <c:pt idx="1057">
                  <c:v>14</c:v>
                </c:pt>
                <c:pt idx="1058">
                  <c:v>13</c:v>
                </c:pt>
                <c:pt idx="1059">
                  <c:v>12</c:v>
                </c:pt>
                <c:pt idx="1060">
                  <c:v>12</c:v>
                </c:pt>
                <c:pt idx="1061">
                  <c:v>12</c:v>
                </c:pt>
                <c:pt idx="1062">
                  <c:v>12</c:v>
                </c:pt>
                <c:pt idx="1063">
                  <c:v>12</c:v>
                </c:pt>
                <c:pt idx="1064">
                  <c:v>13</c:v>
                </c:pt>
                <c:pt idx="1065">
                  <c:v>13</c:v>
                </c:pt>
                <c:pt idx="1066">
                  <c:v>13</c:v>
                </c:pt>
                <c:pt idx="1067">
                  <c:v>13</c:v>
                </c:pt>
                <c:pt idx="1068">
                  <c:v>13</c:v>
                </c:pt>
                <c:pt idx="1069">
                  <c:v>13</c:v>
                </c:pt>
                <c:pt idx="1070">
                  <c:v>14</c:v>
                </c:pt>
                <c:pt idx="1071">
                  <c:v>14</c:v>
                </c:pt>
                <c:pt idx="1072">
                  <c:v>15</c:v>
                </c:pt>
                <c:pt idx="1073">
                  <c:v>15</c:v>
                </c:pt>
                <c:pt idx="1074">
                  <c:v>15</c:v>
                </c:pt>
                <c:pt idx="1075">
                  <c:v>15</c:v>
                </c:pt>
                <c:pt idx="1076">
                  <c:v>15</c:v>
                </c:pt>
                <c:pt idx="1077">
                  <c:v>15</c:v>
                </c:pt>
                <c:pt idx="1078">
                  <c:v>16</c:v>
                </c:pt>
                <c:pt idx="1079">
                  <c:v>16</c:v>
                </c:pt>
                <c:pt idx="1080">
                  <c:v>16</c:v>
                </c:pt>
                <c:pt idx="1081">
                  <c:v>17</c:v>
                </c:pt>
                <c:pt idx="1082">
                  <c:v>17</c:v>
                </c:pt>
                <c:pt idx="1083">
                  <c:v>18</c:v>
                </c:pt>
                <c:pt idx="1084">
                  <c:v>18</c:v>
                </c:pt>
                <c:pt idx="1085">
                  <c:v>18</c:v>
                </c:pt>
                <c:pt idx="1086">
                  <c:v>18</c:v>
                </c:pt>
                <c:pt idx="1087">
                  <c:v>18</c:v>
                </c:pt>
                <c:pt idx="1088">
                  <c:v>18</c:v>
                </c:pt>
                <c:pt idx="1089">
                  <c:v>18</c:v>
                </c:pt>
                <c:pt idx="1090">
                  <c:v>18</c:v>
                </c:pt>
                <c:pt idx="1091">
                  <c:v>19</c:v>
                </c:pt>
                <c:pt idx="1092">
                  <c:v>18</c:v>
                </c:pt>
                <c:pt idx="1093">
                  <c:v>19</c:v>
                </c:pt>
                <c:pt idx="1094">
                  <c:v>19</c:v>
                </c:pt>
                <c:pt idx="1095">
                  <c:v>19</c:v>
                </c:pt>
                <c:pt idx="1096">
                  <c:v>20</c:v>
                </c:pt>
                <c:pt idx="1097">
                  <c:v>20</c:v>
                </c:pt>
                <c:pt idx="1098">
                  <c:v>20</c:v>
                </c:pt>
                <c:pt idx="1099">
                  <c:v>20</c:v>
                </c:pt>
                <c:pt idx="1100">
                  <c:v>20</c:v>
                </c:pt>
                <c:pt idx="1101">
                  <c:v>20</c:v>
                </c:pt>
                <c:pt idx="1102">
                  <c:v>20</c:v>
                </c:pt>
                <c:pt idx="1103">
                  <c:v>20</c:v>
                </c:pt>
                <c:pt idx="1104">
                  <c:v>20</c:v>
                </c:pt>
                <c:pt idx="1105">
                  <c:v>20</c:v>
                </c:pt>
                <c:pt idx="1106">
                  <c:v>19</c:v>
                </c:pt>
                <c:pt idx="1107">
                  <c:v>18</c:v>
                </c:pt>
                <c:pt idx="1108">
                  <c:v>18</c:v>
                </c:pt>
                <c:pt idx="1109">
                  <c:v>18</c:v>
                </c:pt>
                <c:pt idx="1110">
                  <c:v>18</c:v>
                </c:pt>
                <c:pt idx="1111">
                  <c:v>18</c:v>
                </c:pt>
                <c:pt idx="1112">
                  <c:v>19</c:v>
                </c:pt>
                <c:pt idx="1113">
                  <c:v>20</c:v>
                </c:pt>
                <c:pt idx="1114">
                  <c:v>20</c:v>
                </c:pt>
                <c:pt idx="1115">
                  <c:v>20</c:v>
                </c:pt>
                <c:pt idx="1116">
                  <c:v>20</c:v>
                </c:pt>
                <c:pt idx="1117">
                  <c:v>20</c:v>
                </c:pt>
                <c:pt idx="1118">
                  <c:v>20</c:v>
                </c:pt>
                <c:pt idx="1119">
                  <c:v>21</c:v>
                </c:pt>
                <c:pt idx="1120">
                  <c:v>21</c:v>
                </c:pt>
                <c:pt idx="1121">
                  <c:v>21</c:v>
                </c:pt>
                <c:pt idx="1122">
                  <c:v>21</c:v>
                </c:pt>
                <c:pt idx="1123">
                  <c:v>21</c:v>
                </c:pt>
                <c:pt idx="1124">
                  <c:v>21</c:v>
                </c:pt>
                <c:pt idx="1125">
                  <c:v>21</c:v>
                </c:pt>
                <c:pt idx="1126">
                  <c:v>21</c:v>
                </c:pt>
                <c:pt idx="1127">
                  <c:v>22</c:v>
                </c:pt>
                <c:pt idx="1128">
                  <c:v>22</c:v>
                </c:pt>
                <c:pt idx="1129">
                  <c:v>23</c:v>
                </c:pt>
                <c:pt idx="1130">
                  <c:v>23</c:v>
                </c:pt>
                <c:pt idx="1131">
                  <c:v>23</c:v>
                </c:pt>
                <c:pt idx="1132">
                  <c:v>23</c:v>
                </c:pt>
                <c:pt idx="1133">
                  <c:v>23</c:v>
                </c:pt>
                <c:pt idx="1134">
                  <c:v>23</c:v>
                </c:pt>
                <c:pt idx="1135">
                  <c:v>23</c:v>
                </c:pt>
                <c:pt idx="1136">
                  <c:v>23</c:v>
                </c:pt>
                <c:pt idx="1137">
                  <c:v>23</c:v>
                </c:pt>
                <c:pt idx="1138">
                  <c:v>23</c:v>
                </c:pt>
                <c:pt idx="1139">
                  <c:v>23</c:v>
                </c:pt>
                <c:pt idx="1140">
                  <c:v>23</c:v>
                </c:pt>
                <c:pt idx="1141">
                  <c:v>24</c:v>
                </c:pt>
                <c:pt idx="1142">
                  <c:v>25</c:v>
                </c:pt>
                <c:pt idx="1143">
                  <c:v>26</c:v>
                </c:pt>
                <c:pt idx="1144">
                  <c:v>26</c:v>
                </c:pt>
                <c:pt idx="1145">
                  <c:v>26</c:v>
                </c:pt>
                <c:pt idx="1146">
                  <c:v>26</c:v>
                </c:pt>
                <c:pt idx="1147">
                  <c:v>28</c:v>
                </c:pt>
                <c:pt idx="1148">
                  <c:v>29</c:v>
                </c:pt>
                <c:pt idx="1149">
                  <c:v>30</c:v>
                </c:pt>
                <c:pt idx="1150">
                  <c:v>30</c:v>
                </c:pt>
                <c:pt idx="1151">
                  <c:v>31</c:v>
                </c:pt>
                <c:pt idx="1152">
                  <c:v>31</c:v>
                </c:pt>
                <c:pt idx="1153">
                  <c:v>33</c:v>
                </c:pt>
                <c:pt idx="1154">
                  <c:v>32</c:v>
                </c:pt>
                <c:pt idx="1155">
                  <c:v>32</c:v>
                </c:pt>
                <c:pt idx="1156">
                  <c:v>33</c:v>
                </c:pt>
                <c:pt idx="1157">
                  <c:v>33</c:v>
                </c:pt>
                <c:pt idx="1158">
                  <c:v>34</c:v>
                </c:pt>
                <c:pt idx="1159">
                  <c:v>34</c:v>
                </c:pt>
                <c:pt idx="1160">
                  <c:v>34</c:v>
                </c:pt>
                <c:pt idx="1161">
                  <c:v>34</c:v>
                </c:pt>
                <c:pt idx="1162">
                  <c:v>36</c:v>
                </c:pt>
                <c:pt idx="1163">
                  <c:v>36</c:v>
                </c:pt>
                <c:pt idx="1164">
                  <c:v>36</c:v>
                </c:pt>
                <c:pt idx="1165">
                  <c:v>36</c:v>
                </c:pt>
                <c:pt idx="1166">
                  <c:v>35</c:v>
                </c:pt>
                <c:pt idx="1167">
                  <c:v>34</c:v>
                </c:pt>
                <c:pt idx="1168">
                  <c:v>34</c:v>
                </c:pt>
                <c:pt idx="1169">
                  <c:v>34</c:v>
                </c:pt>
                <c:pt idx="1170">
                  <c:v>34</c:v>
                </c:pt>
                <c:pt idx="1171">
                  <c:v>35</c:v>
                </c:pt>
                <c:pt idx="1172">
                  <c:v>35</c:v>
                </c:pt>
                <c:pt idx="1173">
                  <c:v>34</c:v>
                </c:pt>
                <c:pt idx="1174">
                  <c:v>34</c:v>
                </c:pt>
                <c:pt idx="1175">
                  <c:v>33</c:v>
                </c:pt>
                <c:pt idx="1176">
                  <c:v>33</c:v>
                </c:pt>
                <c:pt idx="1177">
                  <c:v>35</c:v>
                </c:pt>
                <c:pt idx="1178">
                  <c:v>35</c:v>
                </c:pt>
                <c:pt idx="1179">
                  <c:v>35</c:v>
                </c:pt>
                <c:pt idx="1180">
                  <c:v>35</c:v>
                </c:pt>
                <c:pt idx="1181">
                  <c:v>36</c:v>
                </c:pt>
                <c:pt idx="1182">
                  <c:v>36</c:v>
                </c:pt>
                <c:pt idx="1183">
                  <c:v>35</c:v>
                </c:pt>
                <c:pt idx="1184">
                  <c:v>37</c:v>
                </c:pt>
                <c:pt idx="1185">
                  <c:v>36</c:v>
                </c:pt>
                <c:pt idx="1186">
                  <c:v>36</c:v>
                </c:pt>
                <c:pt idx="1187">
                  <c:v>37</c:v>
                </c:pt>
                <c:pt idx="1188">
                  <c:v>37</c:v>
                </c:pt>
                <c:pt idx="1189">
                  <c:v>38</c:v>
                </c:pt>
                <c:pt idx="1190">
                  <c:v>38</c:v>
                </c:pt>
                <c:pt idx="1191">
                  <c:v>37</c:v>
                </c:pt>
                <c:pt idx="1192">
                  <c:v>37</c:v>
                </c:pt>
                <c:pt idx="1193">
                  <c:v>36</c:v>
                </c:pt>
                <c:pt idx="1194">
                  <c:v>36</c:v>
                </c:pt>
                <c:pt idx="1195">
                  <c:v>36</c:v>
                </c:pt>
                <c:pt idx="1196">
                  <c:v>36</c:v>
                </c:pt>
                <c:pt idx="1197">
                  <c:v>35</c:v>
                </c:pt>
                <c:pt idx="1198">
                  <c:v>35</c:v>
                </c:pt>
                <c:pt idx="1199">
                  <c:v>38</c:v>
                </c:pt>
                <c:pt idx="1200">
                  <c:v>37</c:v>
                </c:pt>
                <c:pt idx="1201">
                  <c:v>37</c:v>
                </c:pt>
                <c:pt idx="1202">
                  <c:v>38</c:v>
                </c:pt>
                <c:pt idx="1203">
                  <c:v>38</c:v>
                </c:pt>
                <c:pt idx="1204">
                  <c:v>38</c:v>
                </c:pt>
                <c:pt idx="1205">
                  <c:v>38</c:v>
                </c:pt>
                <c:pt idx="1206">
                  <c:v>38</c:v>
                </c:pt>
                <c:pt idx="1207">
                  <c:v>38</c:v>
                </c:pt>
                <c:pt idx="1208">
                  <c:v>37</c:v>
                </c:pt>
                <c:pt idx="1209">
                  <c:v>36</c:v>
                </c:pt>
                <c:pt idx="1210">
                  <c:v>36</c:v>
                </c:pt>
                <c:pt idx="1211">
                  <c:v>36</c:v>
                </c:pt>
                <c:pt idx="1212">
                  <c:v>35</c:v>
                </c:pt>
                <c:pt idx="1213">
                  <c:v>35</c:v>
                </c:pt>
                <c:pt idx="1214">
                  <c:v>35</c:v>
                </c:pt>
                <c:pt idx="1215">
                  <c:v>36</c:v>
                </c:pt>
                <c:pt idx="1216">
                  <c:v>35</c:v>
                </c:pt>
                <c:pt idx="1217">
                  <c:v>36</c:v>
                </c:pt>
                <c:pt idx="1218">
                  <c:v>36</c:v>
                </c:pt>
                <c:pt idx="1219">
                  <c:v>35</c:v>
                </c:pt>
                <c:pt idx="1220">
                  <c:v>34</c:v>
                </c:pt>
                <c:pt idx="1221">
                  <c:v>34</c:v>
                </c:pt>
                <c:pt idx="1222">
                  <c:v>35</c:v>
                </c:pt>
                <c:pt idx="1223">
                  <c:v>36</c:v>
                </c:pt>
                <c:pt idx="1224">
                  <c:v>35</c:v>
                </c:pt>
                <c:pt idx="1225">
                  <c:v>36</c:v>
                </c:pt>
                <c:pt idx="1226">
                  <c:v>36</c:v>
                </c:pt>
                <c:pt idx="1227">
                  <c:v>36</c:v>
                </c:pt>
                <c:pt idx="1228">
                  <c:v>36</c:v>
                </c:pt>
                <c:pt idx="1229">
                  <c:v>36</c:v>
                </c:pt>
                <c:pt idx="1230">
                  <c:v>36</c:v>
                </c:pt>
                <c:pt idx="1231">
                  <c:v>37</c:v>
                </c:pt>
                <c:pt idx="1232">
                  <c:v>38</c:v>
                </c:pt>
                <c:pt idx="1233">
                  <c:v>38</c:v>
                </c:pt>
                <c:pt idx="1234">
                  <c:v>38</c:v>
                </c:pt>
                <c:pt idx="1235">
                  <c:v>38</c:v>
                </c:pt>
                <c:pt idx="1236">
                  <c:v>38</c:v>
                </c:pt>
                <c:pt idx="1237">
                  <c:v>38</c:v>
                </c:pt>
                <c:pt idx="1238">
                  <c:v>38</c:v>
                </c:pt>
                <c:pt idx="1239">
                  <c:v>38</c:v>
                </c:pt>
                <c:pt idx="1240">
                  <c:v>38</c:v>
                </c:pt>
                <c:pt idx="1241">
                  <c:v>38</c:v>
                </c:pt>
                <c:pt idx="1242">
                  <c:v>39</c:v>
                </c:pt>
                <c:pt idx="1243">
                  <c:v>38</c:v>
                </c:pt>
                <c:pt idx="1244">
                  <c:v>40</c:v>
                </c:pt>
                <c:pt idx="1245">
                  <c:v>40</c:v>
                </c:pt>
                <c:pt idx="1246">
                  <c:v>40</c:v>
                </c:pt>
                <c:pt idx="1247">
                  <c:v>38</c:v>
                </c:pt>
                <c:pt idx="1248">
                  <c:v>38</c:v>
                </c:pt>
                <c:pt idx="1249">
                  <c:v>38</c:v>
                </c:pt>
                <c:pt idx="1250">
                  <c:v>38</c:v>
                </c:pt>
                <c:pt idx="1251">
                  <c:v>37</c:v>
                </c:pt>
                <c:pt idx="1252">
                  <c:v>36</c:v>
                </c:pt>
                <c:pt idx="1253">
                  <c:v>35</c:v>
                </c:pt>
                <c:pt idx="1254">
                  <c:v>35</c:v>
                </c:pt>
                <c:pt idx="1255">
                  <c:v>35</c:v>
                </c:pt>
                <c:pt idx="1256">
                  <c:v>34</c:v>
                </c:pt>
                <c:pt idx="1257">
                  <c:v>35</c:v>
                </c:pt>
                <c:pt idx="1258">
                  <c:v>35</c:v>
                </c:pt>
                <c:pt idx="1259">
                  <c:v>34</c:v>
                </c:pt>
                <c:pt idx="1260">
                  <c:v>33</c:v>
                </c:pt>
                <c:pt idx="1261">
                  <c:v>33</c:v>
                </c:pt>
                <c:pt idx="1262">
                  <c:v>33</c:v>
                </c:pt>
                <c:pt idx="1263">
                  <c:v>33</c:v>
                </c:pt>
                <c:pt idx="1264">
                  <c:v>33</c:v>
                </c:pt>
                <c:pt idx="1265">
                  <c:v>33</c:v>
                </c:pt>
                <c:pt idx="1266">
                  <c:v>33</c:v>
                </c:pt>
                <c:pt idx="1267">
                  <c:v>33</c:v>
                </c:pt>
                <c:pt idx="1268">
                  <c:v>32</c:v>
                </c:pt>
                <c:pt idx="1269">
                  <c:v>32</c:v>
                </c:pt>
                <c:pt idx="1270">
                  <c:v>32</c:v>
                </c:pt>
                <c:pt idx="1271">
                  <c:v>32</c:v>
                </c:pt>
                <c:pt idx="1272">
                  <c:v>31</c:v>
                </c:pt>
                <c:pt idx="1273">
                  <c:v>31</c:v>
                </c:pt>
                <c:pt idx="1274">
                  <c:v>31</c:v>
                </c:pt>
                <c:pt idx="1275">
                  <c:v>31</c:v>
                </c:pt>
                <c:pt idx="1276">
                  <c:v>30</c:v>
                </c:pt>
                <c:pt idx="1277">
                  <c:v>30</c:v>
                </c:pt>
                <c:pt idx="1278">
                  <c:v>30</c:v>
                </c:pt>
                <c:pt idx="1279">
                  <c:v>30</c:v>
                </c:pt>
                <c:pt idx="1280">
                  <c:v>30</c:v>
                </c:pt>
                <c:pt idx="1281">
                  <c:v>31</c:v>
                </c:pt>
                <c:pt idx="1282">
                  <c:v>31</c:v>
                </c:pt>
                <c:pt idx="1283">
                  <c:v>31</c:v>
                </c:pt>
                <c:pt idx="1284">
                  <c:v>30</c:v>
                </c:pt>
                <c:pt idx="1285">
                  <c:v>30</c:v>
                </c:pt>
                <c:pt idx="1286">
                  <c:v>30</c:v>
                </c:pt>
                <c:pt idx="1287">
                  <c:v>30</c:v>
                </c:pt>
                <c:pt idx="1288">
                  <c:v>29</c:v>
                </c:pt>
                <c:pt idx="1289">
                  <c:v>28</c:v>
                </c:pt>
                <c:pt idx="1290">
                  <c:v>29</c:v>
                </c:pt>
                <c:pt idx="1291">
                  <c:v>30</c:v>
                </c:pt>
                <c:pt idx="1292">
                  <c:v>30</c:v>
                </c:pt>
                <c:pt idx="1293">
                  <c:v>31</c:v>
                </c:pt>
                <c:pt idx="1294">
                  <c:v>32</c:v>
                </c:pt>
                <c:pt idx="1295">
                  <c:v>32</c:v>
                </c:pt>
                <c:pt idx="1296">
                  <c:v>31</c:v>
                </c:pt>
                <c:pt idx="1297">
                  <c:v>30</c:v>
                </c:pt>
                <c:pt idx="1298">
                  <c:v>30</c:v>
                </c:pt>
                <c:pt idx="1299">
                  <c:v>30</c:v>
                </c:pt>
                <c:pt idx="1300">
                  <c:v>29</c:v>
                </c:pt>
                <c:pt idx="1301">
                  <c:v>29</c:v>
                </c:pt>
                <c:pt idx="1302">
                  <c:v>30</c:v>
                </c:pt>
                <c:pt idx="1303">
                  <c:v>29</c:v>
                </c:pt>
                <c:pt idx="1304">
                  <c:v>29</c:v>
                </c:pt>
                <c:pt idx="1305">
                  <c:v>28</c:v>
                </c:pt>
                <c:pt idx="1306">
                  <c:v>28</c:v>
                </c:pt>
                <c:pt idx="1307">
                  <c:v>28</c:v>
                </c:pt>
                <c:pt idx="1308">
                  <c:v>28</c:v>
                </c:pt>
                <c:pt idx="1309">
                  <c:v>28</c:v>
                </c:pt>
                <c:pt idx="1310">
                  <c:v>28</c:v>
                </c:pt>
                <c:pt idx="1311">
                  <c:v>28</c:v>
                </c:pt>
                <c:pt idx="1312">
                  <c:v>28</c:v>
                </c:pt>
                <c:pt idx="1313">
                  <c:v>28</c:v>
                </c:pt>
                <c:pt idx="1314">
                  <c:v>29</c:v>
                </c:pt>
                <c:pt idx="1315">
                  <c:v>27</c:v>
                </c:pt>
                <c:pt idx="1316">
                  <c:v>28</c:v>
                </c:pt>
                <c:pt idx="1317">
                  <c:v>27</c:v>
                </c:pt>
                <c:pt idx="1318">
                  <c:v>27</c:v>
                </c:pt>
                <c:pt idx="1319">
                  <c:v>27</c:v>
                </c:pt>
                <c:pt idx="1320">
                  <c:v>26</c:v>
                </c:pt>
                <c:pt idx="1321">
                  <c:v>26</c:v>
                </c:pt>
                <c:pt idx="1322">
                  <c:v>26</c:v>
                </c:pt>
                <c:pt idx="1323">
                  <c:v>25</c:v>
                </c:pt>
                <c:pt idx="1324">
                  <c:v>25</c:v>
                </c:pt>
                <c:pt idx="1325">
                  <c:v>27</c:v>
                </c:pt>
                <c:pt idx="1326">
                  <c:v>27</c:v>
                </c:pt>
                <c:pt idx="1327">
                  <c:v>27</c:v>
                </c:pt>
                <c:pt idx="1328">
                  <c:v>26</c:v>
                </c:pt>
                <c:pt idx="1329">
                  <c:v>26</c:v>
                </c:pt>
                <c:pt idx="1330">
                  <c:v>26</c:v>
                </c:pt>
                <c:pt idx="1331">
                  <c:v>26</c:v>
                </c:pt>
                <c:pt idx="1332">
                  <c:v>27</c:v>
                </c:pt>
                <c:pt idx="1333">
                  <c:v>27</c:v>
                </c:pt>
                <c:pt idx="1334">
                  <c:v>27</c:v>
                </c:pt>
                <c:pt idx="1335">
                  <c:v>27</c:v>
                </c:pt>
                <c:pt idx="1336">
                  <c:v>26</c:v>
                </c:pt>
                <c:pt idx="1337">
                  <c:v>26</c:v>
                </c:pt>
                <c:pt idx="1338">
                  <c:v>26</c:v>
                </c:pt>
                <c:pt idx="1339">
                  <c:v>27</c:v>
                </c:pt>
                <c:pt idx="1340">
                  <c:v>27</c:v>
                </c:pt>
                <c:pt idx="1341">
                  <c:v>27</c:v>
                </c:pt>
                <c:pt idx="1342">
                  <c:v>27</c:v>
                </c:pt>
                <c:pt idx="1343">
                  <c:v>27</c:v>
                </c:pt>
                <c:pt idx="1344">
                  <c:v>27</c:v>
                </c:pt>
                <c:pt idx="1345">
                  <c:v>27</c:v>
                </c:pt>
                <c:pt idx="1346">
                  <c:v>27</c:v>
                </c:pt>
                <c:pt idx="1347">
                  <c:v>27</c:v>
                </c:pt>
                <c:pt idx="1348">
                  <c:v>27</c:v>
                </c:pt>
                <c:pt idx="1349">
                  <c:v>26</c:v>
                </c:pt>
                <c:pt idx="1350">
                  <c:v>27</c:v>
                </c:pt>
                <c:pt idx="1351">
                  <c:v>27</c:v>
                </c:pt>
                <c:pt idx="1352">
                  <c:v>27</c:v>
                </c:pt>
                <c:pt idx="1353">
                  <c:v>27</c:v>
                </c:pt>
                <c:pt idx="1354">
                  <c:v>27</c:v>
                </c:pt>
                <c:pt idx="1355">
                  <c:v>27</c:v>
                </c:pt>
                <c:pt idx="1356">
                  <c:v>27</c:v>
                </c:pt>
                <c:pt idx="1357">
                  <c:v>27</c:v>
                </c:pt>
                <c:pt idx="1358">
                  <c:v>27</c:v>
                </c:pt>
                <c:pt idx="1359">
                  <c:v>27</c:v>
                </c:pt>
                <c:pt idx="1360">
                  <c:v>27</c:v>
                </c:pt>
                <c:pt idx="1361">
                  <c:v>28</c:v>
                </c:pt>
                <c:pt idx="1362">
                  <c:v>28</c:v>
                </c:pt>
                <c:pt idx="1363">
                  <c:v>29</c:v>
                </c:pt>
                <c:pt idx="1364">
                  <c:v>29</c:v>
                </c:pt>
                <c:pt idx="1365">
                  <c:v>27</c:v>
                </c:pt>
                <c:pt idx="1366">
                  <c:v>28</c:v>
                </c:pt>
                <c:pt idx="1367">
                  <c:v>27</c:v>
                </c:pt>
                <c:pt idx="1368">
                  <c:v>28</c:v>
                </c:pt>
                <c:pt idx="1369">
                  <c:v>28</c:v>
                </c:pt>
                <c:pt idx="1370">
                  <c:v>28</c:v>
                </c:pt>
                <c:pt idx="1371">
                  <c:v>27</c:v>
                </c:pt>
                <c:pt idx="1372">
                  <c:v>28</c:v>
                </c:pt>
                <c:pt idx="1373">
                  <c:v>28</c:v>
                </c:pt>
                <c:pt idx="1374">
                  <c:v>28</c:v>
                </c:pt>
                <c:pt idx="1375">
                  <c:v>28</c:v>
                </c:pt>
                <c:pt idx="1376">
                  <c:v>28</c:v>
                </c:pt>
                <c:pt idx="1377">
                  <c:v>27</c:v>
                </c:pt>
                <c:pt idx="1378">
                  <c:v>27</c:v>
                </c:pt>
                <c:pt idx="1379">
                  <c:v>26</c:v>
                </c:pt>
                <c:pt idx="1380">
                  <c:v>27</c:v>
                </c:pt>
                <c:pt idx="1381">
                  <c:v>26</c:v>
                </c:pt>
                <c:pt idx="1382">
                  <c:v>26</c:v>
                </c:pt>
                <c:pt idx="1383">
                  <c:v>27</c:v>
                </c:pt>
                <c:pt idx="1384">
                  <c:v>27</c:v>
                </c:pt>
                <c:pt idx="1385">
                  <c:v>27</c:v>
                </c:pt>
                <c:pt idx="1386">
                  <c:v>27</c:v>
                </c:pt>
                <c:pt idx="1387">
                  <c:v>27</c:v>
                </c:pt>
                <c:pt idx="1388">
                  <c:v>27</c:v>
                </c:pt>
                <c:pt idx="1389">
                  <c:v>27</c:v>
                </c:pt>
                <c:pt idx="1390">
                  <c:v>26</c:v>
                </c:pt>
                <c:pt idx="1391">
                  <c:v>27</c:v>
                </c:pt>
                <c:pt idx="1392">
                  <c:v>26</c:v>
                </c:pt>
                <c:pt idx="1393">
                  <c:v>27</c:v>
                </c:pt>
                <c:pt idx="1394">
                  <c:v>27</c:v>
                </c:pt>
                <c:pt idx="1395">
                  <c:v>27</c:v>
                </c:pt>
                <c:pt idx="1396">
                  <c:v>27</c:v>
                </c:pt>
                <c:pt idx="1397">
                  <c:v>27</c:v>
                </c:pt>
                <c:pt idx="1398">
                  <c:v>27</c:v>
                </c:pt>
                <c:pt idx="1399">
                  <c:v>26</c:v>
                </c:pt>
                <c:pt idx="1400">
                  <c:v>26</c:v>
                </c:pt>
                <c:pt idx="1401">
                  <c:v>26</c:v>
                </c:pt>
                <c:pt idx="1402">
                  <c:v>26</c:v>
                </c:pt>
                <c:pt idx="1403">
                  <c:v>26</c:v>
                </c:pt>
                <c:pt idx="1404">
                  <c:v>26</c:v>
                </c:pt>
                <c:pt idx="1405">
                  <c:v>26</c:v>
                </c:pt>
                <c:pt idx="1406">
                  <c:v>26</c:v>
                </c:pt>
                <c:pt idx="1407">
                  <c:v>25</c:v>
                </c:pt>
                <c:pt idx="1408">
                  <c:v>25</c:v>
                </c:pt>
                <c:pt idx="1409">
                  <c:v>25</c:v>
                </c:pt>
                <c:pt idx="1410">
                  <c:v>25</c:v>
                </c:pt>
                <c:pt idx="1411">
                  <c:v>25</c:v>
                </c:pt>
                <c:pt idx="1412">
                  <c:v>25</c:v>
                </c:pt>
                <c:pt idx="1413">
                  <c:v>25</c:v>
                </c:pt>
                <c:pt idx="1414">
                  <c:v>26</c:v>
                </c:pt>
                <c:pt idx="1415">
                  <c:v>25</c:v>
                </c:pt>
                <c:pt idx="1416">
                  <c:v>26</c:v>
                </c:pt>
                <c:pt idx="1417">
                  <c:v>25</c:v>
                </c:pt>
                <c:pt idx="1418">
                  <c:v>25</c:v>
                </c:pt>
                <c:pt idx="1419">
                  <c:v>25</c:v>
                </c:pt>
                <c:pt idx="1420">
                  <c:v>25</c:v>
                </c:pt>
                <c:pt idx="1421">
                  <c:v>25</c:v>
                </c:pt>
                <c:pt idx="1422">
                  <c:v>24</c:v>
                </c:pt>
                <c:pt idx="1423">
                  <c:v>24</c:v>
                </c:pt>
                <c:pt idx="1424">
                  <c:v>24</c:v>
                </c:pt>
                <c:pt idx="1425">
                  <c:v>25</c:v>
                </c:pt>
                <c:pt idx="1426">
                  <c:v>25</c:v>
                </c:pt>
                <c:pt idx="1427">
                  <c:v>25</c:v>
                </c:pt>
                <c:pt idx="1428">
                  <c:v>25</c:v>
                </c:pt>
                <c:pt idx="1429">
                  <c:v>25</c:v>
                </c:pt>
                <c:pt idx="1430">
                  <c:v>25</c:v>
                </c:pt>
                <c:pt idx="1431">
                  <c:v>25</c:v>
                </c:pt>
                <c:pt idx="1432">
                  <c:v>25</c:v>
                </c:pt>
                <c:pt idx="1433">
                  <c:v>25</c:v>
                </c:pt>
                <c:pt idx="1434">
                  <c:v>24</c:v>
                </c:pt>
                <c:pt idx="1435">
                  <c:v>24</c:v>
                </c:pt>
                <c:pt idx="1436">
                  <c:v>24</c:v>
                </c:pt>
                <c:pt idx="1437">
                  <c:v>24</c:v>
                </c:pt>
                <c:pt idx="1438">
                  <c:v>24</c:v>
                </c:pt>
                <c:pt idx="1439">
                  <c:v>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DB1-4660-B1F0-8932831B098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26663912"/>
        <c:axId val="526662600"/>
      </c:lineChart>
      <c:catAx>
        <c:axId val="52666391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5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EnBW DIN Pro" panose="020B0504020101020102" pitchFamily="34" charset="0"/>
                    <a:ea typeface="+mn-ea"/>
                    <a:cs typeface="EnBW DIN Pro" panose="020B0504020101020102" pitchFamily="34" charset="0"/>
                  </a:defRPr>
                </a:pPr>
                <a:r>
                  <a:rPr lang="de-DE" sz="1050">
                    <a:latin typeface="EnBW DIN Pro" panose="020B0504020101020102" pitchFamily="34" charset="0"/>
                    <a:cs typeface="EnBW DIN Pro" panose="020B0504020101020102" pitchFamily="34" charset="0"/>
                  </a:rPr>
                  <a:t>Uhrzeit in hh:mm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5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EnBW DIN Pro" panose="020B0504020101020102" pitchFamily="34" charset="0"/>
                  <a:ea typeface="+mn-ea"/>
                  <a:cs typeface="EnBW DIN Pro" panose="020B0504020101020102" pitchFamily="34" charset="0"/>
                </a:defRPr>
              </a:pPr>
              <a:endParaRPr lang="de-DE"/>
            </a:p>
          </c:txPr>
        </c:title>
        <c:numFmt formatCode="h:mm;@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EnBW DIN Pro" panose="020B0504020101020102" pitchFamily="34" charset="0"/>
                <a:ea typeface="+mn-ea"/>
                <a:cs typeface="EnBW DIN Pro" panose="020B0504020101020102" pitchFamily="34" charset="0"/>
              </a:defRPr>
            </a:pPr>
            <a:endParaRPr lang="de-DE"/>
          </a:p>
        </c:txPr>
        <c:crossAx val="526662600"/>
        <c:crosses val="autoZero"/>
        <c:auto val="1"/>
        <c:lblAlgn val="ctr"/>
        <c:lblOffset val="100"/>
        <c:tickLblSkip val="60"/>
        <c:noMultiLvlLbl val="0"/>
      </c:catAx>
      <c:valAx>
        <c:axId val="526662600"/>
        <c:scaling>
          <c:orientation val="minMax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EnBW DIN Pro" panose="020B0504020101020102" pitchFamily="34" charset="0"/>
                    <a:ea typeface="+mn-ea"/>
                    <a:cs typeface="EnBW DIN Pro" panose="020B0504020101020102" pitchFamily="34" charset="0"/>
                  </a:defRPr>
                </a:pPr>
                <a:r>
                  <a:rPr lang="de-DE" sz="1100">
                    <a:latin typeface="EnBW DIN Pro" panose="020B0504020101020102" pitchFamily="34" charset="0"/>
                    <a:cs typeface="EnBW DIN Pro" panose="020B0504020101020102" pitchFamily="34" charset="0"/>
                  </a:rPr>
                  <a:t>Leistung</a:t>
                </a:r>
                <a:r>
                  <a:rPr lang="de-DE" sz="1100" baseline="0">
                    <a:latin typeface="EnBW DIN Pro" panose="020B0504020101020102" pitchFamily="34" charset="0"/>
                    <a:cs typeface="EnBW DIN Pro" panose="020B0504020101020102" pitchFamily="34" charset="0"/>
                  </a:rPr>
                  <a:t> in kW</a:t>
                </a:r>
                <a:endParaRPr lang="de-DE" sz="1100">
                  <a:latin typeface="EnBW DIN Pro" panose="020B0504020101020102" pitchFamily="34" charset="0"/>
                  <a:cs typeface="EnBW DIN Pro" panose="020B0504020101020102" pitchFamily="34" charset="0"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1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EnBW DIN Pro" panose="020B0504020101020102" pitchFamily="34" charset="0"/>
                  <a:ea typeface="+mn-ea"/>
                  <a:cs typeface="EnBW DIN Pro" panose="020B0504020101020102" pitchFamily="34" charset="0"/>
                </a:defRPr>
              </a:pPr>
              <a:endParaRPr lang="de-DE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EnBW DIN Pro" panose="020B0504020101020102" pitchFamily="34" charset="0"/>
                <a:ea typeface="+mn-ea"/>
                <a:cs typeface="EnBW DIN Pro" panose="020B0504020101020102" pitchFamily="34" charset="0"/>
              </a:defRPr>
            </a:pPr>
            <a:endParaRPr lang="de-DE"/>
          </a:p>
        </c:txPr>
        <c:crossAx val="526663912"/>
        <c:crosses val="autoZero"/>
        <c:crossBetween val="between"/>
      </c:valAx>
      <c:valAx>
        <c:axId val="1319738600"/>
        <c:scaling>
          <c:orientation val="minMax"/>
          <c:max val="100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de-DE"/>
                  <a:t>freigegebene Leistung in %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319740568"/>
        <c:crosses val="max"/>
        <c:crossBetween val="between"/>
        <c:majorUnit val="50"/>
      </c:valAx>
      <c:catAx>
        <c:axId val="1319740568"/>
        <c:scaling>
          <c:orientation val="minMax"/>
        </c:scaling>
        <c:delete val="1"/>
        <c:axPos val="b"/>
        <c:numFmt formatCode="h:mm;@" sourceLinked="1"/>
        <c:majorTickMark val="out"/>
        <c:minorTickMark val="none"/>
        <c:tickLblPos val="nextTo"/>
        <c:crossAx val="1319738600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EnBW DIN Pro" panose="020B0504020101020102" pitchFamily="34" charset="0"/>
              <a:ea typeface="+mn-ea"/>
              <a:cs typeface="EnBW DIN Pro" panose="020B0504020101020102" pitchFamily="34" charset="0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9.4195852815620887E-2"/>
          <c:y val="3.6197085973629188E-2"/>
          <c:w val="0.88964137841104418"/>
          <c:h val="0.7360862710165699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Tabelle1!$J$42</c:f>
              <c:strCache>
                <c:ptCount val="1"/>
                <c:pt idx="0">
                  <c:v>Elektrowärme</c:v>
                </c:pt>
              </c:strCache>
            </c:strRef>
          </c:tx>
          <c:spPr>
            <a:solidFill>
              <a:srgbClr val="FF990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F99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B91-4041-97A8-FA732162DCDF}"/>
              </c:ext>
            </c:extLst>
          </c:dPt>
          <c:dPt>
            <c:idx val="2"/>
            <c:invertIfNegative val="0"/>
            <c:bubble3D val="0"/>
            <c:spPr>
              <a:solidFill>
                <a:srgbClr val="FF99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B91-4041-97A8-FA732162DCDF}"/>
              </c:ext>
            </c:extLst>
          </c:dPt>
          <c:dPt>
            <c:idx val="4"/>
            <c:invertIfNegative val="0"/>
            <c:bubble3D val="0"/>
            <c:spPr>
              <a:solidFill>
                <a:srgbClr val="FF99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B91-4041-97A8-FA732162DCDF}"/>
              </c:ext>
            </c:extLst>
          </c:dPt>
          <c:cat>
            <c:multiLvlStrRef>
              <c:f>Tabelle1!$H$43:$I$48</c:f>
              <c:multiLvlStrCache>
                <c:ptCount val="6"/>
                <c:lvl>
                  <c:pt idx="0">
                    <c:v>Einspeisung </c:v>
                  </c:pt>
                  <c:pt idx="1">
                    <c:v>Jahresverbrauch </c:v>
                  </c:pt>
                  <c:pt idx="2">
                    <c:v>Einspeisung </c:v>
                  </c:pt>
                  <c:pt idx="3">
                    <c:v>Jahresverbrauch </c:v>
                  </c:pt>
                  <c:pt idx="4">
                    <c:v>Einspeisung </c:v>
                  </c:pt>
                  <c:pt idx="5">
                    <c:v>Jahresverbrauch </c:v>
                  </c:pt>
                </c:lvl>
                <c:lvl>
                  <c:pt idx="0">
                    <c:v>2018</c:v>
                  </c:pt>
                  <c:pt idx="2">
                    <c:v>2019</c:v>
                  </c:pt>
                  <c:pt idx="4">
                    <c:v>2020</c:v>
                  </c:pt>
                </c:lvl>
              </c:multiLvlStrCache>
            </c:multiLvlStrRef>
          </c:cat>
          <c:val>
            <c:numRef>
              <c:f>Tabelle1!$J$43:$J$48</c:f>
              <c:numCache>
                <c:formatCode>#,##0</c:formatCode>
                <c:ptCount val="6"/>
                <c:pt idx="1">
                  <c:v>2971</c:v>
                </c:pt>
                <c:pt idx="3">
                  <c:v>2941</c:v>
                </c:pt>
                <c:pt idx="5">
                  <c:v>28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8B91-4041-97A8-FA732162DCDF}"/>
            </c:ext>
          </c:extLst>
        </c:ser>
        <c:ser>
          <c:idx val="1"/>
          <c:order val="1"/>
          <c:tx>
            <c:strRef>
              <c:f>Tabelle1!$K$42</c:f>
              <c:strCache>
                <c:ptCount val="1"/>
                <c:pt idx="0">
                  <c:v>Wärmepumpen</c:v>
                </c:pt>
              </c:strCache>
            </c:strRef>
          </c:tx>
          <c:spPr>
            <a:solidFill>
              <a:srgbClr val="CC0000"/>
            </a:solidFill>
            <a:ln>
              <a:noFill/>
            </a:ln>
            <a:effectLst/>
          </c:spPr>
          <c:invertIfNegative val="0"/>
          <c:cat>
            <c:multiLvlStrRef>
              <c:f>Tabelle1!$H$43:$I$48</c:f>
              <c:multiLvlStrCache>
                <c:ptCount val="6"/>
                <c:lvl>
                  <c:pt idx="0">
                    <c:v>Einspeisung </c:v>
                  </c:pt>
                  <c:pt idx="1">
                    <c:v>Jahresverbrauch </c:v>
                  </c:pt>
                  <c:pt idx="2">
                    <c:v>Einspeisung </c:v>
                  </c:pt>
                  <c:pt idx="3">
                    <c:v>Jahresverbrauch </c:v>
                  </c:pt>
                  <c:pt idx="4">
                    <c:v>Einspeisung </c:v>
                  </c:pt>
                  <c:pt idx="5">
                    <c:v>Jahresverbrauch </c:v>
                  </c:pt>
                </c:lvl>
                <c:lvl>
                  <c:pt idx="0">
                    <c:v>2018</c:v>
                  </c:pt>
                  <c:pt idx="2">
                    <c:v>2019</c:v>
                  </c:pt>
                  <c:pt idx="4">
                    <c:v>2020</c:v>
                  </c:pt>
                </c:lvl>
              </c:multiLvlStrCache>
            </c:multiLvlStrRef>
          </c:cat>
          <c:val>
            <c:numRef>
              <c:f>Tabelle1!$K$43:$K$48</c:f>
              <c:numCache>
                <c:formatCode>#,##0</c:formatCode>
                <c:ptCount val="6"/>
                <c:pt idx="1">
                  <c:v>2618</c:v>
                </c:pt>
                <c:pt idx="3">
                  <c:v>2739</c:v>
                </c:pt>
                <c:pt idx="5">
                  <c:v>26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8B91-4041-97A8-FA732162DCDF}"/>
            </c:ext>
          </c:extLst>
        </c:ser>
        <c:ser>
          <c:idx val="2"/>
          <c:order val="2"/>
          <c:tx>
            <c:strRef>
              <c:f>Tabelle1!$L$42</c:f>
              <c:strCache>
                <c:ptCount val="1"/>
                <c:pt idx="0">
                  <c:v>Gewerbe</c:v>
                </c:pt>
              </c:strCache>
            </c:strRef>
          </c:tx>
          <c:spPr>
            <a:solidFill>
              <a:srgbClr val="374A9A"/>
            </a:solidFill>
            <a:ln>
              <a:noFill/>
            </a:ln>
            <a:effectLst/>
          </c:spPr>
          <c:invertIfNegative val="0"/>
          <c:cat>
            <c:multiLvlStrRef>
              <c:f>Tabelle1!$H$43:$I$48</c:f>
              <c:multiLvlStrCache>
                <c:ptCount val="6"/>
                <c:lvl>
                  <c:pt idx="0">
                    <c:v>Einspeisung </c:v>
                  </c:pt>
                  <c:pt idx="1">
                    <c:v>Jahresverbrauch </c:v>
                  </c:pt>
                  <c:pt idx="2">
                    <c:v>Einspeisung </c:v>
                  </c:pt>
                  <c:pt idx="3">
                    <c:v>Jahresverbrauch </c:v>
                  </c:pt>
                  <c:pt idx="4">
                    <c:v>Einspeisung </c:v>
                  </c:pt>
                  <c:pt idx="5">
                    <c:v>Jahresverbrauch </c:v>
                  </c:pt>
                </c:lvl>
                <c:lvl>
                  <c:pt idx="0">
                    <c:v>2018</c:v>
                  </c:pt>
                  <c:pt idx="2">
                    <c:v>2019</c:v>
                  </c:pt>
                  <c:pt idx="4">
                    <c:v>2020</c:v>
                  </c:pt>
                </c:lvl>
              </c:multiLvlStrCache>
            </c:multiLvlStrRef>
          </c:cat>
          <c:val>
            <c:numRef>
              <c:f>Tabelle1!$L$43:$L$48</c:f>
              <c:numCache>
                <c:formatCode>#,##0</c:formatCode>
                <c:ptCount val="6"/>
                <c:pt idx="1">
                  <c:v>130888</c:v>
                </c:pt>
                <c:pt idx="3">
                  <c:v>135465</c:v>
                </c:pt>
                <c:pt idx="5">
                  <c:v>1377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8B91-4041-97A8-FA732162DCDF}"/>
            </c:ext>
          </c:extLst>
        </c:ser>
        <c:ser>
          <c:idx val="3"/>
          <c:order val="3"/>
          <c:tx>
            <c:strRef>
              <c:f>Tabelle1!$M$42</c:f>
              <c:strCache>
                <c:ptCount val="1"/>
                <c:pt idx="0">
                  <c:v>Kleingewerbe</c:v>
                </c:pt>
              </c:strCache>
            </c:strRef>
          </c:tx>
          <c:spPr>
            <a:solidFill>
              <a:srgbClr val="8AADDC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8AADD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A-8B91-4041-97A8-FA732162DCDF}"/>
              </c:ext>
            </c:extLst>
          </c:dPt>
          <c:dPt>
            <c:idx val="2"/>
            <c:invertIfNegative val="0"/>
            <c:bubble3D val="0"/>
            <c:spPr>
              <a:solidFill>
                <a:srgbClr val="8AADD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C-8B91-4041-97A8-FA732162DCDF}"/>
              </c:ext>
            </c:extLst>
          </c:dPt>
          <c:dPt>
            <c:idx val="4"/>
            <c:invertIfNegative val="0"/>
            <c:bubble3D val="0"/>
            <c:spPr>
              <a:solidFill>
                <a:srgbClr val="8AADD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E-8B91-4041-97A8-FA732162DCDF}"/>
              </c:ext>
            </c:extLst>
          </c:dPt>
          <c:cat>
            <c:multiLvlStrRef>
              <c:f>Tabelle1!$H$43:$I$48</c:f>
              <c:multiLvlStrCache>
                <c:ptCount val="6"/>
                <c:lvl>
                  <c:pt idx="0">
                    <c:v>Einspeisung </c:v>
                  </c:pt>
                  <c:pt idx="1">
                    <c:v>Jahresverbrauch </c:v>
                  </c:pt>
                  <c:pt idx="2">
                    <c:v>Einspeisung </c:v>
                  </c:pt>
                  <c:pt idx="3">
                    <c:v>Jahresverbrauch </c:v>
                  </c:pt>
                  <c:pt idx="4">
                    <c:v>Einspeisung </c:v>
                  </c:pt>
                  <c:pt idx="5">
                    <c:v>Jahresverbrauch </c:v>
                  </c:pt>
                </c:lvl>
                <c:lvl>
                  <c:pt idx="0">
                    <c:v>2018</c:v>
                  </c:pt>
                  <c:pt idx="2">
                    <c:v>2019</c:v>
                  </c:pt>
                  <c:pt idx="4">
                    <c:v>2020</c:v>
                  </c:pt>
                </c:lvl>
              </c:multiLvlStrCache>
            </c:multiLvlStrRef>
          </c:cat>
          <c:val>
            <c:numRef>
              <c:f>Tabelle1!$M$43:$M$48</c:f>
              <c:numCache>
                <c:formatCode>#,##0</c:formatCode>
                <c:ptCount val="6"/>
                <c:pt idx="1">
                  <c:v>508</c:v>
                </c:pt>
                <c:pt idx="3">
                  <c:v>455</c:v>
                </c:pt>
                <c:pt idx="5">
                  <c:v>3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8B91-4041-97A8-FA732162DCDF}"/>
            </c:ext>
          </c:extLst>
        </c:ser>
        <c:ser>
          <c:idx val="4"/>
          <c:order val="4"/>
          <c:tx>
            <c:strRef>
              <c:f>Tabelle1!$N$42</c:f>
              <c:strCache>
                <c:ptCount val="1"/>
                <c:pt idx="0">
                  <c:v>Elektromobilität</c:v>
                </c:pt>
              </c:strCache>
              <c:extLst xmlns:c15="http://schemas.microsoft.com/office/drawing/2012/chart"/>
            </c:strRef>
          </c:tx>
          <c:spPr>
            <a:solidFill>
              <a:srgbClr val="00FF00"/>
            </a:solidFill>
            <a:ln>
              <a:noFill/>
            </a:ln>
            <a:effectLst/>
          </c:spPr>
          <c:invertIfNegative val="0"/>
          <c:cat>
            <c:multiLvlStrRef>
              <c:f>Tabelle1!$H$43:$I$48</c:f>
              <c:multiLvlStrCache>
                <c:ptCount val="6"/>
                <c:lvl>
                  <c:pt idx="0">
                    <c:v>Einspeisung </c:v>
                  </c:pt>
                  <c:pt idx="1">
                    <c:v>Jahresverbrauch </c:v>
                  </c:pt>
                  <c:pt idx="2">
                    <c:v>Einspeisung </c:v>
                  </c:pt>
                  <c:pt idx="3">
                    <c:v>Jahresverbrauch </c:v>
                  </c:pt>
                  <c:pt idx="4">
                    <c:v>Einspeisung </c:v>
                  </c:pt>
                  <c:pt idx="5">
                    <c:v>Jahresverbrauch </c:v>
                  </c:pt>
                </c:lvl>
                <c:lvl>
                  <c:pt idx="0">
                    <c:v>2018</c:v>
                  </c:pt>
                  <c:pt idx="2">
                    <c:v>2019</c:v>
                  </c:pt>
                  <c:pt idx="4">
                    <c:v>2020</c:v>
                  </c:pt>
                </c:lvl>
              </c:multiLvlStrCache>
              <c:extLst xmlns:c15="http://schemas.microsoft.com/office/drawing/2012/chart"/>
            </c:multiLvlStrRef>
          </c:cat>
          <c:val>
            <c:numRef>
              <c:f>Tabelle1!$N$43:$N$48</c:f>
              <c:numCache>
                <c:formatCode>#,##0</c:formatCode>
                <c:ptCount val="6"/>
                <c:pt idx="1">
                  <c:v>0</c:v>
                </c:pt>
                <c:pt idx="3">
                  <c:v>0</c:v>
                </c:pt>
                <c:pt idx="5">
                  <c:v>5</c:v>
                </c:pt>
              </c:numCache>
              <c:extLst xmlns:c15="http://schemas.microsoft.com/office/drawing/2012/chart"/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10-8B91-4041-97A8-FA732162DCDF}"/>
            </c:ext>
          </c:extLst>
        </c:ser>
        <c:ser>
          <c:idx val="5"/>
          <c:order val="5"/>
          <c:tx>
            <c:strRef>
              <c:f>Tabelle1!$O$42</c:f>
              <c:strCache>
                <c:ptCount val="1"/>
                <c:pt idx="0">
                  <c:v>Haushalt</c:v>
                </c:pt>
              </c:strCache>
            </c:strRef>
          </c:tx>
          <c:spPr>
            <a:solidFill>
              <a:srgbClr val="B02095"/>
            </a:solidFill>
            <a:ln>
              <a:noFill/>
            </a:ln>
            <a:effectLst/>
          </c:spPr>
          <c:invertIfNegative val="0"/>
          <c:cat>
            <c:multiLvlStrRef>
              <c:f>Tabelle1!$H$43:$I$48</c:f>
              <c:multiLvlStrCache>
                <c:ptCount val="6"/>
                <c:lvl>
                  <c:pt idx="0">
                    <c:v>Einspeisung </c:v>
                  </c:pt>
                  <c:pt idx="1">
                    <c:v>Jahresverbrauch </c:v>
                  </c:pt>
                  <c:pt idx="2">
                    <c:v>Einspeisung </c:v>
                  </c:pt>
                  <c:pt idx="3">
                    <c:v>Jahresverbrauch </c:v>
                  </c:pt>
                  <c:pt idx="4">
                    <c:v>Einspeisung </c:v>
                  </c:pt>
                  <c:pt idx="5">
                    <c:v>Jahresverbrauch </c:v>
                  </c:pt>
                </c:lvl>
                <c:lvl>
                  <c:pt idx="0">
                    <c:v>2018</c:v>
                  </c:pt>
                  <c:pt idx="2">
                    <c:v>2019</c:v>
                  </c:pt>
                  <c:pt idx="4">
                    <c:v>2020</c:v>
                  </c:pt>
                </c:lvl>
              </c:multiLvlStrCache>
            </c:multiLvlStrRef>
          </c:cat>
          <c:val>
            <c:numRef>
              <c:f>Tabelle1!$O$43:$O$48</c:f>
              <c:numCache>
                <c:formatCode>#,##0</c:formatCode>
                <c:ptCount val="6"/>
                <c:pt idx="1">
                  <c:v>15510</c:v>
                </c:pt>
                <c:pt idx="3">
                  <c:v>15658</c:v>
                </c:pt>
                <c:pt idx="5">
                  <c:v>158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8B91-4041-97A8-FA732162DCDF}"/>
            </c:ext>
          </c:extLst>
        </c:ser>
        <c:ser>
          <c:idx val="6"/>
          <c:order val="6"/>
          <c:tx>
            <c:strRef>
              <c:f>Tabelle1!$P$42</c:f>
              <c:strCache>
                <c:ptCount val="1"/>
                <c:pt idx="0">
                  <c:v>Landwirtschaft</c:v>
                </c:pt>
              </c:strCache>
            </c:strRef>
          </c:tx>
          <c:spPr>
            <a:solidFill>
              <a:srgbClr val="686868"/>
            </a:solidFill>
            <a:ln>
              <a:noFill/>
            </a:ln>
            <a:effectLst/>
          </c:spPr>
          <c:invertIfNegative val="0"/>
          <c:cat>
            <c:multiLvlStrRef>
              <c:f>Tabelle1!$H$43:$I$48</c:f>
              <c:multiLvlStrCache>
                <c:ptCount val="6"/>
                <c:lvl>
                  <c:pt idx="0">
                    <c:v>Einspeisung </c:v>
                  </c:pt>
                  <c:pt idx="1">
                    <c:v>Jahresverbrauch </c:v>
                  </c:pt>
                  <c:pt idx="2">
                    <c:v>Einspeisung </c:v>
                  </c:pt>
                  <c:pt idx="3">
                    <c:v>Jahresverbrauch </c:v>
                  </c:pt>
                  <c:pt idx="4">
                    <c:v>Einspeisung </c:v>
                  </c:pt>
                  <c:pt idx="5">
                    <c:v>Jahresverbrauch </c:v>
                  </c:pt>
                </c:lvl>
                <c:lvl>
                  <c:pt idx="0">
                    <c:v>2018</c:v>
                  </c:pt>
                  <c:pt idx="2">
                    <c:v>2019</c:v>
                  </c:pt>
                  <c:pt idx="4">
                    <c:v>2020</c:v>
                  </c:pt>
                </c:lvl>
              </c:multiLvlStrCache>
            </c:multiLvlStrRef>
          </c:cat>
          <c:val>
            <c:numRef>
              <c:f>Tabelle1!$P$43:$P$48</c:f>
              <c:numCache>
                <c:formatCode>#,##0</c:formatCode>
                <c:ptCount val="6"/>
                <c:pt idx="1">
                  <c:v>6327</c:v>
                </c:pt>
                <c:pt idx="3">
                  <c:v>6594</c:v>
                </c:pt>
                <c:pt idx="5">
                  <c:v>59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8B91-4041-97A8-FA732162DCDF}"/>
            </c:ext>
          </c:extLst>
        </c:ser>
        <c:ser>
          <c:idx val="7"/>
          <c:order val="7"/>
          <c:tx>
            <c:strRef>
              <c:f>Tabelle1!$Q$42</c:f>
              <c:strCache>
                <c:ptCount val="1"/>
                <c:pt idx="0">
                  <c:v>Straßenbeleuchtung</c:v>
                </c:pt>
              </c:strCache>
            </c:strRef>
          </c:tx>
          <c:spPr>
            <a:solidFill>
              <a:srgbClr val="3B3B3B"/>
            </a:solidFill>
            <a:ln>
              <a:noFill/>
            </a:ln>
            <a:effectLst/>
          </c:spPr>
          <c:invertIfNegative val="0"/>
          <c:cat>
            <c:multiLvlStrRef>
              <c:f>Tabelle1!$H$43:$I$48</c:f>
              <c:multiLvlStrCache>
                <c:ptCount val="6"/>
                <c:lvl>
                  <c:pt idx="0">
                    <c:v>Einspeisung </c:v>
                  </c:pt>
                  <c:pt idx="1">
                    <c:v>Jahresverbrauch </c:v>
                  </c:pt>
                  <c:pt idx="2">
                    <c:v>Einspeisung </c:v>
                  </c:pt>
                  <c:pt idx="3">
                    <c:v>Jahresverbrauch </c:v>
                  </c:pt>
                  <c:pt idx="4">
                    <c:v>Einspeisung </c:v>
                  </c:pt>
                  <c:pt idx="5">
                    <c:v>Jahresverbrauch </c:v>
                  </c:pt>
                </c:lvl>
                <c:lvl>
                  <c:pt idx="0">
                    <c:v>2018</c:v>
                  </c:pt>
                  <c:pt idx="2">
                    <c:v>2019</c:v>
                  </c:pt>
                  <c:pt idx="4">
                    <c:v>2020</c:v>
                  </c:pt>
                </c:lvl>
              </c:multiLvlStrCache>
            </c:multiLvlStrRef>
          </c:cat>
          <c:val>
            <c:numRef>
              <c:f>Tabelle1!$Q$43:$Q$48</c:f>
              <c:numCache>
                <c:formatCode>#,##0</c:formatCode>
                <c:ptCount val="6"/>
                <c:pt idx="1">
                  <c:v>329</c:v>
                </c:pt>
                <c:pt idx="3">
                  <c:v>302</c:v>
                </c:pt>
                <c:pt idx="5">
                  <c:v>2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8B91-4041-97A8-FA732162DCDF}"/>
            </c:ext>
          </c:extLst>
        </c:ser>
        <c:ser>
          <c:idx val="8"/>
          <c:order val="8"/>
          <c:tx>
            <c:strRef>
              <c:f>Tabelle1!$R$42</c:f>
              <c:strCache>
                <c:ptCount val="1"/>
                <c:pt idx="0">
                  <c:v>Photovoltaik</c:v>
                </c:pt>
              </c:strCache>
            </c:strRef>
          </c:tx>
          <c:spPr>
            <a:solidFill>
              <a:srgbClr val="FFFF00"/>
            </a:solidFill>
            <a:ln>
              <a:noFill/>
            </a:ln>
            <a:effectLst/>
          </c:spPr>
          <c:invertIfNegative val="0"/>
          <c:cat>
            <c:multiLvlStrRef>
              <c:f>Tabelle1!$H$43:$I$48</c:f>
              <c:multiLvlStrCache>
                <c:ptCount val="6"/>
                <c:lvl>
                  <c:pt idx="0">
                    <c:v>Einspeisung </c:v>
                  </c:pt>
                  <c:pt idx="1">
                    <c:v>Jahresverbrauch </c:v>
                  </c:pt>
                  <c:pt idx="2">
                    <c:v>Einspeisung </c:v>
                  </c:pt>
                  <c:pt idx="3">
                    <c:v>Jahresverbrauch </c:v>
                  </c:pt>
                  <c:pt idx="4">
                    <c:v>Einspeisung </c:v>
                  </c:pt>
                  <c:pt idx="5">
                    <c:v>Jahresverbrauch </c:v>
                  </c:pt>
                </c:lvl>
                <c:lvl>
                  <c:pt idx="0">
                    <c:v>2018</c:v>
                  </c:pt>
                  <c:pt idx="2">
                    <c:v>2019</c:v>
                  </c:pt>
                  <c:pt idx="4">
                    <c:v>2020</c:v>
                  </c:pt>
                </c:lvl>
              </c:multiLvlStrCache>
            </c:multiLvlStrRef>
          </c:cat>
          <c:val>
            <c:numRef>
              <c:f>Tabelle1!$R$43:$R$48</c:f>
              <c:numCache>
                <c:formatCode>General</c:formatCode>
                <c:ptCount val="6"/>
                <c:pt idx="0" formatCode="#,##0">
                  <c:v>28909</c:v>
                </c:pt>
                <c:pt idx="2" formatCode="#,##0">
                  <c:v>28536</c:v>
                </c:pt>
                <c:pt idx="4" formatCode="#,##0">
                  <c:v>309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CFCC-4EFA-966E-ADB4F7C80CCE}"/>
            </c:ext>
          </c:extLst>
        </c:ser>
        <c:ser>
          <c:idx val="9"/>
          <c:order val="9"/>
          <c:tx>
            <c:strRef>
              <c:f>Tabelle1!$S$42</c:f>
              <c:strCache>
                <c:ptCount val="1"/>
                <c:pt idx="0">
                  <c:v>Biomasse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cat>
            <c:multiLvlStrRef>
              <c:f>Tabelle1!$H$43:$I$48</c:f>
              <c:multiLvlStrCache>
                <c:ptCount val="6"/>
                <c:lvl>
                  <c:pt idx="0">
                    <c:v>Einspeisung </c:v>
                  </c:pt>
                  <c:pt idx="1">
                    <c:v>Jahresverbrauch </c:v>
                  </c:pt>
                  <c:pt idx="2">
                    <c:v>Einspeisung </c:v>
                  </c:pt>
                  <c:pt idx="3">
                    <c:v>Jahresverbrauch </c:v>
                  </c:pt>
                  <c:pt idx="4">
                    <c:v>Einspeisung </c:v>
                  </c:pt>
                  <c:pt idx="5">
                    <c:v>Jahresverbrauch </c:v>
                  </c:pt>
                </c:lvl>
                <c:lvl>
                  <c:pt idx="0">
                    <c:v>2018</c:v>
                  </c:pt>
                  <c:pt idx="2">
                    <c:v>2019</c:v>
                  </c:pt>
                  <c:pt idx="4">
                    <c:v>2020</c:v>
                  </c:pt>
                </c:lvl>
              </c:multiLvlStrCache>
            </c:multiLvlStrRef>
          </c:cat>
          <c:val>
            <c:numRef>
              <c:f>Tabelle1!$S$43:$S$48</c:f>
              <c:numCache>
                <c:formatCode>General</c:formatCode>
                <c:ptCount val="6"/>
                <c:pt idx="0" formatCode="#,##0">
                  <c:v>37051</c:v>
                </c:pt>
                <c:pt idx="2" formatCode="#,##0">
                  <c:v>35666</c:v>
                </c:pt>
                <c:pt idx="4" formatCode="#,##0">
                  <c:v>355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CFCC-4EFA-966E-ADB4F7C80CCE}"/>
            </c:ext>
          </c:extLst>
        </c:ser>
        <c:ser>
          <c:idx val="10"/>
          <c:order val="10"/>
          <c:tx>
            <c:strRef>
              <c:f>Tabelle1!$T$42</c:f>
              <c:strCache>
                <c:ptCount val="1"/>
                <c:pt idx="0">
                  <c:v>Wind</c:v>
                </c:pt>
              </c:strCache>
            </c:strRef>
          </c:tx>
          <c:spPr>
            <a:solidFill>
              <a:srgbClr val="000099">
                <a:lumMod val="60000"/>
                <a:lumOff val="40000"/>
              </a:srgbClr>
            </a:solidFill>
            <a:ln>
              <a:noFill/>
            </a:ln>
            <a:effectLst/>
          </c:spPr>
          <c:invertIfNegative val="0"/>
          <c:cat>
            <c:multiLvlStrRef>
              <c:f>Tabelle1!$H$43:$I$48</c:f>
              <c:multiLvlStrCache>
                <c:ptCount val="6"/>
                <c:lvl>
                  <c:pt idx="0">
                    <c:v>Einspeisung </c:v>
                  </c:pt>
                  <c:pt idx="1">
                    <c:v>Jahresverbrauch </c:v>
                  </c:pt>
                  <c:pt idx="2">
                    <c:v>Einspeisung </c:v>
                  </c:pt>
                  <c:pt idx="3">
                    <c:v>Jahresverbrauch </c:v>
                  </c:pt>
                  <c:pt idx="4">
                    <c:v>Einspeisung </c:v>
                  </c:pt>
                  <c:pt idx="5">
                    <c:v>Jahresverbrauch </c:v>
                  </c:pt>
                </c:lvl>
                <c:lvl>
                  <c:pt idx="0">
                    <c:v>2018</c:v>
                  </c:pt>
                  <c:pt idx="2">
                    <c:v>2019</c:v>
                  </c:pt>
                  <c:pt idx="4">
                    <c:v>2020</c:v>
                  </c:pt>
                </c:lvl>
              </c:multiLvlStrCache>
            </c:multiLvlStrRef>
          </c:cat>
          <c:val>
            <c:numRef>
              <c:f>Tabelle1!$T$43:$T$48</c:f>
              <c:numCache>
                <c:formatCode>General</c:formatCode>
                <c:ptCount val="6"/>
                <c:pt idx="0" formatCode="#,##0">
                  <c:v>3308</c:v>
                </c:pt>
                <c:pt idx="2" formatCode="#,##0">
                  <c:v>3498</c:v>
                </c:pt>
                <c:pt idx="4" formatCode="#,##0">
                  <c:v>35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CFCC-4EFA-966E-ADB4F7C80CCE}"/>
            </c:ext>
          </c:extLst>
        </c:ser>
        <c:ser>
          <c:idx val="11"/>
          <c:order val="11"/>
          <c:tx>
            <c:strRef>
              <c:f>Tabelle1!$U$42</c:f>
              <c:strCache>
                <c:ptCount val="1"/>
                <c:pt idx="0">
                  <c:v>Wasser</c:v>
                </c:pt>
              </c:strCache>
            </c:strRef>
          </c:tx>
          <c:spPr>
            <a:solidFill>
              <a:srgbClr val="63F6FD"/>
            </a:solidFill>
            <a:ln>
              <a:noFill/>
            </a:ln>
            <a:effectLst/>
          </c:spPr>
          <c:invertIfNegative val="0"/>
          <c:cat>
            <c:multiLvlStrRef>
              <c:f>Tabelle1!$H$43:$I$48</c:f>
              <c:multiLvlStrCache>
                <c:ptCount val="6"/>
                <c:lvl>
                  <c:pt idx="0">
                    <c:v>Einspeisung </c:v>
                  </c:pt>
                  <c:pt idx="1">
                    <c:v>Jahresverbrauch </c:v>
                  </c:pt>
                  <c:pt idx="2">
                    <c:v>Einspeisung </c:v>
                  </c:pt>
                  <c:pt idx="3">
                    <c:v>Jahresverbrauch </c:v>
                  </c:pt>
                  <c:pt idx="4">
                    <c:v>Einspeisung </c:v>
                  </c:pt>
                  <c:pt idx="5">
                    <c:v>Jahresverbrauch </c:v>
                  </c:pt>
                </c:lvl>
                <c:lvl>
                  <c:pt idx="0">
                    <c:v>2018</c:v>
                  </c:pt>
                  <c:pt idx="2">
                    <c:v>2019</c:v>
                  </c:pt>
                  <c:pt idx="4">
                    <c:v>2020</c:v>
                  </c:pt>
                </c:lvl>
              </c:multiLvlStrCache>
            </c:multiLvlStrRef>
          </c:cat>
          <c:val>
            <c:numRef>
              <c:f>Tabelle1!$U$43:$U$48</c:f>
              <c:numCache>
                <c:formatCode>General</c:formatCode>
                <c:ptCount val="6"/>
                <c:pt idx="0" formatCode="#,##0">
                  <c:v>24</c:v>
                </c:pt>
                <c:pt idx="2" formatCode="#,##0">
                  <c:v>17</c:v>
                </c:pt>
                <c:pt idx="4" formatCode="#,##0">
                  <c:v>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EC95-4B5F-B262-20445794D752}"/>
            </c:ext>
          </c:extLst>
        </c:ser>
        <c:ser>
          <c:idx val="12"/>
          <c:order val="12"/>
          <c:tx>
            <c:strRef>
              <c:f>Tabelle1!$V$42</c:f>
              <c:strCache>
                <c:ptCount val="1"/>
                <c:pt idx="0">
                  <c:v>KWK</c:v>
                </c:pt>
              </c:strCache>
            </c:strRef>
          </c:tx>
          <c:spPr>
            <a:solidFill>
              <a:srgbClr val="FF9900">
                <a:lumMod val="75000"/>
              </a:srgbClr>
            </a:solidFill>
            <a:ln>
              <a:noFill/>
            </a:ln>
            <a:effectLst/>
          </c:spPr>
          <c:invertIfNegative val="0"/>
          <c:cat>
            <c:multiLvlStrRef>
              <c:f>Tabelle1!$H$43:$I$48</c:f>
              <c:multiLvlStrCache>
                <c:ptCount val="6"/>
                <c:lvl>
                  <c:pt idx="0">
                    <c:v>Einspeisung </c:v>
                  </c:pt>
                  <c:pt idx="1">
                    <c:v>Jahresverbrauch </c:v>
                  </c:pt>
                  <c:pt idx="2">
                    <c:v>Einspeisung </c:v>
                  </c:pt>
                  <c:pt idx="3">
                    <c:v>Jahresverbrauch </c:v>
                  </c:pt>
                  <c:pt idx="4">
                    <c:v>Einspeisung </c:v>
                  </c:pt>
                  <c:pt idx="5">
                    <c:v>Jahresverbrauch </c:v>
                  </c:pt>
                </c:lvl>
                <c:lvl>
                  <c:pt idx="0">
                    <c:v>2018</c:v>
                  </c:pt>
                  <c:pt idx="2">
                    <c:v>2019</c:v>
                  </c:pt>
                  <c:pt idx="4">
                    <c:v>2020</c:v>
                  </c:pt>
                </c:lvl>
              </c:multiLvlStrCache>
            </c:multiLvlStrRef>
          </c:cat>
          <c:val>
            <c:numRef>
              <c:f>Tabelle1!$V$43:$V$48</c:f>
              <c:numCache>
                <c:formatCode>General</c:formatCode>
                <c:ptCount val="6"/>
                <c:pt idx="0" formatCode="#,##0">
                  <c:v>65</c:v>
                </c:pt>
                <c:pt idx="2" formatCode="#,##0">
                  <c:v>173</c:v>
                </c:pt>
                <c:pt idx="4" formatCode="#,##0">
                  <c:v>2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03A7-496D-8F50-129CD70910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684447216"/>
        <c:axId val="684446232"/>
        <c:extLst/>
      </c:barChart>
      <c:catAx>
        <c:axId val="6844472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3B3B3B">
                <a:lumMod val="40000"/>
                <a:lumOff val="60000"/>
              </a:srgb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684446232"/>
        <c:crosses val="autoZero"/>
        <c:auto val="1"/>
        <c:lblAlgn val="ctr"/>
        <c:lblOffset val="100"/>
        <c:noMultiLvlLbl val="0"/>
      </c:catAx>
      <c:valAx>
        <c:axId val="684446232"/>
        <c:scaling>
          <c:orientation val="minMax"/>
          <c:max val="180000"/>
          <c:min val="0"/>
        </c:scaling>
        <c:delete val="0"/>
        <c:axPos val="l"/>
        <c:majorGridlines>
          <c:spPr>
            <a:ln w="9525" cap="flat" cmpd="sng" algn="ctr">
              <a:solidFill>
                <a:srgbClr val="E3E3E3">
                  <a:lumMod val="90000"/>
                </a:srgb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de-DE" sz="1200"/>
                  <a:t> MWh  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68444721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9.0481242140022955E-2"/>
          <c:y val="0.88567797919400149"/>
          <c:w val="0.90797379431026237"/>
          <c:h val="9.924893712011922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4">
    <c:autoUpdate val="0"/>
  </c:externalData>
  <c:userShapes r:id="rId5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spPr>
            <a:ln w="0" cap="sq" cmpd="sng">
              <a:noFill/>
              <a:prstDash val="solid"/>
            </a:ln>
          </c:spPr>
          <c:dPt>
            <c:idx val="0"/>
            <c:bubble3D val="0"/>
            <c:spPr>
              <a:solidFill>
                <a:schemeClr val="accent2"/>
              </a:solidFill>
              <a:ln w="0" cap="sq" cmpd="sng">
                <a:noFill/>
                <a:prstDash val="solid"/>
              </a:ln>
              <a:effectLst/>
            </c:spPr>
            <c:extLst>
              <c:ext xmlns:c16="http://schemas.microsoft.com/office/drawing/2014/chart" uri="{C3380CC4-5D6E-409C-BE32-E72D297353CC}">
                <c16:uniqueId val="{00000001-3469-40B2-8E40-A608D1057D36}"/>
              </c:ext>
            </c:extLst>
          </c:dPt>
          <c:dPt>
            <c:idx val="1"/>
            <c:bubble3D val="0"/>
            <c:spPr>
              <a:solidFill>
                <a:schemeClr val="tx2"/>
              </a:solidFill>
              <a:ln w="0" cap="sq" cmpd="sng">
                <a:noFill/>
                <a:prstDash val="solid"/>
              </a:ln>
              <a:effectLst/>
            </c:spPr>
            <c:extLst>
              <c:ext xmlns:c16="http://schemas.microsoft.com/office/drawing/2014/chart" uri="{C3380CC4-5D6E-409C-BE32-E72D297353CC}">
                <c16:uniqueId val="{00000003-3469-40B2-8E40-A608D1057D36}"/>
              </c:ext>
            </c:extLst>
          </c:dPt>
          <c:dPt>
            <c:idx val="2"/>
            <c:bubble3D val="0"/>
            <c:spPr>
              <a:solidFill>
                <a:schemeClr val="accent6"/>
              </a:solidFill>
              <a:ln w="0" cap="sq" cmpd="sng">
                <a:noFill/>
                <a:prstDash val="solid"/>
              </a:ln>
              <a:effectLst/>
            </c:spPr>
            <c:extLst>
              <c:ext xmlns:c16="http://schemas.microsoft.com/office/drawing/2014/chart" uri="{C3380CC4-5D6E-409C-BE32-E72D297353CC}">
                <c16:uniqueId val="{00000005-3469-40B2-8E40-A608D1057D36}"/>
              </c:ext>
            </c:extLst>
          </c:dPt>
          <c:cat>
            <c:strRef>
              <c:f>Tabelle1!$A$2:$A$4</c:f>
              <c:strCache>
                <c:ptCount val="3"/>
                <c:pt idx="0">
                  <c:v>1. Quartal</c:v>
                </c:pt>
                <c:pt idx="1">
                  <c:v>2. Quartal</c:v>
                </c:pt>
                <c:pt idx="2">
                  <c:v>3. Quartal</c:v>
                </c:pt>
              </c:strCache>
            </c:strRef>
          </c:cat>
          <c:val>
            <c:numRef>
              <c:f>Tabelle1!$B$2:$B$4</c:f>
              <c:numCache>
                <c:formatCode>General</c:formatCode>
                <c:ptCount val="3"/>
                <c:pt idx="0">
                  <c:v>33.33</c:v>
                </c:pt>
                <c:pt idx="1">
                  <c:v>33.33</c:v>
                </c:pt>
                <c:pt idx="2">
                  <c:v>33.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3469-40B2-8E40-A608D1057D3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302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9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78185</cdr:x>
      <cdr:y>0.21678</cdr:y>
    </cdr:from>
    <cdr:to>
      <cdr:x>0.8842</cdr:x>
      <cdr:y>0.2594</cdr:y>
    </cdr:to>
    <cdr:sp macro="" textlink="">
      <cdr:nvSpPr>
        <cdr:cNvPr id="2" name="Textfeld 1">
          <a:extLst xmlns:a="http://schemas.openxmlformats.org/drawingml/2006/main">
            <a:ext uri="{FF2B5EF4-FFF2-40B4-BE49-F238E27FC236}">
              <a16:creationId xmlns:a16="http://schemas.microsoft.com/office/drawing/2014/main" id="{37689569-80E6-4700-8AAE-44F1D05DC76C}"/>
            </a:ext>
          </a:extLst>
        </cdr:cNvPr>
        <cdr:cNvSpPr txBox="1"/>
      </cdr:nvSpPr>
      <cdr:spPr bwMode="gray">
        <a:xfrm xmlns:a="http://schemas.openxmlformats.org/drawingml/2006/main">
          <a:off x="9378383" y="1095915"/>
          <a:ext cx="1227712" cy="215444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</cdr:spPr>
      <cdr:txBody>
        <a:bodyPr xmlns:a="http://schemas.openxmlformats.org/drawingml/2006/main" vertOverflow="clip" wrap="square" lIns="0" tIns="0" rIns="0" bIns="0" rtlCol="0">
          <a:spAutoFit/>
        </a:bodyPr>
        <a:lstStyle xmlns:a="http://schemas.openxmlformats.org/drawingml/2006/main"/>
        <a:p xmlns:a="http://schemas.openxmlformats.org/drawingml/2006/main">
          <a:pPr marL="0" indent="0">
            <a:spcBef>
              <a:spcPts val="0"/>
            </a:spcBef>
            <a:buClr>
              <a:schemeClr val="accent6"/>
            </a:buClr>
            <a:buSzPct val="140000"/>
            <a:buNone/>
          </a:pPr>
          <a:r>
            <a:rPr lang="de-DE" sz="1400" dirty="0">
              <a:ea typeface="DIN-Regular" panose="020B0500010101010101" pitchFamily="34" charset="0"/>
            </a:rPr>
            <a:t>c</a:t>
          </a:r>
          <a:r>
            <a:rPr lang="de-DE" sz="1400" dirty="0">
              <a:latin typeface="+mn-lt"/>
              <a:ea typeface="DIN-Regular" panose="020B0500010101010101" pitchFamily="34" charset="0"/>
            </a:rPr>
            <a:t>a. 137 MWh</a:t>
          </a:r>
        </a:p>
      </cdr:txBody>
    </cdr:sp>
  </cdr:relSizeAnchor>
  <cdr:relSizeAnchor xmlns:cdr="http://schemas.openxmlformats.org/drawingml/2006/chartDrawing">
    <cdr:from>
      <cdr:x>0.84703</cdr:x>
      <cdr:y>0.26453</cdr:y>
    </cdr:from>
    <cdr:to>
      <cdr:x>0.87787</cdr:x>
      <cdr:y>0.30221</cdr:y>
    </cdr:to>
    <cdr:cxnSp macro="">
      <cdr:nvCxnSpPr>
        <cdr:cNvPr id="4" name="Gerade Verbindung mit Pfeil 3">
          <a:extLst xmlns:a="http://schemas.openxmlformats.org/drawingml/2006/main">
            <a:ext uri="{FF2B5EF4-FFF2-40B4-BE49-F238E27FC236}">
              <a16:creationId xmlns:a16="http://schemas.microsoft.com/office/drawing/2014/main" id="{FC7F583A-A6EC-411A-ACE5-CB6A2E71AEEC}"/>
            </a:ext>
          </a:extLst>
        </cdr:cNvPr>
        <cdr:cNvCxnSpPr/>
      </cdr:nvCxnSpPr>
      <cdr:spPr bwMode="auto">
        <a:xfrm xmlns:a="http://schemas.openxmlformats.org/drawingml/2006/main">
          <a:off x="10160219" y="1337287"/>
          <a:ext cx="369870" cy="190500"/>
        </a:xfrm>
        <a:prstGeom xmlns:a="http://schemas.openxmlformats.org/drawingml/2006/main" prst="straightConnector1">
          <a:avLst/>
        </a:prstGeom>
        <a:solidFill xmlns:a="http://schemas.openxmlformats.org/drawingml/2006/main">
          <a:srgbClr val="F0F0F0"/>
        </a:solidFill>
        <a:ln xmlns:a="http://schemas.openxmlformats.org/drawingml/2006/main" w="9525" cap="flat" cmpd="sng" algn="ctr">
          <a:solidFill>
            <a:schemeClr val="tx1"/>
          </a:solidFill>
          <a:prstDash val="solid"/>
          <a:round/>
          <a:headEnd type="none" w="med" len="med"/>
          <a:tailEnd type="triangle"/>
        </a:ln>
        <a:effectLst xmlns:a="http://schemas.openxmlformats.org/drawingml/2006/main"/>
        <a:extLst xmlns:a="http://schemas.openxmlformats.org/drawingml/2006/main"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cdr:spPr>
    </cdr:cxn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D914531-331C-494F-834E-5C66291E7414}" type="datetimeFigureOut">
              <a:rPr lang="de-DE" smtClean="0"/>
              <a:t>13.05.2022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864539-6A90-4258-AAB8-8603A44367A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2833735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-142875" y="-3175"/>
            <a:ext cx="7256463" cy="4081463"/>
          </a:xfrm>
          <a:prstGeom prst="rect">
            <a:avLst/>
          </a:prstGeom>
          <a:noFill/>
          <a:ln w="12700">
            <a:noFill/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11" name="Notizenplatzhalter 10"/>
          <p:cNvSpPr>
            <a:spLocks noGrp="1"/>
          </p:cNvSpPr>
          <p:nvPr>
            <p:ph type="body" sz="quarter" idx="3"/>
          </p:nvPr>
        </p:nvSpPr>
        <p:spPr bwMode="gray">
          <a:xfrm>
            <a:off x="431598" y="4822282"/>
            <a:ext cx="6056764" cy="4743482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Textfeld 5"/>
          <p:cNvSpPr txBox="1"/>
          <p:nvPr/>
        </p:nvSpPr>
        <p:spPr bwMode="gray">
          <a:xfrm>
            <a:off x="431598" y="4421344"/>
            <a:ext cx="378357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200" b="0" baseline="0" dirty="0">
                <a:solidFill>
                  <a:schemeClr val="accent6"/>
                </a:solidFill>
                <a:latin typeface="EnBW DIN Pro"/>
                <a:ea typeface="DIN-Regular" panose="020B0500010101010101" pitchFamily="34" charset="0"/>
                <a:cs typeface="EnBW DIN Pro"/>
              </a:rPr>
              <a:t>Notizen:</a:t>
            </a:r>
          </a:p>
        </p:txBody>
      </p:sp>
    </p:spTree>
    <p:extLst>
      <p:ext uri="{BB962C8B-B14F-4D97-AF65-F5344CB8AC3E}">
        <p14:creationId xmlns:p14="http://schemas.microsoft.com/office/powerpoint/2010/main" val="20037291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600"/>
      </a:spcBef>
      <a:defRPr lang="de-DE" sz="1200" kern="1200" baseline="0" dirty="0" smtClean="0">
        <a:solidFill>
          <a:schemeClr val="tx1"/>
        </a:solidFill>
        <a:latin typeface="EnBW DIN Pro" panose="020B0504020101020102" pitchFamily="34" charset="0"/>
        <a:ea typeface="+mn-ea"/>
        <a:cs typeface="EnBW DIN Pro" panose="020B0504020101020102" pitchFamily="34" charset="0"/>
      </a:defRPr>
    </a:lvl1pPr>
    <a:lvl2pPr marL="162000" indent="-162000" algn="l" defTabSz="914400" rtl="0" eaLnBrk="1" latinLnBrk="0" hangingPunct="1">
      <a:spcBef>
        <a:spcPts val="600"/>
      </a:spcBef>
      <a:buClr>
        <a:schemeClr val="accent6"/>
      </a:buClr>
      <a:buFont typeface="EnBW DIN Pro" panose="020B0504020101020102" pitchFamily="34" charset="0"/>
      <a:buChar char="»"/>
      <a:defRPr lang="de-DE" sz="1200" kern="1200" dirty="0" smtClean="0">
        <a:solidFill>
          <a:schemeClr val="tx1"/>
        </a:solidFill>
        <a:latin typeface="EnBW DIN Pro" panose="020B0504020101020102" pitchFamily="34" charset="0"/>
        <a:ea typeface="+mn-ea"/>
        <a:cs typeface="EnBW DIN Pro" panose="020B0504020101020102" pitchFamily="34" charset="0"/>
      </a:defRPr>
    </a:lvl2pPr>
    <a:lvl3pPr marL="324000" indent="-162000" algn="l" defTabSz="914400" rtl="0" eaLnBrk="1" latinLnBrk="0" hangingPunct="1">
      <a:spcBef>
        <a:spcPts val="300"/>
      </a:spcBef>
      <a:buFont typeface="Symbol" panose="05050102010706020507" pitchFamily="18" charset="2"/>
      <a:buChar char="-"/>
      <a:defRPr lang="de-DE" sz="1200" kern="1200" dirty="0" smtClean="0">
        <a:solidFill>
          <a:schemeClr val="tx1"/>
        </a:solidFill>
        <a:latin typeface="EnBW DIN Pro" panose="020B0504020101020102" pitchFamily="34" charset="0"/>
        <a:ea typeface="+mn-ea"/>
        <a:cs typeface="EnBW DIN Pro" panose="020B0504020101020102" pitchFamily="34" charset="0"/>
      </a:defRPr>
    </a:lvl3pPr>
    <a:lvl4pPr marL="504000" indent="-162000" algn="l" defTabSz="914400" rtl="0" eaLnBrk="1" latinLnBrk="0" hangingPunct="1">
      <a:spcBef>
        <a:spcPts val="300"/>
      </a:spcBef>
      <a:buFont typeface="Symbol" panose="05050102010706020507" pitchFamily="18" charset="2"/>
      <a:buChar char="-"/>
      <a:defRPr lang="de-DE" sz="1000" kern="1200" dirty="0" smtClean="0">
        <a:solidFill>
          <a:schemeClr val="tx1"/>
        </a:solidFill>
        <a:latin typeface="EnBW DIN Pro" panose="020B0504020101020102" pitchFamily="34" charset="0"/>
        <a:ea typeface="+mn-ea"/>
        <a:cs typeface="EnBW DIN Pro" panose="020B0504020101020102" pitchFamily="34" charset="0"/>
      </a:defRPr>
    </a:lvl4pPr>
    <a:lvl5pPr marL="666000" indent="-162000" algn="l" defTabSz="914400" rtl="0" eaLnBrk="1" latinLnBrk="0" hangingPunct="1">
      <a:spcBef>
        <a:spcPts val="300"/>
      </a:spcBef>
      <a:buFont typeface="Symbol" panose="05050102010706020507" pitchFamily="18" charset="2"/>
      <a:buChar char="-"/>
      <a:defRPr lang="de-DE" sz="1000" kern="1200" dirty="0">
        <a:solidFill>
          <a:schemeClr val="tx1"/>
        </a:solidFill>
        <a:latin typeface="EnBW DIN Pro" panose="020B0504020101020102" pitchFamily="34" charset="0"/>
        <a:ea typeface="+mn-ea"/>
        <a:cs typeface="EnBW DIN Pro" panose="020B0504020101020102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142875" y="-3175"/>
            <a:ext cx="7256463" cy="40814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280067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lvl="2" indent="-285750" fontAlgn="base">
              <a:spcBef>
                <a:spcPts val="600"/>
              </a:spcBef>
              <a:buClr>
                <a:schemeClr val="accent6"/>
              </a:buClr>
              <a:buSzPct val="120000"/>
              <a:buFontTx/>
              <a:buChar char="-"/>
            </a:pPr>
            <a:r>
              <a:rPr lang="de-DE" sz="1600" kern="0" dirty="0">
                <a:ea typeface="DIN-Regular" panose="020B0500010101010101" pitchFamily="34" charset="0"/>
              </a:rPr>
              <a:t>Grafik zeigt die Veränderung der Energielandschaft durch die Energiewende</a:t>
            </a:r>
          </a:p>
          <a:p>
            <a:pPr marL="285750" lvl="2" indent="-285750" fontAlgn="base">
              <a:spcBef>
                <a:spcPts val="600"/>
              </a:spcBef>
              <a:buClr>
                <a:schemeClr val="accent6"/>
              </a:buClr>
              <a:buSzPct val="120000"/>
              <a:buFontTx/>
              <a:buChar char="-"/>
            </a:pPr>
            <a:r>
              <a:rPr lang="de-DE" sz="1600" dirty="0">
                <a:solidFill>
                  <a:schemeClr val="bg1"/>
                </a:solidFill>
                <a:latin typeface="EnBW DIN Pro"/>
                <a:ea typeface="DIN-Regular" panose="020B0500010101010101" pitchFamily="34" charset="0"/>
              </a:rPr>
              <a:t>In </a:t>
            </a:r>
            <a:r>
              <a:rPr lang="de-DE" sz="1600" b="1" dirty="0">
                <a:solidFill>
                  <a:schemeClr val="bg1"/>
                </a:solidFill>
                <a:latin typeface="EnBW DIN Pro"/>
                <a:ea typeface="DIN-Regular" panose="020B0500010101010101" pitchFamily="34" charset="0"/>
              </a:rPr>
              <a:t>Vergangenheit</a:t>
            </a:r>
            <a:r>
              <a:rPr lang="de-DE" sz="1600" dirty="0">
                <a:solidFill>
                  <a:schemeClr val="bg1"/>
                </a:solidFill>
                <a:latin typeface="EnBW DIN Pro"/>
                <a:ea typeface="DIN-Regular" panose="020B0500010101010101" pitchFamily="34" charset="0"/>
              </a:rPr>
              <a:t> wurde unsere Energie ausschließlich durch große fossile Kraftwerke erzeugt</a:t>
            </a:r>
          </a:p>
          <a:p>
            <a:pPr marL="285750" lvl="2" indent="-285750" fontAlgn="base">
              <a:spcBef>
                <a:spcPts val="600"/>
              </a:spcBef>
              <a:buClr>
                <a:schemeClr val="accent6"/>
              </a:buClr>
              <a:buSzPct val="120000"/>
              <a:buFontTx/>
              <a:buChar char="-"/>
            </a:pPr>
            <a:r>
              <a:rPr lang="de-DE" sz="1600" dirty="0">
                <a:solidFill>
                  <a:schemeClr val="bg1"/>
                </a:solidFill>
                <a:latin typeface="EnBW DIN Pro"/>
                <a:ea typeface="DIN-Regular" panose="020B0500010101010101" pitchFamily="34" charset="0"/>
              </a:rPr>
              <a:t>Energie 80% ins Höchst- und Hochspannungsnetz einspeist, darauf ausgelegt ist große Mengen an Energie aufzunehmen und perfekt überwacht, fernsteuerbar und (n-1)-sicher</a:t>
            </a:r>
          </a:p>
          <a:p>
            <a:pPr marL="285750" lvl="2" indent="-285750" fontAlgn="base">
              <a:spcBef>
                <a:spcPts val="600"/>
              </a:spcBef>
              <a:buClr>
                <a:schemeClr val="accent6"/>
              </a:buClr>
              <a:buSzPct val="120000"/>
              <a:buFontTx/>
              <a:buChar char="-"/>
            </a:pPr>
            <a:r>
              <a:rPr lang="de-DE" sz="1600" kern="0" dirty="0">
                <a:solidFill>
                  <a:schemeClr val="bg1"/>
                </a:solidFill>
                <a:latin typeface="EnBW DIN Pro"/>
                <a:ea typeface="DIN-Regular" panose="020B0500010101010101" pitchFamily="34" charset="0"/>
              </a:rPr>
              <a:t>Nieder- und Mittelspannungsebenen des Verteilnetzes ausschließlich für die Verteilung Energie zum Verbraucher, wenig intelligent</a:t>
            </a:r>
          </a:p>
          <a:p>
            <a:pPr marL="285750" lvl="2" indent="-285750" fontAlgn="base">
              <a:spcBef>
                <a:spcPts val="600"/>
              </a:spcBef>
              <a:buClr>
                <a:schemeClr val="accent6"/>
              </a:buClr>
              <a:buSzPct val="120000"/>
              <a:buFontTx/>
              <a:buChar char="-"/>
            </a:pPr>
            <a:endParaRPr lang="de-DE" sz="1600" kern="0" dirty="0">
              <a:solidFill>
                <a:schemeClr val="bg1"/>
              </a:solidFill>
              <a:latin typeface="EnBW DIN Pro"/>
              <a:ea typeface="DIN-Regular" panose="020B0500010101010101" pitchFamily="34" charset="0"/>
            </a:endParaRPr>
          </a:p>
          <a:p>
            <a:pPr marL="285750" lvl="2" indent="-285750" fontAlgn="base">
              <a:spcBef>
                <a:spcPts val="600"/>
              </a:spcBef>
              <a:buClr>
                <a:schemeClr val="accent6"/>
              </a:buClr>
              <a:buSzPct val="120000"/>
              <a:buFontTx/>
              <a:buChar char="-"/>
            </a:pPr>
            <a:r>
              <a:rPr lang="de-DE" sz="1600" kern="0" dirty="0">
                <a:solidFill>
                  <a:schemeClr val="bg1"/>
                </a:solidFill>
                <a:latin typeface="EnBW DIN Pro"/>
                <a:ea typeface="DIN-Regular" panose="020B0500010101010101" pitchFamily="34" charset="0"/>
              </a:rPr>
              <a:t>Heute verlagert sich Energieerzeugung in die Verteilnetze.</a:t>
            </a:r>
          </a:p>
          <a:p>
            <a:pPr marL="285750" lvl="2" indent="-285750" fontAlgn="base">
              <a:spcBef>
                <a:spcPts val="600"/>
              </a:spcBef>
              <a:buClr>
                <a:schemeClr val="accent6"/>
              </a:buClr>
              <a:buSzPct val="120000"/>
              <a:buFontTx/>
              <a:buChar char="-"/>
            </a:pPr>
            <a:r>
              <a:rPr lang="de-DE" sz="1600" kern="0" dirty="0">
                <a:solidFill>
                  <a:schemeClr val="bg1"/>
                </a:solidFill>
                <a:latin typeface="EnBW DIN Pro"/>
                <a:ea typeface="DIN-Regular" panose="020B0500010101010101" pitchFamily="34" charset="0"/>
              </a:rPr>
              <a:t>Kraftwerke zunehmend durch fluktuierende, erneuerbare Erzeugungsanlagen ersetzt </a:t>
            </a:r>
          </a:p>
          <a:p>
            <a:pPr marL="285750" lvl="2" indent="-285750" fontAlgn="base">
              <a:spcBef>
                <a:spcPts val="600"/>
              </a:spcBef>
              <a:buClr>
                <a:schemeClr val="accent6"/>
              </a:buClr>
              <a:buSzPct val="120000"/>
              <a:buFontTx/>
              <a:buChar char="-"/>
            </a:pPr>
            <a:r>
              <a:rPr lang="de-DE" sz="1600" kern="0" dirty="0">
                <a:solidFill>
                  <a:schemeClr val="bg1"/>
                </a:solidFill>
                <a:latin typeface="EnBW DIN Pro"/>
                <a:ea typeface="DIN-Regular" panose="020B0500010101010101" pitchFamily="34" charset="0"/>
              </a:rPr>
              <a:t>In </a:t>
            </a:r>
            <a:r>
              <a:rPr lang="de-DE" sz="1600" b="1" kern="0" dirty="0">
                <a:solidFill>
                  <a:schemeClr val="bg1"/>
                </a:solidFill>
                <a:latin typeface="EnBW DIN Pro"/>
                <a:ea typeface="DIN-Regular" panose="020B0500010101010101" pitchFamily="34" charset="0"/>
              </a:rPr>
              <a:t>Zukunft</a:t>
            </a:r>
            <a:r>
              <a:rPr lang="de-DE" sz="1600" kern="0" dirty="0">
                <a:solidFill>
                  <a:schemeClr val="bg1"/>
                </a:solidFill>
                <a:latin typeface="EnBW DIN Pro"/>
                <a:ea typeface="DIN-Regular" panose="020B0500010101010101" pitchFamily="34" charset="0"/>
              </a:rPr>
              <a:t>, 2050, wird 90% der Energie durch kleine Anlagen erzeugt werden, die dezentral auf der Mittel- und Niederspannungsebene im Verteilnetz angeschlossen sind. </a:t>
            </a:r>
          </a:p>
          <a:p>
            <a:pPr marL="285750" lvl="2" indent="-285750" fontAlgn="base">
              <a:spcBef>
                <a:spcPts val="600"/>
              </a:spcBef>
              <a:buClr>
                <a:schemeClr val="accent6"/>
              </a:buClr>
              <a:buSzPct val="120000"/>
              <a:buFontTx/>
              <a:buChar char="-"/>
            </a:pPr>
            <a:r>
              <a:rPr lang="de-DE" sz="1200" dirty="0">
                <a:solidFill>
                  <a:schemeClr val="bg1"/>
                </a:solidFill>
                <a:latin typeface="EnBW DIN Pro"/>
                <a:ea typeface="DIN-Regular" panose="020B0500010101010101" pitchFamily="34" charset="0"/>
              </a:rPr>
              <a:t>In Photovoltaik-dominierten Baden-Württemberg sehen wir diese Entwicklung schon sehr stark, im Netz der Netze BW sind schon heute über 160 000 EE-Anlagen angeschlossen(</a:t>
            </a:r>
            <a:r>
              <a:rPr lang="de-DE" sz="1200" i="1" dirty="0">
                <a:solidFill>
                  <a:schemeClr val="bg1"/>
                </a:solidFill>
                <a:latin typeface="EnBW DIN Pro"/>
                <a:ea typeface="DIN-Regular" panose="020B0500010101010101" pitchFamily="34" charset="0"/>
              </a:rPr>
              <a:t>Quelle: Unternehmenspräsentation).</a:t>
            </a:r>
          </a:p>
          <a:p>
            <a:pPr marL="0" lvl="2" indent="0" fontAlgn="base">
              <a:spcBef>
                <a:spcPts val="600"/>
              </a:spcBef>
              <a:buClr>
                <a:schemeClr val="accent6"/>
              </a:buClr>
              <a:buSzPct val="120000"/>
              <a:buFontTx/>
              <a:buNone/>
            </a:pPr>
            <a:endParaRPr lang="de-DE" sz="1600" kern="0" dirty="0">
              <a:solidFill>
                <a:schemeClr val="bg1"/>
              </a:solidFill>
              <a:latin typeface="EnBW DIN Pro"/>
              <a:ea typeface="DIN-Regular" panose="020B0500010101010101" pitchFamily="34" charset="0"/>
            </a:endParaRPr>
          </a:p>
          <a:p>
            <a:pPr marL="285750" lvl="2" indent="-285750" fontAlgn="base">
              <a:spcBef>
                <a:spcPts val="600"/>
              </a:spcBef>
              <a:buClr>
                <a:schemeClr val="accent6"/>
              </a:buClr>
              <a:buSzPct val="120000"/>
              <a:buFontTx/>
              <a:buChar char="-"/>
            </a:pPr>
            <a:r>
              <a:rPr lang="de-DE" sz="1600" kern="0" dirty="0">
                <a:solidFill>
                  <a:schemeClr val="bg1"/>
                </a:solidFill>
                <a:latin typeface="EnBW DIN Pro"/>
                <a:ea typeface="DIN-Regular" panose="020B0500010101010101" pitchFamily="34" charset="0"/>
              </a:rPr>
              <a:t>Energielandschaft verändert sich auch auf </a:t>
            </a:r>
            <a:r>
              <a:rPr lang="de-DE" sz="1600" b="1" kern="0" dirty="0">
                <a:solidFill>
                  <a:schemeClr val="bg1"/>
                </a:solidFill>
                <a:latin typeface="EnBW DIN Pro"/>
                <a:ea typeface="DIN-Regular" panose="020B0500010101010101" pitchFamily="34" charset="0"/>
              </a:rPr>
              <a:t>Verbraucherseite</a:t>
            </a:r>
            <a:r>
              <a:rPr lang="de-DE" sz="1600" kern="0" dirty="0">
                <a:solidFill>
                  <a:schemeClr val="bg1"/>
                </a:solidFill>
                <a:latin typeface="EnBW DIN Pro"/>
                <a:ea typeface="DIN-Regular" panose="020B0500010101010101" pitchFamily="34" charset="0"/>
              </a:rPr>
              <a:t>: </a:t>
            </a:r>
          </a:p>
          <a:p>
            <a:pPr marL="285750" lvl="2" indent="-285750" fontAlgn="base">
              <a:spcBef>
                <a:spcPts val="600"/>
              </a:spcBef>
              <a:buClr>
                <a:schemeClr val="accent6"/>
              </a:buClr>
              <a:buSzPct val="120000"/>
              <a:buFontTx/>
              <a:buChar char="-"/>
            </a:pPr>
            <a:r>
              <a:rPr lang="de-DE" sz="1600" kern="0" dirty="0">
                <a:solidFill>
                  <a:schemeClr val="bg1"/>
                </a:solidFill>
                <a:latin typeface="EnBW DIN Pro"/>
                <a:ea typeface="DIN-Regular" panose="020B0500010101010101" pitchFamily="34" charset="0"/>
              </a:rPr>
              <a:t>Elektrifizierung vom Mobilitäts- und Wärmesektor, massenhaft neue Verbraucheranlagen wie Ladeeinrichtungen für Elektrofahrzeuge und Wärmepumpen auf der Niederspannungsebene angeschlossen</a:t>
            </a:r>
          </a:p>
          <a:p>
            <a:pPr marL="285750" lvl="2" indent="-285750" fontAlgn="base">
              <a:spcBef>
                <a:spcPts val="600"/>
              </a:spcBef>
              <a:buClr>
                <a:schemeClr val="accent6"/>
              </a:buClr>
              <a:buSzPct val="120000"/>
              <a:buFontTx/>
              <a:buChar char="-"/>
            </a:pPr>
            <a:endParaRPr lang="de-DE" sz="1600" kern="0" dirty="0">
              <a:solidFill>
                <a:schemeClr val="bg1"/>
              </a:solidFill>
              <a:latin typeface="EnBW DIN Pro"/>
              <a:ea typeface="DIN-Regular" panose="020B0500010101010101" pitchFamily="34" charset="0"/>
            </a:endParaRPr>
          </a:p>
          <a:p>
            <a:pPr marL="285750" marR="0" lvl="2" indent="-28575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SzPct val="120000"/>
              <a:buFontTx/>
              <a:buChar char="-"/>
              <a:tabLst/>
              <a:defRPr/>
            </a:pPr>
            <a:r>
              <a:rPr lang="de-DE" sz="1600" kern="0" dirty="0">
                <a:solidFill>
                  <a:schemeClr val="bg1"/>
                </a:solidFill>
                <a:latin typeface="EnBW DIN Pro"/>
                <a:ea typeface="DIN-Regular" panose="020B0500010101010101" pitchFamily="34" charset="0"/>
              </a:rPr>
              <a:t>Diese Entwicklung ist große Herausforderung für die Verteilnetze, die Komplexität der Aufgaben und zu bewältigenden Datenmengen steigt enorm.</a:t>
            </a:r>
          </a:p>
          <a:p>
            <a:pPr marL="285750" marR="0" lvl="2" indent="-28575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SzPct val="120000"/>
              <a:buFontTx/>
              <a:buChar char="-"/>
              <a:tabLst/>
              <a:defRPr/>
            </a:pPr>
            <a:r>
              <a:rPr lang="de-DE" sz="1600" b="0" i="0" kern="0" dirty="0">
                <a:solidFill>
                  <a:schemeClr val="bg1"/>
                </a:solidFill>
                <a:latin typeface="EnBW DIN Pro"/>
                <a:ea typeface="DIN-Regular" panose="020B0500010101010101" pitchFamily="34" charset="0"/>
              </a:rPr>
              <a:t>Daher heute mit Ihnen einen Blick auf die Zukunft des Niederspannungsnetzes werfen. Was </a:t>
            </a:r>
            <a:r>
              <a:rPr lang="de-DE" sz="1200" i="0" dirty="0">
                <a:solidFill>
                  <a:schemeClr val="bg1"/>
                </a:solidFill>
                <a:latin typeface="EnBW DIN Pro"/>
                <a:ea typeface="DIN-Regular" panose="020B0500010101010101" pitchFamily="34" charset="0"/>
              </a:rPr>
              <a:t>genau passiert dort bei der Integration dieser Vielzahl von Anlagen?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lang="de-DE" sz="1200" dirty="0">
              <a:solidFill>
                <a:schemeClr val="bg1"/>
              </a:solidFill>
              <a:latin typeface="EnBW DIN Pro"/>
              <a:ea typeface="DIN-Regular" panose="020B0500010101010101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dirty="0">
                <a:solidFill>
                  <a:schemeClr val="bg1"/>
                </a:solidFill>
                <a:latin typeface="EnBW DIN Pro"/>
                <a:ea typeface="DIN-Regular" panose="020B0500010101010101" pitchFamily="34" charset="0"/>
              </a:rPr>
              <a:t>-------------------------------------------------------------------------------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dirty="0">
                <a:solidFill>
                  <a:schemeClr val="bg1"/>
                </a:solidFill>
                <a:latin typeface="EnBW DIN Pro"/>
                <a:ea typeface="DIN-Regular" panose="020B0500010101010101" pitchFamily="34" charset="0"/>
              </a:rPr>
              <a:t>So werden in Deutschland im Jahr 2050 </a:t>
            </a:r>
            <a:r>
              <a:rPr lang="de-DE" sz="1200" b="1" dirty="0">
                <a:solidFill>
                  <a:schemeClr val="bg1"/>
                </a:solidFill>
                <a:latin typeface="EnBW DIN Pro"/>
                <a:ea typeface="DIN-Regular" panose="020B0500010101010101" pitchFamily="34" charset="0"/>
              </a:rPr>
              <a:t>6 Mio. Erzeugungsanlagen</a:t>
            </a:r>
            <a:r>
              <a:rPr lang="de-DE" sz="1200" dirty="0">
                <a:solidFill>
                  <a:schemeClr val="bg1"/>
                </a:solidFill>
                <a:latin typeface="EnBW DIN Pro"/>
                <a:ea typeface="DIN-Regular" panose="020B0500010101010101" pitchFamily="34" charset="0"/>
              </a:rPr>
              <a:t> aus Erneuerbaren Energien erwartet. (</a:t>
            </a:r>
            <a:r>
              <a:rPr lang="de-DE" sz="1200" b="0" i="1" dirty="0">
                <a:solidFill>
                  <a:schemeClr val="bg1"/>
                </a:solidFill>
                <a:latin typeface="EnBW DIN Pro"/>
                <a:ea typeface="DIN-Regular" panose="020B0500010101010101" pitchFamily="34" charset="0"/>
              </a:rPr>
              <a:t>Reduktion der CO2-Emissionen im Rahmen der Energiewende um 80 %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dirty="0">
                <a:solidFill>
                  <a:schemeClr val="bg1"/>
                </a:solidFill>
                <a:latin typeface="EnBW DIN Pro"/>
                <a:ea typeface="DIN-Regular" panose="020B0500010101010101" pitchFamily="34" charset="0"/>
              </a:rPr>
              <a:t>Außerdem kommen mit </a:t>
            </a:r>
            <a:r>
              <a:rPr lang="de-DE" sz="1200" b="1" dirty="0">
                <a:solidFill>
                  <a:schemeClr val="bg1"/>
                </a:solidFill>
                <a:latin typeface="EnBW DIN Pro"/>
                <a:ea typeface="DIN-Regular" panose="020B0500010101010101" pitchFamily="34" charset="0"/>
              </a:rPr>
              <a:t>28 Mio. Elektrofahrzeugen </a:t>
            </a:r>
            <a:r>
              <a:rPr lang="de-DE" sz="1200" dirty="0">
                <a:solidFill>
                  <a:schemeClr val="bg1"/>
                </a:solidFill>
                <a:latin typeface="EnBW DIN Pro"/>
                <a:ea typeface="DIN-Regular" panose="020B0500010101010101" pitchFamily="34" charset="0"/>
              </a:rPr>
              <a:t>und </a:t>
            </a:r>
            <a:r>
              <a:rPr lang="de-DE" sz="1200" b="1" dirty="0">
                <a:solidFill>
                  <a:schemeClr val="bg1"/>
                </a:solidFill>
                <a:latin typeface="EnBW DIN Pro"/>
                <a:ea typeface="DIN-Regular" panose="020B0500010101010101" pitchFamily="34" charset="0"/>
              </a:rPr>
              <a:t>12 Mio. Wärmepumpen</a:t>
            </a:r>
            <a:r>
              <a:rPr lang="de-DE" sz="1200" dirty="0">
                <a:solidFill>
                  <a:schemeClr val="bg1"/>
                </a:solidFill>
                <a:latin typeface="EnBW DIN Pro"/>
                <a:ea typeface="DIN-Regular" panose="020B0500010101010101" pitchFamily="34" charset="0"/>
              </a:rPr>
              <a:t> auch neue Verbraucher mit hohen Leistungen dazu. (</a:t>
            </a:r>
            <a:r>
              <a:rPr lang="de-DE" sz="1200" b="0" i="1" dirty="0">
                <a:solidFill>
                  <a:schemeClr val="bg1"/>
                </a:solidFill>
                <a:latin typeface="EnBW DIN Pro"/>
                <a:ea typeface="DIN-Regular" panose="020B0500010101010101" pitchFamily="34" charset="0"/>
              </a:rPr>
              <a:t>Reduktion der CO2-Emissionen im Rahmen der Energiewende um 80 %)</a:t>
            </a:r>
            <a:endParaRPr lang="de-DE" sz="1200" kern="1200" baseline="0" dirty="0">
              <a:solidFill>
                <a:schemeClr val="bg1"/>
              </a:solidFill>
              <a:latin typeface="EnBW DIN Pro"/>
              <a:ea typeface="DIN-Regular" panose="020B0500010101010101" pitchFamily="34" charset="0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dirty="0">
                <a:solidFill>
                  <a:schemeClr val="bg1"/>
                </a:solidFill>
                <a:latin typeface="EnBW DIN Pro"/>
                <a:ea typeface="DIN-Regular" panose="020B0500010101010101" pitchFamily="34" charset="0"/>
              </a:rPr>
              <a:t>Der größte Teil dieser Anlagen wird im Verteilnetz angeschlossen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200" dirty="0">
              <a:solidFill>
                <a:schemeClr val="bg1"/>
              </a:solidFill>
              <a:latin typeface="EnBW DIN Pro"/>
              <a:ea typeface="DIN-Regular" panose="020B0500010101010101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200" i="1" dirty="0">
              <a:solidFill>
                <a:schemeClr val="bg1"/>
              </a:solidFill>
              <a:latin typeface="EnBW DIN Pro"/>
              <a:ea typeface="DIN-Regular" panose="020B0500010101010101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200" dirty="0">
              <a:solidFill>
                <a:schemeClr val="bg1"/>
              </a:solidFill>
              <a:latin typeface="EnBW DIN Pro"/>
              <a:ea typeface="DIN-Regular" panose="020B0500010101010101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385867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Gewerbliche Fahrzeughalter: 726 (davon 614 Verbrennungsmotor; 67 Elektro; 45 Plug-In-Hybrid)</a:t>
            </a:r>
          </a:p>
          <a:p>
            <a:r>
              <a:rPr lang="de-DE" dirty="0"/>
              <a:t>Private Halter 9.158 (davon 9.019 Verbrennungsmotor; 96 Elektro; 43 Plug-In-Hybrid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PLZ 88410; Stand 01.01.2022; Quelle</a:t>
            </a:r>
            <a:r>
              <a:rPr lang="de-DE"/>
              <a:t>: Kraftfahrt-Bundesamt</a:t>
            </a:r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897727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47706">
              <a:defRPr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9719002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179417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4627256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2000062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/>
          </p:nvPr>
        </p:nvSpPr>
        <p:spPr>
          <a:xfrm>
            <a:off x="-142875" y="-3175"/>
            <a:ext cx="7256463" cy="4081463"/>
          </a:xfrm>
        </p:spPr>
      </p:sp>
      <p:sp>
        <p:nvSpPr>
          <p:cNvPr id="5" name="Notizenplatzhalt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063516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9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3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4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5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6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7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16687803"/>
              </p:ext>
            </p:ext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fik 9"/>
          <p:cNvPicPr preferRelativeResize="0"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7440" y="5795588"/>
            <a:ext cx="2115234" cy="503775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Rechteck 4"/>
          <p:cNvSpPr/>
          <p:nvPr userDrawn="1"/>
        </p:nvSpPr>
        <p:spPr bwMode="invGray">
          <a:xfrm>
            <a:off x="162001" y="162000"/>
            <a:ext cx="11871174" cy="3775075"/>
          </a:xfrm>
          <a:prstGeom prst="rect">
            <a:avLst/>
          </a:prstGeom>
          <a:gradFill>
            <a:gsLst>
              <a:gs pos="0">
                <a:srgbClr val="374A9A"/>
              </a:gs>
              <a:gs pos="100000">
                <a:srgbClr val="061671"/>
              </a:gs>
            </a:gsLst>
            <a:lin ang="30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0" rIns="9000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22" name="Textplatzhalter 8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62001" y="5971056"/>
            <a:ext cx="5773504" cy="153888"/>
          </a:xfrm>
          <a:solidFill>
            <a:srgbClr val="FFFFFF"/>
          </a:solidFill>
        </p:spPr>
        <p:txBody>
          <a:bodyPr wrap="square" lIns="306000" tIns="0" rIns="0">
            <a:spAutoFit/>
          </a:bodyPr>
          <a:lstStyle>
            <a:lvl1pPr>
              <a:defRPr lang="de-DE" sz="1000" b="0" kern="1200" dirty="0" smtClean="0">
                <a:solidFill>
                  <a:schemeClr val="tx1"/>
                </a:solidFill>
                <a:latin typeface="EnBW DIN Pro Medium" panose="020B0604020101020102" pitchFamily="34" charset="0"/>
                <a:ea typeface="+mn-ea"/>
                <a:cs typeface="EnBW DIN Pro Medium" panose="020B0604020101020102" pitchFamily="34" charset="0"/>
              </a:defRPr>
            </a:lvl1pPr>
          </a:lstStyle>
          <a:p>
            <a:pPr lvl="0"/>
            <a:r>
              <a:rPr lang="de-DE" dirty="0"/>
              <a:t>Ein Unternehmen der EnBW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62001" y="4020838"/>
            <a:ext cx="5791124" cy="1295400"/>
          </a:xfrm>
          <a:gradFill>
            <a:gsLst>
              <a:gs pos="0">
                <a:srgbClr val="FF9900"/>
              </a:gs>
              <a:gs pos="100000">
                <a:srgbClr val="EE7700"/>
              </a:gs>
            </a:gsLst>
            <a:lin ang="5400000" scaled="1"/>
          </a:gradFill>
        </p:spPr>
        <p:txBody>
          <a:bodyPr lIns="306000" tIns="288000"/>
          <a:lstStyle>
            <a:lvl1pPr>
              <a:lnSpc>
                <a:spcPct val="100000"/>
              </a:lnSpc>
              <a:spcBef>
                <a:spcPts val="0"/>
              </a:spcBef>
              <a:defRPr sz="1200" b="0">
                <a:solidFill>
                  <a:schemeClr val="bg1"/>
                </a:solidFill>
                <a:latin typeface="EnBW DIN Pro" panose="020B0504020101020102" pitchFamily="34" charset="0"/>
                <a:cs typeface="EnBW DIN Pro" panose="020B0504020101020102" pitchFamily="34" charset="0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900">
                <a:solidFill>
                  <a:schemeClr val="bg1"/>
                </a:solidFill>
                <a:latin typeface="EnBW DIN Pro" panose="020B0504020101020102" pitchFamily="34" charset="0"/>
                <a:cs typeface="EnBW DIN Pro" panose="020B0504020101020102" pitchFamily="34" charset="0"/>
              </a:defRPr>
            </a:lvl2pPr>
            <a:lvl3pPr>
              <a:defRPr>
                <a:solidFill>
                  <a:schemeClr val="bg1"/>
                </a:solidFill>
                <a:latin typeface="+mj-lt"/>
              </a:defRPr>
            </a:lvl3pPr>
            <a:lvl4pPr>
              <a:defRPr>
                <a:solidFill>
                  <a:schemeClr val="bg1"/>
                </a:solidFill>
                <a:latin typeface="+mj-lt"/>
              </a:defRPr>
            </a:lvl4pPr>
            <a:lvl5pPr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de-DE" noProof="0" dirty="0"/>
              <a:t>Zusatzinfo Subheadline 12pt</a:t>
            </a:r>
          </a:p>
          <a:p>
            <a:pPr lvl="1"/>
            <a:r>
              <a:rPr lang="de-DE" sz="900" noProof="0" dirty="0"/>
              <a:t>Abteilung oder Bereich</a:t>
            </a:r>
            <a:br>
              <a:rPr lang="de-DE" sz="900" noProof="0" dirty="0"/>
            </a:br>
            <a:r>
              <a:rPr lang="de-DE" sz="900" noProof="0" dirty="0"/>
              <a:t>Max Mustermann</a:t>
            </a:r>
            <a:br>
              <a:rPr lang="de-DE" sz="900" noProof="0" dirty="0"/>
            </a:br>
            <a:r>
              <a:rPr lang="de-DE" sz="900" noProof="0" dirty="0"/>
              <a:t>1. Juni 2014</a:t>
            </a:r>
          </a:p>
        </p:txBody>
      </p:sp>
      <p:sp>
        <p:nvSpPr>
          <p:cNvPr id="69635" name="Rectangle 3"/>
          <p:cNvSpPr>
            <a:spLocks noGrp="1" noChangeArrowheads="1"/>
          </p:cNvSpPr>
          <p:nvPr>
            <p:ph type="ctrTitle"/>
          </p:nvPr>
        </p:nvSpPr>
        <p:spPr bwMode="auto">
          <a:xfrm>
            <a:off x="469861" y="455699"/>
            <a:ext cx="11231661" cy="498598"/>
          </a:xfrm>
          <a:noFill/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3600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noProof="0"/>
              <a:t>Mastertitelformat bearbeiten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603604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0415441"/>
              </p:ext>
            </p:ext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5772" y="640724"/>
            <a:ext cx="9448166" cy="338554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 bwMode="gray">
          <a:xfrm>
            <a:off x="162001" y="1540799"/>
            <a:ext cx="11871173" cy="4912389"/>
          </a:xfrm>
        </p:spPr>
        <p:txBody>
          <a:bodyPr/>
          <a:lstStyle>
            <a:lvl1pPr>
              <a:defRPr b="0">
                <a:latin typeface="+mn-lt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4"/>
          </p:nvPr>
        </p:nvSpPr>
        <p:spPr>
          <a:xfrm>
            <a:off x="468312" y="4572000"/>
            <a:ext cx="5484813" cy="1638000"/>
          </a:xfrm>
          <a:solidFill>
            <a:schemeClr val="accent6"/>
          </a:solidFill>
        </p:spPr>
        <p:txBody>
          <a:bodyPr lIns="144000" tIns="144000" rIns="144000" bIns="144000"/>
          <a:lstStyle>
            <a:lvl1pPr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>
                <a:solidFill>
                  <a:schemeClr val="bg1"/>
                </a:solidFill>
                <a:latin typeface="EnBW DIN Pro"/>
                <a:cs typeface="EnBW DIN Pro"/>
                <a:sym typeface="EnBW DIN Pro"/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bg1"/>
                </a:solidFill>
              </a:defRPr>
            </a:lvl2pPr>
            <a:lvl3pPr marL="162000" indent="-16200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buFont typeface="EnBW DIN Pro" panose="020B0504020101020102" pitchFamily="34" charset="0"/>
              <a:buChar char="›"/>
              <a:defRPr sz="120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>
                <a:solidFill>
                  <a:schemeClr val="bg1"/>
                </a:solidFill>
              </a:defRPr>
            </a:lvl4pPr>
            <a:lvl5pPr>
              <a:lnSpc>
                <a:spcPts val="1500"/>
              </a:lnSpc>
              <a:spcAft>
                <a:spcPts val="0"/>
              </a:spcAft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2566487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9391198"/>
              </p:ext>
            </p:ext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312" y="640724"/>
            <a:ext cx="9445626" cy="338554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68312" y="5489352"/>
            <a:ext cx="5486988" cy="963836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1200" b="0">
                <a:solidFill>
                  <a:schemeClr val="tx1"/>
                </a:solidFill>
                <a:latin typeface="+mn-lt"/>
                <a:ea typeface="EnBW DIN Pro"/>
              </a:defRPr>
            </a:lvl1pPr>
          </a:lstStyle>
          <a:p>
            <a:pPr lvl="0"/>
            <a:r>
              <a:rPr lang="de-DE" dirty="0"/>
              <a:t>Fließtext Small</a:t>
            </a:r>
          </a:p>
        </p:txBody>
      </p:sp>
      <p:sp>
        <p:nvSpPr>
          <p:cNvPr id="9" name="Textplatzhalter 12"/>
          <p:cNvSpPr>
            <a:spLocks noGrp="1"/>
          </p:cNvSpPr>
          <p:nvPr>
            <p:ph type="body" sz="quarter" idx="20"/>
          </p:nvPr>
        </p:nvSpPr>
        <p:spPr>
          <a:xfrm>
            <a:off x="468313" y="1700213"/>
            <a:ext cx="5484811" cy="40780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spcBef>
                <a:spcPts val="300"/>
              </a:spcBef>
              <a:defRPr lang="de-DE" sz="1200" dirty="0" smtClean="0">
                <a:latin typeface="EnBW DIN Pro"/>
                <a:ea typeface="EnBW DIN Pro"/>
                <a:cs typeface="EnBW DIN Pro"/>
                <a:sym typeface="EnBW DIN Pro"/>
              </a:defRPr>
            </a:lvl1pPr>
            <a:lvl2pPr>
              <a:spcBef>
                <a:spcPts val="300"/>
              </a:spcBef>
              <a:defRPr lang="de-DE" sz="1200" dirty="0" smtClean="0">
                <a:solidFill>
                  <a:schemeClr val="tx2"/>
                </a:solidFill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21"/>
          </p:nvPr>
        </p:nvSpPr>
        <p:spPr>
          <a:xfrm>
            <a:off x="468312" y="2276872"/>
            <a:ext cx="5484813" cy="3120628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  <a:lvl3pPr marL="162000" indent="-162000">
              <a:buFont typeface="EnBW DIN Pro" panose="020B0504020101020102" pitchFamily="34" charset="0"/>
              <a:buChar char="›"/>
              <a:defRPr/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Textplatzhalter 5"/>
          <p:cNvSpPr>
            <a:spLocks noGrp="1"/>
          </p:cNvSpPr>
          <p:nvPr>
            <p:ph type="body" sz="quarter" idx="22" hasCustomPrompt="1"/>
          </p:nvPr>
        </p:nvSpPr>
        <p:spPr>
          <a:xfrm>
            <a:off x="6228170" y="5489352"/>
            <a:ext cx="5458812" cy="963836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1200" b="0">
                <a:solidFill>
                  <a:schemeClr val="tx1"/>
                </a:solidFill>
                <a:latin typeface="+mn-lt"/>
                <a:ea typeface="EnBW DIN Pro"/>
              </a:defRPr>
            </a:lvl1pPr>
          </a:lstStyle>
          <a:p>
            <a:pPr lvl="0"/>
            <a:r>
              <a:rPr lang="de-DE" dirty="0"/>
              <a:t>Fließtext Small</a:t>
            </a:r>
          </a:p>
        </p:txBody>
      </p:sp>
      <p:sp>
        <p:nvSpPr>
          <p:cNvPr id="17" name="Textplatzhalter 12"/>
          <p:cNvSpPr>
            <a:spLocks noGrp="1"/>
          </p:cNvSpPr>
          <p:nvPr>
            <p:ph type="body" sz="quarter" idx="23"/>
          </p:nvPr>
        </p:nvSpPr>
        <p:spPr>
          <a:xfrm>
            <a:off x="6228171" y="1700213"/>
            <a:ext cx="5456646" cy="40780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spcBef>
                <a:spcPts val="300"/>
              </a:spcBef>
              <a:defRPr lang="de-DE" sz="1200" dirty="0" smtClean="0">
                <a:latin typeface="EnBW DIN Pro"/>
                <a:ea typeface="EnBW DIN Pro"/>
                <a:cs typeface="EnBW DIN Pro"/>
                <a:sym typeface="EnBW DIN Pro"/>
              </a:defRPr>
            </a:lvl1pPr>
            <a:lvl2pPr>
              <a:spcBef>
                <a:spcPts val="300"/>
              </a:spcBef>
              <a:defRPr lang="de-DE" sz="1200" dirty="0" smtClean="0">
                <a:solidFill>
                  <a:schemeClr val="tx2"/>
                </a:solidFill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8" name="Inhaltsplatzhalter 6"/>
          <p:cNvSpPr>
            <a:spLocks noGrp="1"/>
          </p:cNvSpPr>
          <p:nvPr>
            <p:ph sz="quarter" idx="24"/>
          </p:nvPr>
        </p:nvSpPr>
        <p:spPr>
          <a:xfrm>
            <a:off x="6228170" y="2276872"/>
            <a:ext cx="5456648" cy="3120628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  <a:lvl3pPr marL="162000" indent="-162000">
              <a:buFont typeface="EnBW DIN Pro" panose="020B0504020101020102" pitchFamily="34" charset="0"/>
              <a:buChar char="›"/>
              <a:defRPr/>
            </a:lvl3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925770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0583021"/>
              </p:ext>
            </p:ext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312" y="640724"/>
            <a:ext cx="9445626" cy="338554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5"/>
          </p:nvPr>
        </p:nvSpPr>
        <p:spPr>
          <a:xfrm>
            <a:off x="468310" y="1699201"/>
            <a:ext cx="5484815" cy="3674016"/>
          </a:xfrm>
        </p:spPr>
        <p:txBody>
          <a:bodyPr/>
          <a:lstStyle>
            <a:lvl1pPr>
              <a:defRPr b="1">
                <a:latin typeface="EnBW DIN Pro"/>
                <a:cs typeface="EnBW DIN Pro"/>
                <a:sym typeface="EnBW DIN Pro"/>
              </a:defRPr>
            </a:lvl1pPr>
            <a:lvl3pPr marL="162000" indent="-162000">
              <a:buFont typeface="EnBW DIN Pro" panose="020B0504020101020102" pitchFamily="34" charset="0"/>
              <a:buChar char="›"/>
              <a:defRPr/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5" name="Diagrammplatzhalter 4"/>
          <p:cNvSpPr>
            <a:spLocks noGrp="1"/>
          </p:cNvSpPr>
          <p:nvPr>
            <p:ph type="chart" sz="quarter" idx="18"/>
          </p:nvPr>
        </p:nvSpPr>
        <p:spPr>
          <a:xfrm>
            <a:off x="6242231" y="2276872"/>
            <a:ext cx="5471932" cy="4176316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468312" y="5489352"/>
            <a:ext cx="5484815" cy="963836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1200" b="0">
                <a:solidFill>
                  <a:schemeClr val="tx1"/>
                </a:solidFill>
                <a:latin typeface="+mn-lt"/>
                <a:ea typeface="EnBW DIN Pro"/>
              </a:defRPr>
            </a:lvl1pPr>
          </a:lstStyle>
          <a:p>
            <a:pPr lvl="0"/>
            <a:r>
              <a:rPr lang="de-DE" dirty="0"/>
              <a:t>Fließtext Small</a:t>
            </a:r>
          </a:p>
        </p:txBody>
      </p:sp>
      <p:sp>
        <p:nvSpPr>
          <p:cNvPr id="15" name="Textplatzhalter 12"/>
          <p:cNvSpPr>
            <a:spLocks noGrp="1"/>
          </p:cNvSpPr>
          <p:nvPr>
            <p:ph type="body" sz="quarter" idx="23"/>
          </p:nvPr>
        </p:nvSpPr>
        <p:spPr>
          <a:xfrm>
            <a:off x="6242049" y="1700213"/>
            <a:ext cx="5472113" cy="40780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spcBef>
                <a:spcPts val="300"/>
              </a:spcBef>
              <a:defRPr lang="de-DE" sz="1200" b="1" dirty="0" smtClean="0">
                <a:latin typeface="EnBW DIN Pro"/>
                <a:ea typeface="EnBW DIN Pro"/>
                <a:cs typeface="EnBW DIN Pro"/>
                <a:sym typeface="EnBW DIN Pro"/>
              </a:defRPr>
            </a:lvl1pPr>
            <a:lvl2pPr>
              <a:spcBef>
                <a:spcPts val="300"/>
              </a:spcBef>
              <a:defRPr lang="de-DE" sz="1200" dirty="0" smtClean="0">
                <a:solidFill>
                  <a:schemeClr val="tx2"/>
                </a:solidFill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2797160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3595518"/>
              </p:ext>
            </p:ext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9862" y="640724"/>
            <a:ext cx="9444076" cy="338554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0"/>
          </p:nvPr>
        </p:nvSpPr>
        <p:spPr>
          <a:xfrm>
            <a:off x="468312" y="1700213"/>
            <a:ext cx="5484813" cy="4734207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latin typeface="EnBW DIN Pro"/>
                <a:cs typeface="EnBW DIN Pro"/>
                <a:sym typeface="EnBW DIN Pro"/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4152638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7932219"/>
              </p:ext>
            </p:ext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fik 9"/>
          <p:cNvPicPr preferRelativeResize="0"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7440" y="5795588"/>
            <a:ext cx="2115234" cy="503775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Rechteck 4"/>
          <p:cNvSpPr/>
          <p:nvPr userDrawn="1"/>
        </p:nvSpPr>
        <p:spPr bwMode="invGray">
          <a:xfrm>
            <a:off x="162001" y="162000"/>
            <a:ext cx="11871174" cy="3775075"/>
          </a:xfrm>
          <a:prstGeom prst="rect">
            <a:avLst/>
          </a:prstGeom>
          <a:gradFill>
            <a:gsLst>
              <a:gs pos="0">
                <a:srgbClr val="374A9A"/>
              </a:gs>
              <a:gs pos="100000">
                <a:srgbClr val="061671"/>
              </a:gs>
            </a:gsLst>
            <a:lin ang="30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0" rIns="9000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22" name="Textplatzhalter 8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62001" y="5971056"/>
            <a:ext cx="5773504" cy="153888"/>
          </a:xfrm>
          <a:solidFill>
            <a:srgbClr val="FFFFFF"/>
          </a:solidFill>
        </p:spPr>
        <p:txBody>
          <a:bodyPr wrap="square" lIns="306000" tIns="0" rIns="0">
            <a:spAutoFit/>
          </a:bodyPr>
          <a:lstStyle>
            <a:lvl1pPr>
              <a:defRPr lang="de-DE" sz="1000" b="0" kern="1200" dirty="0" smtClean="0">
                <a:solidFill>
                  <a:schemeClr val="tx1"/>
                </a:solidFill>
                <a:latin typeface="EnBW DIN Pro Medium" panose="020B0604020101020102" pitchFamily="34" charset="0"/>
                <a:ea typeface="+mn-ea"/>
                <a:cs typeface="EnBW DIN Pro Medium" panose="020B0604020101020102" pitchFamily="34" charset="0"/>
              </a:defRPr>
            </a:lvl1pPr>
          </a:lstStyle>
          <a:p>
            <a:pPr lvl="0"/>
            <a:r>
              <a:rPr lang="de-DE" dirty="0"/>
              <a:t>Ein Unternehmen der EnBW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62001" y="4020838"/>
            <a:ext cx="5791124" cy="1295400"/>
          </a:xfrm>
          <a:gradFill>
            <a:gsLst>
              <a:gs pos="0">
                <a:srgbClr val="FF9900"/>
              </a:gs>
              <a:gs pos="100000">
                <a:srgbClr val="EE7700"/>
              </a:gs>
            </a:gsLst>
            <a:lin ang="5400000" scaled="1"/>
          </a:gradFill>
        </p:spPr>
        <p:txBody>
          <a:bodyPr lIns="306000" tIns="288000"/>
          <a:lstStyle>
            <a:lvl1pPr>
              <a:lnSpc>
                <a:spcPct val="100000"/>
              </a:lnSpc>
              <a:spcBef>
                <a:spcPts val="0"/>
              </a:spcBef>
              <a:defRPr sz="1200" b="0">
                <a:solidFill>
                  <a:schemeClr val="bg1"/>
                </a:solidFill>
                <a:latin typeface="EnBW DIN Pro" panose="020B0504020101020102" pitchFamily="34" charset="0"/>
                <a:cs typeface="EnBW DIN Pro" panose="020B0504020101020102" pitchFamily="34" charset="0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900">
                <a:solidFill>
                  <a:schemeClr val="bg1"/>
                </a:solidFill>
                <a:latin typeface="EnBW DIN Pro" panose="020B0504020101020102" pitchFamily="34" charset="0"/>
                <a:cs typeface="EnBW DIN Pro" panose="020B0504020101020102" pitchFamily="34" charset="0"/>
              </a:defRPr>
            </a:lvl2pPr>
            <a:lvl3pPr>
              <a:defRPr>
                <a:solidFill>
                  <a:schemeClr val="bg1"/>
                </a:solidFill>
                <a:latin typeface="+mj-lt"/>
              </a:defRPr>
            </a:lvl3pPr>
            <a:lvl4pPr>
              <a:defRPr>
                <a:solidFill>
                  <a:schemeClr val="bg1"/>
                </a:solidFill>
                <a:latin typeface="+mj-lt"/>
              </a:defRPr>
            </a:lvl4pPr>
            <a:lvl5pPr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de-DE" noProof="0" dirty="0"/>
              <a:t>Zusatzinfo Subheadline 12pt</a:t>
            </a:r>
          </a:p>
          <a:p>
            <a:pPr lvl="1"/>
            <a:r>
              <a:rPr lang="de-DE" sz="900" noProof="0" dirty="0"/>
              <a:t>Abteilung oder Bereich</a:t>
            </a:r>
            <a:br>
              <a:rPr lang="de-DE" sz="900" noProof="0" dirty="0"/>
            </a:br>
            <a:r>
              <a:rPr lang="de-DE" sz="900" noProof="0" dirty="0"/>
              <a:t>Max Mustermann</a:t>
            </a:r>
            <a:br>
              <a:rPr lang="de-DE" sz="900" noProof="0" dirty="0"/>
            </a:br>
            <a:r>
              <a:rPr lang="de-DE" sz="900" noProof="0" dirty="0"/>
              <a:t>1. Juni 2014</a:t>
            </a:r>
          </a:p>
        </p:txBody>
      </p:sp>
      <p:sp>
        <p:nvSpPr>
          <p:cNvPr id="69635" name="Rectangle 3"/>
          <p:cNvSpPr>
            <a:spLocks noGrp="1" noChangeArrowheads="1"/>
          </p:cNvSpPr>
          <p:nvPr>
            <p:ph type="ctrTitle"/>
          </p:nvPr>
        </p:nvSpPr>
        <p:spPr bwMode="auto">
          <a:xfrm>
            <a:off x="469861" y="455699"/>
            <a:ext cx="11231661" cy="498598"/>
          </a:xfrm>
          <a:noFill/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3600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noProof="0"/>
              <a:t>Titelmasterformat durch Klicken bearbeiten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4177992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el mit Bild (änderba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8849687"/>
              </p:ext>
            </p:ext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5175" cy="6858000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3" name="Textplatzhalter 8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62001" y="5400000"/>
            <a:ext cx="11763063" cy="1296000"/>
          </a:xfrm>
          <a:solidFill>
            <a:srgbClr val="FFFFFF"/>
          </a:solidFill>
        </p:spPr>
        <p:txBody>
          <a:bodyPr lIns="306000" tIns="568800" rIns="0"/>
          <a:lstStyle>
            <a:lvl1pPr>
              <a:defRPr lang="de-DE" sz="1000" b="0" kern="1200" dirty="0" smtClean="0">
                <a:solidFill>
                  <a:schemeClr val="tx1"/>
                </a:solidFill>
                <a:latin typeface="EnBW DIN Pro Medium" panose="020B0604020101020102" pitchFamily="34" charset="0"/>
                <a:ea typeface="+mn-ea"/>
                <a:cs typeface="EnBW DIN Pro Medium" panose="020B0604020101020102" pitchFamily="34" charset="0"/>
              </a:defRPr>
            </a:lvl1pPr>
          </a:lstStyle>
          <a:p>
            <a:pPr lvl="0"/>
            <a:r>
              <a:rPr lang="de-DE" dirty="0"/>
              <a:t>Ein Unternehmen der EnBW</a:t>
            </a:r>
          </a:p>
        </p:txBody>
      </p:sp>
      <p:sp>
        <p:nvSpPr>
          <p:cNvPr id="8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62001" y="162000"/>
            <a:ext cx="5791124" cy="3775075"/>
          </a:xfrm>
          <a:gradFill>
            <a:gsLst>
              <a:gs pos="0">
                <a:srgbClr val="374A9A"/>
              </a:gs>
              <a:gs pos="100000">
                <a:srgbClr val="061671"/>
              </a:gs>
            </a:gsLst>
            <a:lin ang="2700000" scaled="1"/>
          </a:gradFill>
        </p:spPr>
        <p:txBody>
          <a:bodyPr lIns="306000" tIns="288000" rIns="288000" bIns="288000" anchor="t" anchorCtr="0">
            <a:noAutofit/>
          </a:bodyPr>
          <a:lstStyle>
            <a:lvl1pPr marL="0" indent="0">
              <a:lnSpc>
                <a:spcPct val="90000"/>
              </a:lnSpc>
              <a:defRPr sz="3600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62001" y="4020838"/>
            <a:ext cx="3847354" cy="1295400"/>
          </a:xfrm>
          <a:gradFill>
            <a:gsLst>
              <a:gs pos="0">
                <a:srgbClr val="FF9900"/>
              </a:gs>
              <a:gs pos="100000">
                <a:srgbClr val="EE7700"/>
              </a:gs>
            </a:gsLst>
            <a:lin ang="5400000" scaled="1"/>
          </a:gradFill>
        </p:spPr>
        <p:txBody>
          <a:bodyPr lIns="306000" tIns="288000"/>
          <a:lstStyle>
            <a:lvl1pPr>
              <a:lnSpc>
                <a:spcPct val="100000"/>
              </a:lnSpc>
              <a:spcBef>
                <a:spcPts val="0"/>
              </a:spcBef>
              <a:defRPr sz="1200" b="0">
                <a:solidFill>
                  <a:schemeClr val="bg1"/>
                </a:solidFill>
                <a:latin typeface="EnBW DIN Pro" panose="020B0504020101020102" pitchFamily="34" charset="0"/>
                <a:cs typeface="EnBW DIN Pro" panose="020B0504020101020102" pitchFamily="34" charset="0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900">
                <a:solidFill>
                  <a:schemeClr val="bg1"/>
                </a:solidFill>
                <a:latin typeface="EnBW DIN Pro" panose="020B0504020101020102" pitchFamily="34" charset="0"/>
                <a:cs typeface="EnBW DIN Pro" panose="020B0504020101020102" pitchFamily="34" charset="0"/>
              </a:defRPr>
            </a:lvl2pPr>
            <a:lvl3pPr>
              <a:defRPr>
                <a:solidFill>
                  <a:schemeClr val="bg1"/>
                </a:solidFill>
                <a:latin typeface="+mj-lt"/>
              </a:defRPr>
            </a:lvl3pPr>
            <a:lvl4pPr>
              <a:defRPr>
                <a:solidFill>
                  <a:schemeClr val="bg1"/>
                </a:solidFill>
                <a:latin typeface="+mj-lt"/>
              </a:defRPr>
            </a:lvl4pPr>
            <a:lvl5pPr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de-DE" noProof="0" dirty="0"/>
              <a:t>Zusatzinfo Subheadline 12pt</a:t>
            </a:r>
          </a:p>
          <a:p>
            <a:pPr lvl="1"/>
            <a:r>
              <a:rPr lang="de-DE" sz="900" noProof="0" dirty="0"/>
              <a:t>Abteilung oder Bereich</a:t>
            </a:r>
            <a:br>
              <a:rPr lang="de-DE" sz="900" noProof="0" dirty="0"/>
            </a:br>
            <a:r>
              <a:rPr lang="de-DE" sz="900" noProof="0" dirty="0"/>
              <a:t>Max Mustermann</a:t>
            </a:r>
            <a:br>
              <a:rPr lang="de-DE" sz="900" noProof="0" dirty="0"/>
            </a:br>
            <a:r>
              <a:rPr lang="de-DE" sz="900" noProof="0" dirty="0"/>
              <a:t>1. Juni 2014</a:t>
            </a:r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9505593" y="5795589"/>
            <a:ext cx="2121486" cy="503774"/>
          </a:xfrm>
          <a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91871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ode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1625395"/>
              </p:ext>
            </p:ext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/>
          <p:nvPr userDrawn="1"/>
        </p:nvSpPr>
        <p:spPr bwMode="white">
          <a:xfrm>
            <a:off x="162001" y="1540800"/>
            <a:ext cx="11871174" cy="49032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0" rIns="9000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481013" y="1700213"/>
            <a:ext cx="9432925" cy="4743787"/>
          </a:xfrm>
        </p:spPr>
        <p:txBody>
          <a:bodyPr/>
          <a:lstStyle>
            <a:lvl1pPr marL="324000" indent="-324000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defRPr b="1" baseline="0">
                <a:solidFill>
                  <a:schemeClr val="tx2"/>
                </a:solidFill>
                <a:latin typeface="EnBW DIN Pro"/>
                <a:cs typeface="EnBW DIN Pro"/>
                <a:sym typeface="EnBW DIN Pro"/>
              </a:defRPr>
            </a:lvl1pPr>
            <a:lvl2pPr marL="32400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100000"/>
              <a:buFont typeface="DIN-Regular" panose="020B0500010101010101" pitchFamily="34" charset="0"/>
              <a:buNone/>
              <a:tabLst/>
              <a:defRPr baseline="0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de-DE" dirty="0"/>
              <a:t>Text durch klicken</a:t>
            </a:r>
          </a:p>
          <a:p>
            <a:pPr lvl="1"/>
            <a:r>
              <a:rPr lang="de-DE" dirty="0"/>
              <a:t>Unterpunkt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79342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86727443"/>
              </p:ext>
            </p:ext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5466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0977148"/>
              </p:ext>
            </p:ext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Inhaltsplatzhalter 6"/>
          <p:cNvSpPr>
            <a:spLocks noGrp="1"/>
          </p:cNvSpPr>
          <p:nvPr>
            <p:ph sz="quarter" idx="17"/>
          </p:nvPr>
        </p:nvSpPr>
        <p:spPr>
          <a:xfrm>
            <a:off x="468311" y="1700214"/>
            <a:ext cx="9445627" cy="246221"/>
          </a:xfrm>
        </p:spPr>
        <p:txBody>
          <a:bodyPr wrap="square">
            <a:spAutoFit/>
          </a:bodyPr>
          <a:lstStyle>
            <a:lvl1pPr>
              <a:defRPr b="1">
                <a:latin typeface="EnBW DIN Pro"/>
                <a:cs typeface="EnBW DIN Pro"/>
                <a:sym typeface="EnBW DIN Pro"/>
              </a:defRPr>
            </a:lvl1pPr>
            <a:lvl3pPr marL="162000" indent="-162000">
              <a:buFont typeface="EnBW DIN Pro" panose="020B0504020101020102" pitchFamily="34" charset="0"/>
              <a:buChar char="›"/>
              <a:defRPr/>
            </a:lvl3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311" y="640724"/>
            <a:ext cx="9445626" cy="338554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13126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912283"/>
              </p:ext>
            </p:ext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Inhaltsplatzhalter 6"/>
          <p:cNvSpPr>
            <a:spLocks noGrp="1"/>
          </p:cNvSpPr>
          <p:nvPr>
            <p:ph sz="quarter" idx="17"/>
          </p:nvPr>
        </p:nvSpPr>
        <p:spPr>
          <a:xfrm>
            <a:off x="468312" y="1700214"/>
            <a:ext cx="9445626" cy="4752975"/>
          </a:xfrm>
        </p:spPr>
        <p:txBody>
          <a:bodyPr/>
          <a:lstStyle>
            <a:lvl1pPr>
              <a:defRPr b="1">
                <a:latin typeface="EnBW DIN Pro"/>
                <a:cs typeface="EnBW DIN Pro"/>
                <a:sym typeface="EnBW DIN Pro"/>
              </a:defRPr>
            </a:lvl1pPr>
            <a:lvl3pPr marL="162000" indent="-162000">
              <a:buFont typeface="EnBW DIN Pro" panose="020B0504020101020102" pitchFamily="34" charset="0"/>
              <a:buChar char="›"/>
              <a:defRPr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311" y="640724"/>
            <a:ext cx="9445626" cy="338554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24536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el mit Bild (änderba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1052326"/>
              </p:ext>
            </p:ext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5175" cy="6858000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3" name="Textplatzhalter 8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62001" y="5400000"/>
            <a:ext cx="11763063" cy="1296000"/>
          </a:xfrm>
          <a:solidFill>
            <a:srgbClr val="FFFFFF"/>
          </a:solidFill>
        </p:spPr>
        <p:txBody>
          <a:bodyPr lIns="306000" tIns="568800" rIns="0"/>
          <a:lstStyle>
            <a:lvl1pPr>
              <a:defRPr lang="de-DE" sz="1000" b="0" kern="1200" dirty="0" smtClean="0">
                <a:solidFill>
                  <a:schemeClr val="tx1"/>
                </a:solidFill>
                <a:latin typeface="EnBW DIN Pro Medium" panose="020B0604020101020102" pitchFamily="34" charset="0"/>
                <a:ea typeface="+mn-ea"/>
                <a:cs typeface="EnBW DIN Pro Medium" panose="020B0604020101020102" pitchFamily="34" charset="0"/>
              </a:defRPr>
            </a:lvl1pPr>
          </a:lstStyle>
          <a:p>
            <a:pPr lvl="0"/>
            <a:r>
              <a:rPr lang="de-DE" dirty="0"/>
              <a:t>Ein Unternehmen der EnBW</a:t>
            </a:r>
          </a:p>
        </p:txBody>
      </p:sp>
      <p:sp>
        <p:nvSpPr>
          <p:cNvPr id="8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62001" y="162000"/>
            <a:ext cx="5791124" cy="3775075"/>
          </a:xfrm>
          <a:gradFill>
            <a:gsLst>
              <a:gs pos="0">
                <a:srgbClr val="374A9A"/>
              </a:gs>
              <a:gs pos="100000">
                <a:srgbClr val="061671"/>
              </a:gs>
            </a:gsLst>
            <a:lin ang="2700000" scaled="1"/>
          </a:gradFill>
        </p:spPr>
        <p:txBody>
          <a:bodyPr lIns="306000" tIns="288000" rIns="288000" bIns="288000" anchor="t" anchorCtr="0">
            <a:noAutofit/>
          </a:bodyPr>
          <a:lstStyle>
            <a:lvl1pPr marL="0" indent="0">
              <a:lnSpc>
                <a:spcPct val="90000"/>
              </a:lnSpc>
              <a:defRPr sz="3600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noProof="0"/>
              <a:t>Mastertitelformat bearbeiten</a:t>
            </a:r>
            <a:endParaRPr lang="de-DE" noProof="0" dirty="0"/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62001" y="4020838"/>
            <a:ext cx="3847354" cy="1295400"/>
          </a:xfrm>
          <a:gradFill>
            <a:gsLst>
              <a:gs pos="0">
                <a:srgbClr val="FF9900"/>
              </a:gs>
              <a:gs pos="100000">
                <a:srgbClr val="EE7700"/>
              </a:gs>
            </a:gsLst>
            <a:lin ang="5400000" scaled="1"/>
          </a:gradFill>
        </p:spPr>
        <p:txBody>
          <a:bodyPr lIns="306000" tIns="288000"/>
          <a:lstStyle>
            <a:lvl1pPr>
              <a:lnSpc>
                <a:spcPct val="100000"/>
              </a:lnSpc>
              <a:spcBef>
                <a:spcPts val="0"/>
              </a:spcBef>
              <a:defRPr sz="1200" b="0">
                <a:solidFill>
                  <a:schemeClr val="bg1"/>
                </a:solidFill>
                <a:latin typeface="EnBW DIN Pro" panose="020B0504020101020102" pitchFamily="34" charset="0"/>
                <a:cs typeface="EnBW DIN Pro" panose="020B0504020101020102" pitchFamily="34" charset="0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900">
                <a:solidFill>
                  <a:schemeClr val="bg1"/>
                </a:solidFill>
                <a:latin typeface="EnBW DIN Pro" panose="020B0504020101020102" pitchFamily="34" charset="0"/>
                <a:cs typeface="EnBW DIN Pro" panose="020B0504020101020102" pitchFamily="34" charset="0"/>
              </a:defRPr>
            </a:lvl2pPr>
            <a:lvl3pPr>
              <a:defRPr>
                <a:solidFill>
                  <a:schemeClr val="bg1"/>
                </a:solidFill>
                <a:latin typeface="+mj-lt"/>
              </a:defRPr>
            </a:lvl3pPr>
            <a:lvl4pPr>
              <a:defRPr>
                <a:solidFill>
                  <a:schemeClr val="bg1"/>
                </a:solidFill>
                <a:latin typeface="+mj-lt"/>
              </a:defRPr>
            </a:lvl4pPr>
            <a:lvl5pPr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de-DE" noProof="0" dirty="0"/>
              <a:t>Zusatzinfo Subheadline 12pt</a:t>
            </a:r>
          </a:p>
          <a:p>
            <a:pPr lvl="1"/>
            <a:r>
              <a:rPr lang="de-DE" sz="900" noProof="0" dirty="0"/>
              <a:t>Abteilung oder Bereich</a:t>
            </a:r>
            <a:br>
              <a:rPr lang="de-DE" sz="900" noProof="0" dirty="0"/>
            </a:br>
            <a:r>
              <a:rPr lang="de-DE" sz="900" noProof="0" dirty="0"/>
              <a:t>Max Mustermann</a:t>
            </a:r>
            <a:br>
              <a:rPr lang="de-DE" sz="900" noProof="0" dirty="0"/>
            </a:br>
            <a:r>
              <a:rPr lang="de-DE" sz="900" noProof="0" dirty="0"/>
              <a:t>1. Juni 2014</a:t>
            </a:r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9505593" y="5795589"/>
            <a:ext cx="2121486" cy="503774"/>
          </a:xfrm>
          <a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98994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1160094"/>
              </p:ext>
            </p:ext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/>
          <p:nvPr userDrawn="1"/>
        </p:nvSpPr>
        <p:spPr bwMode="invGray">
          <a:xfrm>
            <a:off x="162000" y="1540800"/>
            <a:ext cx="11871174" cy="4912388"/>
          </a:xfrm>
          <a:prstGeom prst="rect">
            <a:avLst/>
          </a:prstGeom>
          <a:gradFill>
            <a:gsLst>
              <a:gs pos="0">
                <a:srgbClr val="374A9A"/>
              </a:gs>
              <a:gs pos="100000">
                <a:srgbClr val="061671"/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0" rIns="9000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468312" y="640724"/>
            <a:ext cx="9445626" cy="338554"/>
          </a:xfrm>
          <a:noFill/>
        </p:spPr>
        <p:txBody>
          <a:bodyPr/>
          <a:lstStyle>
            <a:lvl1pPr marL="0" indent="0">
              <a:buFont typeface="+mj-lt"/>
              <a:buNone/>
              <a:defRPr/>
            </a:lvl1pPr>
          </a:lstStyle>
          <a:p>
            <a:r>
              <a:rPr lang="de-DE" dirty="0" err="1"/>
              <a:t>Kapiteltrenner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 bwMode="auto">
          <a:xfrm>
            <a:off x="468313" y="1805630"/>
            <a:ext cx="9445625" cy="498598"/>
          </a:xfrm>
          <a:noFill/>
        </p:spPr>
        <p:txBody>
          <a:bodyPr wrap="square" lIns="0" tIns="0" rIns="0">
            <a:spAutoFit/>
          </a:bodyPr>
          <a:lstStyle>
            <a:lvl1pPr marL="541338" indent="-541338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Font typeface="+mj-lt"/>
              <a:buNone/>
              <a:defRPr sz="3600" b="0">
                <a:solidFill>
                  <a:schemeClr val="accent6"/>
                </a:solidFill>
                <a:latin typeface="+mn-lt"/>
                <a:ea typeface="EnBW DIN Pro"/>
              </a:defRPr>
            </a:lvl1pPr>
            <a:lvl2pPr marL="324000" indent="0">
              <a:buNone/>
              <a:defRPr>
                <a:solidFill>
                  <a:schemeClr val="accent6"/>
                </a:solidFill>
              </a:defRPr>
            </a:lvl2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C3D4A45-F672-4474-BA28-E624C64DA635}" type="slidenum">
              <a:rPr lang="de-DE" smtClean="0"/>
              <a:t>‹Nr.›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33843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9464731"/>
              </p:ext>
            </p:ext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310" y="640724"/>
            <a:ext cx="9445627" cy="338554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1"/>
          </p:nvPr>
        </p:nvSpPr>
        <p:spPr>
          <a:xfrm>
            <a:off x="468312" y="1700214"/>
            <a:ext cx="5484813" cy="360838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 smtClean="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6"/>
          </p:nvPr>
        </p:nvSpPr>
        <p:spPr bwMode="gray">
          <a:xfrm>
            <a:off x="6242049" y="1698544"/>
            <a:ext cx="5472113" cy="4754644"/>
          </a:xfrm>
        </p:spPr>
        <p:txBody>
          <a:bodyPr/>
          <a:lstStyle>
            <a:lvl1pPr>
              <a:defRPr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8" hasCustomPrompt="1"/>
          </p:nvPr>
        </p:nvSpPr>
        <p:spPr>
          <a:xfrm>
            <a:off x="468312" y="5397500"/>
            <a:ext cx="5484813" cy="1055688"/>
          </a:xfrm>
        </p:spPr>
        <p:txBody>
          <a:bodyPr/>
          <a:lstStyle>
            <a:lvl1pPr>
              <a:lnSpc>
                <a:spcPts val="1500"/>
              </a:lnSpc>
              <a:spcAft>
                <a:spcPts val="0"/>
              </a:spcAft>
              <a:defRPr sz="1200" b="0">
                <a:solidFill>
                  <a:schemeClr val="tx1"/>
                </a:solidFill>
                <a:latin typeface="+mn-lt"/>
                <a:ea typeface="EnBW DIN Pro"/>
              </a:defRPr>
            </a:lvl1pPr>
          </a:lstStyle>
          <a:p>
            <a:pPr lvl="0"/>
            <a:r>
              <a:rPr lang="de-DE" dirty="0"/>
              <a:t>Fließtext Small</a:t>
            </a:r>
          </a:p>
        </p:txBody>
      </p:sp>
    </p:spTree>
    <p:extLst>
      <p:ext uri="{BB962C8B-B14F-4D97-AF65-F5344CB8AC3E}">
        <p14:creationId xmlns:p14="http://schemas.microsoft.com/office/powerpoint/2010/main" val="1191873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664747"/>
              </p:ext>
            </p:ext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312" y="640724"/>
            <a:ext cx="9445625" cy="338554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Diagrammplatzhalter 4"/>
          <p:cNvSpPr>
            <a:spLocks noGrp="1"/>
          </p:cNvSpPr>
          <p:nvPr>
            <p:ph type="chart" sz="quarter" idx="18"/>
          </p:nvPr>
        </p:nvSpPr>
        <p:spPr>
          <a:xfrm>
            <a:off x="468313" y="2276872"/>
            <a:ext cx="11245850" cy="3384376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  <a:latin typeface="+mn-lt"/>
                <a:ea typeface="DIN-Regular" panose="020B0500010101010101" pitchFamily="34" charset="0"/>
              </a:defRPr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7" name="Textplatzhalt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68311" y="5753100"/>
            <a:ext cx="11245850" cy="700088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1200" b="0">
                <a:solidFill>
                  <a:schemeClr val="tx2"/>
                </a:solidFill>
                <a:latin typeface="+mn-lt"/>
                <a:ea typeface="EnBW DIN Pro"/>
              </a:defRPr>
            </a:lvl1pPr>
          </a:lstStyle>
          <a:p>
            <a:pPr lvl="0"/>
            <a:r>
              <a:rPr lang="de-DE" dirty="0"/>
              <a:t>Fließtext Small 12pt</a:t>
            </a:r>
          </a:p>
        </p:txBody>
      </p:sp>
      <p:sp>
        <p:nvSpPr>
          <p:cNvPr id="9" name="Textplatzhalter 12"/>
          <p:cNvSpPr>
            <a:spLocks noGrp="1"/>
          </p:cNvSpPr>
          <p:nvPr>
            <p:ph type="body" sz="quarter" idx="20"/>
          </p:nvPr>
        </p:nvSpPr>
        <p:spPr>
          <a:xfrm>
            <a:off x="468313" y="1700213"/>
            <a:ext cx="11245850" cy="40780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spcBef>
                <a:spcPts val="300"/>
              </a:spcBef>
              <a:defRPr lang="de-DE" sz="1200" dirty="0" smtClean="0">
                <a:latin typeface="EnBW DIN Pro"/>
                <a:ea typeface="EnBW DIN Pro"/>
                <a:cs typeface="EnBW DIN Pro"/>
                <a:sym typeface="EnBW DIN Pro"/>
              </a:defRPr>
            </a:lvl1pPr>
            <a:lvl2pPr>
              <a:spcBef>
                <a:spcPts val="300"/>
              </a:spcBef>
              <a:defRPr lang="de-DE" sz="1200" dirty="0" smtClean="0">
                <a:solidFill>
                  <a:schemeClr val="tx2"/>
                </a:solidFill>
              </a:defRPr>
            </a:lvl2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2023598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9710391"/>
              </p:ext>
            </p:ext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5772" y="640724"/>
            <a:ext cx="9448166" cy="338554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 bwMode="gray">
          <a:xfrm>
            <a:off x="162001" y="1540799"/>
            <a:ext cx="11871173" cy="4912389"/>
          </a:xfrm>
        </p:spPr>
        <p:txBody>
          <a:bodyPr/>
          <a:lstStyle>
            <a:lvl1pPr>
              <a:defRPr b="0">
                <a:latin typeface="+mn-lt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4"/>
          </p:nvPr>
        </p:nvSpPr>
        <p:spPr>
          <a:xfrm>
            <a:off x="468312" y="4572000"/>
            <a:ext cx="5484813" cy="1638000"/>
          </a:xfrm>
          <a:solidFill>
            <a:schemeClr val="accent6"/>
          </a:solidFill>
        </p:spPr>
        <p:txBody>
          <a:bodyPr lIns="144000" tIns="144000" rIns="144000" bIns="144000"/>
          <a:lstStyle>
            <a:lvl1pPr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>
                <a:solidFill>
                  <a:schemeClr val="bg1"/>
                </a:solidFill>
                <a:latin typeface="EnBW DIN Pro"/>
                <a:cs typeface="EnBW DIN Pro"/>
                <a:sym typeface="EnBW DIN Pro"/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bg1"/>
                </a:solidFill>
              </a:defRPr>
            </a:lvl2pPr>
            <a:lvl3pPr marL="162000" indent="-16200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buFont typeface="EnBW DIN Pro" panose="020B0504020101020102" pitchFamily="34" charset="0"/>
              <a:buChar char="›"/>
              <a:defRPr sz="120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>
                <a:solidFill>
                  <a:schemeClr val="bg1"/>
                </a:solidFill>
              </a:defRPr>
            </a:lvl4pPr>
            <a:lvl5pPr>
              <a:lnSpc>
                <a:spcPts val="1500"/>
              </a:lnSpc>
              <a:spcAft>
                <a:spcPts val="0"/>
              </a:spcAft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2819175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6652187"/>
              </p:ext>
            </p:ext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312" y="640724"/>
            <a:ext cx="9445626" cy="338554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68312" y="5489352"/>
            <a:ext cx="5486988" cy="963836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1200" b="0">
                <a:solidFill>
                  <a:schemeClr val="tx1"/>
                </a:solidFill>
                <a:latin typeface="+mn-lt"/>
                <a:ea typeface="EnBW DIN Pro"/>
              </a:defRPr>
            </a:lvl1pPr>
          </a:lstStyle>
          <a:p>
            <a:pPr lvl="0"/>
            <a:r>
              <a:rPr lang="de-DE" dirty="0"/>
              <a:t>Fließtext Small</a:t>
            </a:r>
          </a:p>
        </p:txBody>
      </p:sp>
      <p:sp>
        <p:nvSpPr>
          <p:cNvPr id="9" name="Textplatzhalter 12"/>
          <p:cNvSpPr>
            <a:spLocks noGrp="1"/>
          </p:cNvSpPr>
          <p:nvPr>
            <p:ph type="body" sz="quarter" idx="20"/>
          </p:nvPr>
        </p:nvSpPr>
        <p:spPr>
          <a:xfrm>
            <a:off x="468313" y="1700213"/>
            <a:ext cx="5484811" cy="40780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spcBef>
                <a:spcPts val="300"/>
              </a:spcBef>
              <a:defRPr lang="de-DE" sz="1200" dirty="0" smtClean="0">
                <a:latin typeface="EnBW DIN Pro"/>
                <a:ea typeface="EnBW DIN Pro"/>
                <a:cs typeface="EnBW DIN Pro"/>
                <a:sym typeface="EnBW DIN Pro"/>
              </a:defRPr>
            </a:lvl1pPr>
            <a:lvl2pPr>
              <a:spcBef>
                <a:spcPts val="300"/>
              </a:spcBef>
              <a:defRPr lang="de-DE" sz="1200" dirty="0" smtClean="0">
                <a:solidFill>
                  <a:schemeClr val="tx2"/>
                </a:solidFill>
              </a:defRPr>
            </a:lvl2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21"/>
          </p:nvPr>
        </p:nvSpPr>
        <p:spPr>
          <a:xfrm>
            <a:off x="468312" y="2276872"/>
            <a:ext cx="5484813" cy="3120628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  <a:lvl3pPr marL="162000" indent="-162000">
              <a:buFont typeface="EnBW DIN Pro" panose="020B0504020101020102" pitchFamily="34" charset="0"/>
              <a:buChar char="›"/>
              <a:defRPr/>
            </a:lvl3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5" name="Textplatzhalter 5"/>
          <p:cNvSpPr>
            <a:spLocks noGrp="1"/>
          </p:cNvSpPr>
          <p:nvPr>
            <p:ph type="body" sz="quarter" idx="22" hasCustomPrompt="1"/>
          </p:nvPr>
        </p:nvSpPr>
        <p:spPr>
          <a:xfrm>
            <a:off x="6228170" y="5489352"/>
            <a:ext cx="5458812" cy="963836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1200" b="0">
                <a:solidFill>
                  <a:schemeClr val="tx1"/>
                </a:solidFill>
                <a:latin typeface="+mn-lt"/>
                <a:ea typeface="EnBW DIN Pro"/>
              </a:defRPr>
            </a:lvl1pPr>
          </a:lstStyle>
          <a:p>
            <a:pPr lvl="0"/>
            <a:r>
              <a:rPr lang="de-DE" dirty="0"/>
              <a:t>Fließtext Small</a:t>
            </a:r>
          </a:p>
        </p:txBody>
      </p:sp>
      <p:sp>
        <p:nvSpPr>
          <p:cNvPr id="17" name="Textplatzhalter 12"/>
          <p:cNvSpPr>
            <a:spLocks noGrp="1"/>
          </p:cNvSpPr>
          <p:nvPr>
            <p:ph type="body" sz="quarter" idx="23"/>
          </p:nvPr>
        </p:nvSpPr>
        <p:spPr>
          <a:xfrm>
            <a:off x="6228171" y="1700213"/>
            <a:ext cx="5456646" cy="40780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spcBef>
                <a:spcPts val="300"/>
              </a:spcBef>
              <a:defRPr lang="de-DE" sz="1200" dirty="0" smtClean="0">
                <a:latin typeface="EnBW DIN Pro"/>
                <a:ea typeface="EnBW DIN Pro"/>
                <a:cs typeface="EnBW DIN Pro"/>
                <a:sym typeface="EnBW DIN Pro"/>
              </a:defRPr>
            </a:lvl1pPr>
            <a:lvl2pPr>
              <a:spcBef>
                <a:spcPts val="300"/>
              </a:spcBef>
              <a:defRPr lang="de-DE" sz="1200" dirty="0" smtClean="0">
                <a:solidFill>
                  <a:schemeClr val="tx2"/>
                </a:solidFill>
              </a:defRPr>
            </a:lvl2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8" name="Inhaltsplatzhalter 6"/>
          <p:cNvSpPr>
            <a:spLocks noGrp="1"/>
          </p:cNvSpPr>
          <p:nvPr>
            <p:ph sz="quarter" idx="24"/>
          </p:nvPr>
        </p:nvSpPr>
        <p:spPr>
          <a:xfrm>
            <a:off x="6228170" y="2276872"/>
            <a:ext cx="5456648" cy="3120628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  <a:lvl3pPr marL="162000" indent="-162000">
              <a:buFont typeface="EnBW DIN Pro" panose="020B0504020101020102" pitchFamily="34" charset="0"/>
              <a:buChar char="›"/>
              <a:defRPr/>
            </a:lvl3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199527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3622704"/>
              </p:ext>
            </p:ext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312" y="640724"/>
            <a:ext cx="9445626" cy="338554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5"/>
          </p:nvPr>
        </p:nvSpPr>
        <p:spPr>
          <a:xfrm>
            <a:off x="468310" y="1699201"/>
            <a:ext cx="5484815" cy="3674016"/>
          </a:xfrm>
        </p:spPr>
        <p:txBody>
          <a:bodyPr/>
          <a:lstStyle>
            <a:lvl1pPr>
              <a:defRPr b="1">
                <a:latin typeface="EnBW DIN Pro"/>
                <a:cs typeface="EnBW DIN Pro"/>
                <a:sym typeface="EnBW DIN Pro"/>
              </a:defRPr>
            </a:lvl1pPr>
            <a:lvl3pPr marL="162000" indent="-162000">
              <a:buFont typeface="EnBW DIN Pro" panose="020B0504020101020102" pitchFamily="34" charset="0"/>
              <a:buChar char="›"/>
              <a:defRPr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Diagrammplatzhalter 4"/>
          <p:cNvSpPr>
            <a:spLocks noGrp="1"/>
          </p:cNvSpPr>
          <p:nvPr>
            <p:ph type="chart" sz="quarter" idx="18"/>
          </p:nvPr>
        </p:nvSpPr>
        <p:spPr>
          <a:xfrm>
            <a:off x="6242231" y="2276872"/>
            <a:ext cx="5471932" cy="4176316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468312" y="5489352"/>
            <a:ext cx="5484815" cy="963836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1200" b="0">
                <a:solidFill>
                  <a:schemeClr val="tx1"/>
                </a:solidFill>
                <a:latin typeface="+mn-lt"/>
                <a:ea typeface="EnBW DIN Pro"/>
              </a:defRPr>
            </a:lvl1pPr>
          </a:lstStyle>
          <a:p>
            <a:pPr lvl="0"/>
            <a:r>
              <a:rPr lang="de-DE" dirty="0"/>
              <a:t>Fließtext Small</a:t>
            </a:r>
          </a:p>
        </p:txBody>
      </p:sp>
      <p:sp>
        <p:nvSpPr>
          <p:cNvPr id="15" name="Textplatzhalter 12"/>
          <p:cNvSpPr>
            <a:spLocks noGrp="1"/>
          </p:cNvSpPr>
          <p:nvPr>
            <p:ph type="body" sz="quarter" idx="23"/>
          </p:nvPr>
        </p:nvSpPr>
        <p:spPr>
          <a:xfrm>
            <a:off x="6242049" y="1700213"/>
            <a:ext cx="5472113" cy="40780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spcBef>
                <a:spcPts val="300"/>
              </a:spcBef>
              <a:defRPr lang="de-DE" sz="1200" b="1" dirty="0" smtClean="0">
                <a:latin typeface="EnBW DIN Pro"/>
                <a:ea typeface="EnBW DIN Pro"/>
                <a:cs typeface="EnBW DIN Pro"/>
                <a:sym typeface="EnBW DIN Pro"/>
              </a:defRPr>
            </a:lvl1pPr>
            <a:lvl2pPr>
              <a:spcBef>
                <a:spcPts val="300"/>
              </a:spcBef>
              <a:defRPr lang="de-DE" sz="1200" dirty="0" smtClean="0">
                <a:solidFill>
                  <a:schemeClr val="tx2"/>
                </a:solidFill>
              </a:defRPr>
            </a:lvl2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70322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9510139"/>
              </p:ext>
            </p:ext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9862" y="640724"/>
            <a:ext cx="9444076" cy="338554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0"/>
          </p:nvPr>
        </p:nvSpPr>
        <p:spPr>
          <a:xfrm>
            <a:off x="468312" y="1700213"/>
            <a:ext cx="5484813" cy="4734207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latin typeface="EnBW DIN Pro"/>
                <a:cs typeface="EnBW DIN Pro"/>
                <a:sym typeface="EnBW DIN Pro"/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4686775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ode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4784940"/>
              </p:ext>
            </p:ext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/>
          <p:nvPr userDrawn="1"/>
        </p:nvSpPr>
        <p:spPr bwMode="white">
          <a:xfrm>
            <a:off x="162001" y="1540800"/>
            <a:ext cx="11871174" cy="49032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0" rIns="9000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481013" y="1700213"/>
            <a:ext cx="9432925" cy="4743787"/>
          </a:xfrm>
        </p:spPr>
        <p:txBody>
          <a:bodyPr/>
          <a:lstStyle>
            <a:lvl1pPr marL="324000" indent="-324000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defRPr b="1" baseline="0">
                <a:solidFill>
                  <a:schemeClr val="tx2"/>
                </a:solidFill>
                <a:latin typeface="EnBW DIN Pro"/>
                <a:cs typeface="EnBW DIN Pro"/>
                <a:sym typeface="EnBW DIN Pro"/>
              </a:defRPr>
            </a:lvl1pPr>
            <a:lvl2pPr marL="32400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100000"/>
              <a:buFont typeface="DIN-Regular" panose="020B0500010101010101" pitchFamily="34" charset="0"/>
              <a:buNone/>
              <a:tabLst/>
              <a:defRPr baseline="0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de-DE" dirty="0"/>
              <a:t>Text durch klicken</a:t>
            </a:r>
          </a:p>
          <a:p>
            <a:pPr lvl="1"/>
            <a:r>
              <a:rPr lang="de-DE" dirty="0"/>
              <a:t>Unterpunkt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49609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0854001"/>
              </p:ext>
            </p:ext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45452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5647676"/>
              </p:ext>
            </p:ext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Inhaltsplatzhalter 6"/>
          <p:cNvSpPr>
            <a:spLocks noGrp="1"/>
          </p:cNvSpPr>
          <p:nvPr>
            <p:ph sz="quarter" idx="17"/>
          </p:nvPr>
        </p:nvSpPr>
        <p:spPr>
          <a:xfrm>
            <a:off x="468311" y="1700214"/>
            <a:ext cx="9445627" cy="246221"/>
          </a:xfrm>
        </p:spPr>
        <p:txBody>
          <a:bodyPr wrap="square">
            <a:spAutoFit/>
          </a:bodyPr>
          <a:lstStyle>
            <a:lvl1pPr>
              <a:defRPr b="1">
                <a:latin typeface="EnBW DIN Pro"/>
                <a:cs typeface="EnBW DIN Pro"/>
                <a:sym typeface="EnBW DIN Pro"/>
              </a:defRPr>
            </a:lvl1pPr>
            <a:lvl3pPr marL="162000" indent="-162000">
              <a:buFont typeface="EnBW DIN Pro" panose="020B0504020101020102" pitchFamily="34" charset="0"/>
              <a:buChar char="›"/>
              <a:defRPr/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311" y="640724"/>
            <a:ext cx="9445626" cy="338554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50744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4259695"/>
              </p:ext>
            </p:ext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Inhaltsplatzhalter 6"/>
          <p:cNvSpPr>
            <a:spLocks noGrp="1"/>
          </p:cNvSpPr>
          <p:nvPr>
            <p:ph sz="quarter" idx="17"/>
          </p:nvPr>
        </p:nvSpPr>
        <p:spPr>
          <a:xfrm>
            <a:off x="468312" y="1700214"/>
            <a:ext cx="9445626" cy="4752975"/>
          </a:xfrm>
        </p:spPr>
        <p:txBody>
          <a:bodyPr/>
          <a:lstStyle>
            <a:lvl1pPr>
              <a:defRPr b="1">
                <a:latin typeface="EnBW DIN Pro"/>
                <a:cs typeface="EnBW DIN Pro"/>
                <a:sym typeface="EnBW DIN Pro"/>
              </a:defRPr>
            </a:lvl1pPr>
            <a:lvl3pPr marL="162000" indent="-162000">
              <a:buFont typeface="EnBW DIN Pro" panose="020B0504020101020102" pitchFamily="34" charset="0"/>
              <a:buChar char="›"/>
              <a:defRPr/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311" y="640724"/>
            <a:ext cx="9445626" cy="338554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42763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1345557"/>
              </p:ext>
            </p:ext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/>
          <p:nvPr userDrawn="1"/>
        </p:nvSpPr>
        <p:spPr bwMode="invGray">
          <a:xfrm>
            <a:off x="162000" y="1540800"/>
            <a:ext cx="11871174" cy="4912388"/>
          </a:xfrm>
          <a:prstGeom prst="rect">
            <a:avLst/>
          </a:prstGeom>
          <a:gradFill>
            <a:gsLst>
              <a:gs pos="0">
                <a:srgbClr val="374A9A"/>
              </a:gs>
              <a:gs pos="100000">
                <a:srgbClr val="061671"/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0" rIns="9000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468312" y="640724"/>
            <a:ext cx="9445626" cy="338554"/>
          </a:xfrm>
          <a:noFill/>
        </p:spPr>
        <p:txBody>
          <a:bodyPr/>
          <a:lstStyle>
            <a:lvl1pPr marL="0" indent="0">
              <a:buFont typeface="+mj-lt"/>
              <a:buNone/>
              <a:defRPr/>
            </a:lvl1pPr>
          </a:lstStyle>
          <a:p>
            <a:r>
              <a:rPr lang="de-DE" dirty="0" err="1"/>
              <a:t>Kapiteltrenner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 bwMode="auto">
          <a:xfrm>
            <a:off x="468313" y="1805630"/>
            <a:ext cx="9445625" cy="498598"/>
          </a:xfrm>
          <a:noFill/>
        </p:spPr>
        <p:txBody>
          <a:bodyPr wrap="square" lIns="0" tIns="0" rIns="0">
            <a:spAutoFit/>
          </a:bodyPr>
          <a:lstStyle>
            <a:lvl1pPr marL="541338" indent="-541338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Font typeface="+mj-lt"/>
              <a:buNone/>
              <a:defRPr sz="3600" b="0">
                <a:solidFill>
                  <a:schemeClr val="accent6"/>
                </a:solidFill>
                <a:latin typeface="+mn-lt"/>
                <a:ea typeface="EnBW DIN Pro"/>
              </a:defRPr>
            </a:lvl1pPr>
            <a:lvl2pPr marL="324000" indent="0">
              <a:buNone/>
              <a:defRPr>
                <a:solidFill>
                  <a:schemeClr val="accent6"/>
                </a:solidFill>
              </a:defRPr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C3D4A45-F672-4474-BA28-E624C64DA63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38288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24013667"/>
              </p:ext>
            </p:ext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310" y="640724"/>
            <a:ext cx="9445627" cy="338554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1"/>
          </p:nvPr>
        </p:nvSpPr>
        <p:spPr>
          <a:xfrm>
            <a:off x="468312" y="1700214"/>
            <a:ext cx="5484813" cy="360838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 smtClean="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6"/>
          </p:nvPr>
        </p:nvSpPr>
        <p:spPr bwMode="gray">
          <a:xfrm>
            <a:off x="6242049" y="1698544"/>
            <a:ext cx="5472113" cy="4754644"/>
          </a:xfrm>
        </p:spPr>
        <p:txBody>
          <a:bodyPr/>
          <a:lstStyle>
            <a:lvl1pPr>
              <a:defRPr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8" hasCustomPrompt="1"/>
          </p:nvPr>
        </p:nvSpPr>
        <p:spPr>
          <a:xfrm>
            <a:off x="468312" y="5397500"/>
            <a:ext cx="5484813" cy="1055688"/>
          </a:xfrm>
        </p:spPr>
        <p:txBody>
          <a:bodyPr/>
          <a:lstStyle>
            <a:lvl1pPr>
              <a:lnSpc>
                <a:spcPts val="1500"/>
              </a:lnSpc>
              <a:spcAft>
                <a:spcPts val="0"/>
              </a:spcAft>
              <a:defRPr sz="1200" b="0">
                <a:solidFill>
                  <a:schemeClr val="tx1"/>
                </a:solidFill>
                <a:latin typeface="+mn-lt"/>
                <a:ea typeface="EnBW DIN Pro"/>
              </a:defRPr>
            </a:lvl1pPr>
          </a:lstStyle>
          <a:p>
            <a:pPr lvl="0"/>
            <a:r>
              <a:rPr lang="de-DE" dirty="0"/>
              <a:t>Fließtext Small</a:t>
            </a:r>
          </a:p>
        </p:txBody>
      </p:sp>
    </p:spTree>
    <p:extLst>
      <p:ext uri="{BB962C8B-B14F-4D97-AF65-F5344CB8AC3E}">
        <p14:creationId xmlns:p14="http://schemas.microsoft.com/office/powerpoint/2010/main" val="2783546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1164563"/>
              </p:ext>
            </p:ext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312" y="640724"/>
            <a:ext cx="9445625" cy="338554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/>
          </a:p>
        </p:txBody>
      </p:sp>
      <p:sp>
        <p:nvSpPr>
          <p:cNvPr id="6" name="Diagrammplatzhalter 4"/>
          <p:cNvSpPr>
            <a:spLocks noGrp="1"/>
          </p:cNvSpPr>
          <p:nvPr>
            <p:ph type="chart" sz="quarter" idx="18"/>
          </p:nvPr>
        </p:nvSpPr>
        <p:spPr>
          <a:xfrm>
            <a:off x="468313" y="2276872"/>
            <a:ext cx="11245850" cy="3384376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  <a:latin typeface="+mn-lt"/>
                <a:ea typeface="DIN-Regular" panose="020B0500010101010101" pitchFamily="34" charset="0"/>
              </a:defRPr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7" name="Textplatzhalt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68311" y="5753100"/>
            <a:ext cx="11245850" cy="700088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1200" b="0">
                <a:solidFill>
                  <a:schemeClr val="tx2"/>
                </a:solidFill>
                <a:latin typeface="+mn-lt"/>
                <a:ea typeface="EnBW DIN Pro"/>
              </a:defRPr>
            </a:lvl1pPr>
          </a:lstStyle>
          <a:p>
            <a:pPr lvl="0"/>
            <a:r>
              <a:rPr lang="de-DE" dirty="0"/>
              <a:t>Fließtext Small 12pt</a:t>
            </a:r>
          </a:p>
        </p:txBody>
      </p:sp>
      <p:sp>
        <p:nvSpPr>
          <p:cNvPr id="9" name="Textplatzhalter 12"/>
          <p:cNvSpPr>
            <a:spLocks noGrp="1"/>
          </p:cNvSpPr>
          <p:nvPr>
            <p:ph type="body" sz="quarter" idx="20"/>
          </p:nvPr>
        </p:nvSpPr>
        <p:spPr>
          <a:xfrm>
            <a:off x="468313" y="1700213"/>
            <a:ext cx="11245850" cy="40780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spcBef>
                <a:spcPts val="300"/>
              </a:spcBef>
              <a:defRPr lang="de-DE" sz="1200" dirty="0" smtClean="0">
                <a:latin typeface="EnBW DIN Pro"/>
                <a:ea typeface="EnBW DIN Pro"/>
                <a:cs typeface="EnBW DIN Pro"/>
                <a:sym typeface="EnBW DIN Pro"/>
              </a:defRPr>
            </a:lvl1pPr>
            <a:lvl2pPr>
              <a:spcBef>
                <a:spcPts val="300"/>
              </a:spcBef>
              <a:defRPr lang="de-DE" sz="1200" dirty="0" smtClean="0">
                <a:solidFill>
                  <a:schemeClr val="tx2"/>
                </a:solidFill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1652009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w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oleObject" Target="../embeddings/oleObject15.bin"/><Relationship Id="rId2" Type="http://schemas.openxmlformats.org/officeDocument/2006/relationships/slideLayout" Target="../slideLayouts/slideLayout15.xml"/><Relationship Id="rId16" Type="http://schemas.openxmlformats.org/officeDocument/2006/relationships/tags" Target="../tags/tag16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vmlDrawing" Target="../drawings/vmlDrawing15.vml"/><Relationship Id="rId10" Type="http://schemas.openxmlformats.org/officeDocument/2006/relationships/slideLayout" Target="../slideLayouts/slideLayout23.xml"/><Relationship Id="rId19" Type="http://schemas.openxmlformats.org/officeDocument/2006/relationships/image" Target="../media/image2.wmf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522806268"/>
              </p:ext>
            </p:ext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Folie" r:id="rId17" imgW="270" imgH="270" progId="TCLayout.ActiveDocument.1">
                  <p:embed/>
                </p:oleObj>
              </mc:Choice>
              <mc:Fallback>
                <p:oleObj name="think-cell Folie" r:id="rId17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8619" name="Rectangle 11"/>
          <p:cNvSpPr>
            <a:spLocks noGrp="1" noChangeArrowheads="1"/>
          </p:cNvSpPr>
          <p:nvPr>
            <p:ph type="title"/>
          </p:nvPr>
        </p:nvSpPr>
        <p:spPr bwMode="auto">
          <a:xfrm>
            <a:off x="468311" y="640724"/>
            <a:ext cx="9445626" cy="338554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dirty="0"/>
              <a:t>Headline 22pt mittig zentriert</a:t>
            </a:r>
          </a:p>
        </p:txBody>
      </p:sp>
      <p:sp>
        <p:nvSpPr>
          <p:cNvPr id="68623" name="Rectangle 15"/>
          <p:cNvSpPr>
            <a:spLocks noGrp="1" noChangeAspect="1" noChangeArrowheads="1"/>
          </p:cNvSpPr>
          <p:nvPr>
            <p:ph type="sldNum" sz="quarter" idx="4"/>
          </p:nvPr>
        </p:nvSpPr>
        <p:spPr bwMode="auto">
          <a:xfrm>
            <a:off x="11272636" y="6537201"/>
            <a:ext cx="412182" cy="18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defRPr sz="900">
                <a:solidFill>
                  <a:schemeClr val="tx1"/>
                </a:solidFill>
                <a:latin typeface="EnBW DIN Pro"/>
                <a:cs typeface="EnBW DIN Pro"/>
                <a:sym typeface="EnBW DIN Pro"/>
              </a:defRPr>
            </a:lvl1pPr>
          </a:lstStyle>
          <a:p>
            <a:fld id="{0C3D4A45-F672-4474-BA28-E624C64DA635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8630" name="Rectangle 2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2" y="1700214"/>
            <a:ext cx="9445625" cy="4752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Headline </a:t>
            </a:r>
            <a:r>
              <a:rPr lang="de-DE" dirty="0" err="1"/>
              <a:t>Bold</a:t>
            </a:r>
            <a:r>
              <a:rPr lang="de-DE" dirty="0"/>
              <a:t> 16pt</a:t>
            </a:r>
          </a:p>
          <a:p>
            <a:pPr lvl="1"/>
            <a:r>
              <a:rPr lang="de-DE" dirty="0"/>
              <a:t>Fließtext Regular 16pt</a:t>
            </a:r>
          </a:p>
          <a:p>
            <a:pPr lvl="2"/>
            <a:r>
              <a:rPr lang="de-DE" dirty="0"/>
              <a:t>Dritte Ebene Regular 16pt</a:t>
            </a:r>
          </a:p>
          <a:p>
            <a:pPr lvl="3"/>
            <a:r>
              <a:rPr lang="de-DE" dirty="0"/>
              <a:t>Vierte Ebene Regular 14pt</a:t>
            </a:r>
          </a:p>
          <a:p>
            <a:pPr lvl="4"/>
            <a:r>
              <a:rPr lang="de-DE" dirty="0"/>
              <a:t>Fünfte Ebene Regular 14pt</a:t>
            </a:r>
          </a:p>
          <a:p>
            <a:pPr lvl="5"/>
            <a:r>
              <a:rPr lang="de-DE" dirty="0"/>
              <a:t>Weitere Ebene 14pt</a:t>
            </a:r>
          </a:p>
        </p:txBody>
      </p:sp>
      <p:grpSp>
        <p:nvGrpSpPr>
          <p:cNvPr id="2" name="Gruppieren 1"/>
          <p:cNvGrpSpPr/>
          <p:nvPr/>
        </p:nvGrpSpPr>
        <p:grpSpPr>
          <a:xfrm>
            <a:off x="-202400" y="-167481"/>
            <a:ext cx="12599974" cy="7170737"/>
            <a:chOff x="-202400" y="-167481"/>
            <a:chExt cx="12599974" cy="7170737"/>
          </a:xfrm>
        </p:grpSpPr>
        <p:cxnSp>
          <p:nvCxnSpPr>
            <p:cNvPr id="21" name="Gerade Verbindung 20"/>
            <p:cNvCxnSpPr/>
            <p:nvPr userDrawn="1"/>
          </p:nvCxnSpPr>
          <p:spPr bwMode="auto">
            <a:xfrm>
              <a:off x="-202400" y="1700213"/>
              <a:ext cx="142912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7" name="Gerade Verbindung 26"/>
            <p:cNvCxnSpPr/>
            <p:nvPr userDrawn="1"/>
          </p:nvCxnSpPr>
          <p:spPr bwMode="auto">
            <a:xfrm>
              <a:off x="-202400" y="6453188"/>
              <a:ext cx="142912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8" name="Gerade Verbindung 27"/>
            <p:cNvCxnSpPr/>
            <p:nvPr userDrawn="1"/>
          </p:nvCxnSpPr>
          <p:spPr bwMode="auto">
            <a:xfrm>
              <a:off x="12254662" y="1700213"/>
              <a:ext cx="142912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9" name="Gerade Verbindung 28"/>
            <p:cNvCxnSpPr/>
            <p:nvPr userDrawn="1"/>
          </p:nvCxnSpPr>
          <p:spPr bwMode="auto">
            <a:xfrm>
              <a:off x="12254662" y="6453188"/>
              <a:ext cx="142912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0" name="Gerade Verbindung 29"/>
            <p:cNvCxnSpPr/>
            <p:nvPr userDrawn="1"/>
          </p:nvCxnSpPr>
          <p:spPr bwMode="auto">
            <a:xfrm rot="16200000">
              <a:off x="414735" y="6949678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1" name="Gerade Verbindung 30"/>
            <p:cNvCxnSpPr/>
            <p:nvPr userDrawn="1"/>
          </p:nvCxnSpPr>
          <p:spPr bwMode="auto">
            <a:xfrm rot="16200000">
              <a:off x="11660585" y="6949678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2" name="Gerade Verbindung 31"/>
            <p:cNvCxnSpPr/>
            <p:nvPr userDrawn="1"/>
          </p:nvCxnSpPr>
          <p:spPr bwMode="auto">
            <a:xfrm rot="16200000">
              <a:off x="6192226" y="6949678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3" name="Gerade Verbindung 32"/>
            <p:cNvCxnSpPr/>
            <p:nvPr userDrawn="1"/>
          </p:nvCxnSpPr>
          <p:spPr bwMode="auto">
            <a:xfrm rot="16200000">
              <a:off x="5899547" y="6949678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4" name="Gerade Verbindung 33"/>
            <p:cNvCxnSpPr/>
            <p:nvPr userDrawn="1"/>
          </p:nvCxnSpPr>
          <p:spPr bwMode="auto">
            <a:xfrm rot="16200000">
              <a:off x="414735" y="-113903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5" name="Gerade Verbindung 34"/>
            <p:cNvCxnSpPr/>
            <p:nvPr userDrawn="1"/>
          </p:nvCxnSpPr>
          <p:spPr bwMode="auto">
            <a:xfrm rot="16200000">
              <a:off x="11660585" y="-113903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 rot="16200000">
              <a:off x="6192226" y="-113903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 rot="16200000">
              <a:off x="5899547" y="-113903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 rot="16200000">
              <a:off x="9860359" y="6949678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 rot="16200000">
              <a:off x="9860359" y="-113903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40" name="Grafik 39"/>
          <p:cNvPicPr preferRelativeResize="0"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87167" y="646933"/>
            <a:ext cx="1527044" cy="363689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26" name="Gerade Verbindung 25"/>
          <p:cNvCxnSpPr/>
          <p:nvPr/>
        </p:nvCxnSpPr>
        <p:spPr bwMode="auto">
          <a:xfrm>
            <a:off x="161187" y="1452397"/>
            <a:ext cx="11872800" cy="0"/>
          </a:xfrm>
          <a:prstGeom prst="line">
            <a:avLst/>
          </a:prstGeom>
          <a:solidFill>
            <a:srgbClr val="F0F0F0"/>
          </a:solidFill>
          <a:ln w="6350" cap="flat" cmpd="sng" algn="ctr">
            <a:solidFill>
              <a:srgbClr val="CCCCCC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1" name="Gerade Verbindung 40"/>
          <p:cNvCxnSpPr/>
          <p:nvPr/>
        </p:nvCxnSpPr>
        <p:spPr bwMode="auto">
          <a:xfrm>
            <a:off x="162000" y="6534000"/>
            <a:ext cx="11872800" cy="0"/>
          </a:xfrm>
          <a:prstGeom prst="line">
            <a:avLst/>
          </a:prstGeom>
          <a:solidFill>
            <a:srgbClr val="F0F0F0"/>
          </a:solidFill>
          <a:ln w="6350" cap="flat" cmpd="sng" algn="ctr">
            <a:solidFill>
              <a:srgbClr val="CCCCCC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91" r:id="rId2"/>
    <p:sldLayoutId id="2147483664" r:id="rId3"/>
    <p:sldLayoutId id="2147483673" r:id="rId4"/>
    <p:sldLayoutId id="2147483680" r:id="rId5"/>
    <p:sldLayoutId id="2147483666" r:id="rId6"/>
    <p:sldLayoutId id="2147483681" r:id="rId7"/>
    <p:sldLayoutId id="2147483667" r:id="rId8"/>
    <p:sldLayoutId id="2147483668" r:id="rId9"/>
    <p:sldLayoutId id="2147483669" r:id="rId10"/>
    <p:sldLayoutId id="2147483671" r:id="rId11"/>
    <p:sldLayoutId id="2147483672" r:id="rId12"/>
    <p:sldLayoutId id="2147483676" r:id="rId13"/>
  </p:sldLayoutIdLst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hf hdr="0" ftr="0" dt="0"/>
  <p:txStyles>
    <p:titleStyle>
      <a:lvl1pPr marL="0" indent="0"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2200" baseline="0">
          <a:solidFill>
            <a:schemeClr val="accent6"/>
          </a:solidFill>
          <a:latin typeface="+mn-lt"/>
          <a:ea typeface="EnBW DIN Pro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0099"/>
          </a:solidFill>
          <a:latin typeface="DIN-Medium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0099"/>
          </a:solidFill>
          <a:latin typeface="DIN-Medium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0099"/>
          </a:solidFill>
          <a:latin typeface="DIN-Medium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0099"/>
          </a:solidFill>
          <a:latin typeface="DIN-Medium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0099"/>
          </a:solidFill>
          <a:latin typeface="DIN-Medium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0099"/>
          </a:solidFill>
          <a:latin typeface="DIN-Medium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0099"/>
          </a:solidFill>
          <a:latin typeface="DIN-Medium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0099"/>
          </a:solidFill>
          <a:latin typeface="DIN-Medium" pitchFamily="34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600"/>
        </a:spcBef>
        <a:spcAft>
          <a:spcPts val="0"/>
        </a:spcAft>
        <a:buClr>
          <a:schemeClr val="accent6"/>
        </a:buClr>
        <a:buSzPct val="100000"/>
        <a:buFontTx/>
        <a:buNone/>
        <a:defRPr sz="1600" b="1" baseline="0">
          <a:solidFill>
            <a:schemeClr val="tx2"/>
          </a:solidFill>
          <a:latin typeface="EnBW DIN Pro"/>
          <a:ea typeface="EnBW DIN Pro"/>
          <a:cs typeface="EnBW DIN Pro"/>
          <a:sym typeface="EnBW DIN Pro"/>
        </a:defRPr>
      </a:lvl1pPr>
      <a:lvl2pPr marL="0" indent="0" algn="l" rtl="0" eaLnBrk="1" fontAlgn="base" hangingPunct="1">
        <a:lnSpc>
          <a:spcPct val="100000"/>
        </a:lnSpc>
        <a:spcBef>
          <a:spcPts val="600"/>
        </a:spcBef>
        <a:spcAft>
          <a:spcPts val="0"/>
        </a:spcAft>
        <a:buClr>
          <a:schemeClr val="accent6"/>
        </a:buClr>
        <a:buSzPct val="140000"/>
        <a:buFont typeface="DIN-Medium" panose="020B0600010101020104" pitchFamily="34" charset="0"/>
        <a:buNone/>
        <a:defRPr sz="1600">
          <a:solidFill>
            <a:schemeClr val="tx1"/>
          </a:solidFill>
          <a:latin typeface="+mn-lt"/>
          <a:ea typeface="EnBW DIN Pro"/>
        </a:defRPr>
      </a:lvl2pPr>
      <a:lvl3pPr marL="162000" indent="-162000" algn="l" rtl="0" eaLnBrk="1" fontAlgn="base" hangingPunct="1">
        <a:lnSpc>
          <a:spcPct val="100000"/>
        </a:lnSpc>
        <a:spcBef>
          <a:spcPts val="600"/>
        </a:spcBef>
        <a:spcAft>
          <a:spcPts val="0"/>
        </a:spcAft>
        <a:buClr>
          <a:srgbClr val="FF9900"/>
        </a:buClr>
        <a:buSzPct val="100000"/>
        <a:buFont typeface="EnBW DIN Pro" panose="020B0504020101020102" pitchFamily="34" charset="0"/>
        <a:buChar char="›"/>
        <a:defRPr sz="1600">
          <a:solidFill>
            <a:schemeClr val="tx1"/>
          </a:solidFill>
          <a:latin typeface="+mn-lt"/>
          <a:ea typeface="EnBW DIN Pro"/>
        </a:defRPr>
      </a:lvl3pPr>
      <a:lvl4pPr marL="324000" indent="-162000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Tx/>
        <a:buSzPct val="100000"/>
        <a:buFont typeface="Symbol" panose="05050102010706020507" pitchFamily="18" charset="2"/>
        <a:buChar char="-"/>
        <a:defRPr lang="de-DE" sz="1400" dirty="0" smtClean="0">
          <a:solidFill>
            <a:schemeClr val="tx1"/>
          </a:solidFill>
          <a:latin typeface="+mn-lt"/>
          <a:ea typeface="EnBW DIN Pro"/>
        </a:defRPr>
      </a:lvl4pPr>
      <a:lvl5pPr marL="486000" indent="-162000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Tx/>
        <a:buSzPct val="100000"/>
        <a:buFont typeface="Symbol" panose="05050102010706020507" pitchFamily="18" charset="2"/>
        <a:buChar char="-"/>
        <a:defRPr sz="1400">
          <a:solidFill>
            <a:schemeClr val="tx1"/>
          </a:solidFill>
          <a:latin typeface="+mn-lt"/>
          <a:ea typeface="EnBW DIN Pro"/>
        </a:defRPr>
      </a:lvl5pPr>
      <a:lvl6pPr marL="648000" indent="-162000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Tx/>
        <a:buSzPct val="100000"/>
        <a:buFont typeface="Symbol" panose="05050102010706020507" pitchFamily="18" charset="2"/>
        <a:buChar char="-"/>
        <a:defRPr sz="1400">
          <a:solidFill>
            <a:schemeClr val="tx1"/>
          </a:solidFill>
          <a:latin typeface="+mn-lt"/>
        </a:defRPr>
      </a:lvl6pPr>
      <a:lvl7pPr marL="2525713" indent="-174625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rgbClr val="FF9900"/>
        </a:buClr>
        <a:buSzPct val="160000"/>
        <a:buFont typeface="DIN-Regular" pitchFamily="34" charset="0"/>
        <a:buChar char="›"/>
        <a:defRPr>
          <a:solidFill>
            <a:schemeClr val="tx1"/>
          </a:solidFill>
          <a:latin typeface="+mn-lt"/>
        </a:defRPr>
      </a:lvl7pPr>
      <a:lvl8pPr marL="2982913" indent="-174625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rgbClr val="FF9900"/>
        </a:buClr>
        <a:buSzPct val="160000"/>
        <a:buFont typeface="DIN-Regular" pitchFamily="34" charset="0"/>
        <a:buChar char="›"/>
        <a:defRPr>
          <a:solidFill>
            <a:schemeClr val="tx1"/>
          </a:solidFill>
          <a:latin typeface="+mn-lt"/>
        </a:defRPr>
      </a:lvl8pPr>
      <a:lvl9pPr marL="3440113" indent="-174625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rgbClr val="FF9900"/>
        </a:buClr>
        <a:buSzPct val="160000"/>
        <a:buFont typeface="DIN-Regular" pitchFamily="34" charset="0"/>
        <a:buChar char="›"/>
        <a:defRPr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846359626"/>
              </p:ext>
            </p:ext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Folie" r:id="rId17" imgW="270" imgH="270" progId="TCLayout.ActiveDocument.1">
                  <p:embed/>
                </p:oleObj>
              </mc:Choice>
              <mc:Fallback>
                <p:oleObj name="think-cell Folie" r:id="rId17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8619" name="Rectangle 11"/>
          <p:cNvSpPr>
            <a:spLocks noGrp="1" noChangeArrowheads="1"/>
          </p:cNvSpPr>
          <p:nvPr>
            <p:ph type="title"/>
          </p:nvPr>
        </p:nvSpPr>
        <p:spPr bwMode="auto">
          <a:xfrm>
            <a:off x="468311" y="640724"/>
            <a:ext cx="9445626" cy="338554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dirty="0"/>
              <a:t>Headline 22pt mittig zentriert</a:t>
            </a:r>
          </a:p>
        </p:txBody>
      </p:sp>
      <p:sp>
        <p:nvSpPr>
          <p:cNvPr id="68622" name="Rectangle 1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68312" y="6602224"/>
            <a:ext cx="9445626" cy="1154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defRPr sz="750" b="0">
                <a:solidFill>
                  <a:schemeClr val="tx1"/>
                </a:solidFill>
                <a:latin typeface="+mn-lt"/>
                <a:ea typeface="EnBW DIN Pro"/>
              </a:defRPr>
            </a:lvl1pPr>
          </a:lstStyle>
          <a:p>
            <a:endParaRPr lang="de-DE" dirty="0"/>
          </a:p>
        </p:txBody>
      </p:sp>
      <p:sp>
        <p:nvSpPr>
          <p:cNvPr id="68623" name="Rectangle 15"/>
          <p:cNvSpPr>
            <a:spLocks noGrp="1" noChangeAspect="1" noChangeArrowheads="1"/>
          </p:cNvSpPr>
          <p:nvPr>
            <p:ph type="sldNum" sz="quarter" idx="4"/>
          </p:nvPr>
        </p:nvSpPr>
        <p:spPr bwMode="auto">
          <a:xfrm>
            <a:off x="11272636" y="6537201"/>
            <a:ext cx="412182" cy="18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defRPr sz="900">
                <a:solidFill>
                  <a:schemeClr val="tx1"/>
                </a:solidFill>
                <a:latin typeface="EnBW DIN Pro"/>
                <a:cs typeface="EnBW DIN Pro"/>
                <a:sym typeface="EnBW DIN Pro"/>
              </a:defRPr>
            </a:lvl1pPr>
          </a:lstStyle>
          <a:p>
            <a:fld id="{0C3D4A45-F672-4474-BA28-E624C64DA635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8630" name="Rectangle 2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2" y="1700214"/>
            <a:ext cx="9445625" cy="4752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Headline </a:t>
            </a:r>
            <a:r>
              <a:rPr lang="de-DE" dirty="0" err="1"/>
              <a:t>Bold</a:t>
            </a:r>
            <a:r>
              <a:rPr lang="de-DE" dirty="0"/>
              <a:t> 16pt</a:t>
            </a:r>
          </a:p>
          <a:p>
            <a:pPr lvl="1"/>
            <a:r>
              <a:rPr lang="de-DE" dirty="0"/>
              <a:t>Fließtext Regular 16pt</a:t>
            </a:r>
          </a:p>
          <a:p>
            <a:pPr lvl="2"/>
            <a:r>
              <a:rPr lang="de-DE" dirty="0"/>
              <a:t>Dritte Ebene Regular 16pt</a:t>
            </a:r>
          </a:p>
          <a:p>
            <a:pPr lvl="3"/>
            <a:r>
              <a:rPr lang="de-DE" dirty="0"/>
              <a:t>Vierte Ebene Regular 14pt</a:t>
            </a:r>
          </a:p>
          <a:p>
            <a:pPr lvl="4"/>
            <a:r>
              <a:rPr lang="de-DE" dirty="0"/>
              <a:t>Fünfte Ebene Regular 14pt</a:t>
            </a:r>
          </a:p>
          <a:p>
            <a:pPr lvl="5"/>
            <a:r>
              <a:rPr lang="de-DE" dirty="0"/>
              <a:t>Weitere Ebene 14pt</a:t>
            </a:r>
          </a:p>
        </p:txBody>
      </p:sp>
      <p:grpSp>
        <p:nvGrpSpPr>
          <p:cNvPr id="2" name="Gruppieren 1"/>
          <p:cNvGrpSpPr/>
          <p:nvPr/>
        </p:nvGrpSpPr>
        <p:grpSpPr>
          <a:xfrm>
            <a:off x="-202400" y="-167481"/>
            <a:ext cx="12599974" cy="7170737"/>
            <a:chOff x="-202400" y="-167481"/>
            <a:chExt cx="12599974" cy="7170737"/>
          </a:xfrm>
        </p:grpSpPr>
        <p:cxnSp>
          <p:nvCxnSpPr>
            <p:cNvPr id="21" name="Gerade Verbindung 20"/>
            <p:cNvCxnSpPr/>
            <p:nvPr userDrawn="1"/>
          </p:nvCxnSpPr>
          <p:spPr bwMode="auto">
            <a:xfrm>
              <a:off x="-202400" y="1700213"/>
              <a:ext cx="142912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7" name="Gerade Verbindung 26"/>
            <p:cNvCxnSpPr/>
            <p:nvPr userDrawn="1"/>
          </p:nvCxnSpPr>
          <p:spPr bwMode="auto">
            <a:xfrm>
              <a:off x="-202400" y="6453188"/>
              <a:ext cx="142912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8" name="Gerade Verbindung 27"/>
            <p:cNvCxnSpPr/>
            <p:nvPr userDrawn="1"/>
          </p:nvCxnSpPr>
          <p:spPr bwMode="auto">
            <a:xfrm>
              <a:off x="12254662" y="1700213"/>
              <a:ext cx="142912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9" name="Gerade Verbindung 28"/>
            <p:cNvCxnSpPr/>
            <p:nvPr userDrawn="1"/>
          </p:nvCxnSpPr>
          <p:spPr bwMode="auto">
            <a:xfrm>
              <a:off x="12254662" y="6453188"/>
              <a:ext cx="142912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0" name="Gerade Verbindung 29"/>
            <p:cNvCxnSpPr/>
            <p:nvPr userDrawn="1"/>
          </p:nvCxnSpPr>
          <p:spPr bwMode="auto">
            <a:xfrm rot="16200000">
              <a:off x="414735" y="6949678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1" name="Gerade Verbindung 30"/>
            <p:cNvCxnSpPr/>
            <p:nvPr userDrawn="1"/>
          </p:nvCxnSpPr>
          <p:spPr bwMode="auto">
            <a:xfrm rot="16200000">
              <a:off x="11660585" y="6949678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2" name="Gerade Verbindung 31"/>
            <p:cNvCxnSpPr/>
            <p:nvPr userDrawn="1"/>
          </p:nvCxnSpPr>
          <p:spPr bwMode="auto">
            <a:xfrm rot="16200000">
              <a:off x="6192226" y="6949678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3" name="Gerade Verbindung 32"/>
            <p:cNvCxnSpPr/>
            <p:nvPr userDrawn="1"/>
          </p:nvCxnSpPr>
          <p:spPr bwMode="auto">
            <a:xfrm rot="16200000">
              <a:off x="5899547" y="6949678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4" name="Gerade Verbindung 33"/>
            <p:cNvCxnSpPr/>
            <p:nvPr userDrawn="1"/>
          </p:nvCxnSpPr>
          <p:spPr bwMode="auto">
            <a:xfrm rot="16200000">
              <a:off x="414735" y="-113903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5" name="Gerade Verbindung 34"/>
            <p:cNvCxnSpPr/>
            <p:nvPr userDrawn="1"/>
          </p:nvCxnSpPr>
          <p:spPr bwMode="auto">
            <a:xfrm rot="16200000">
              <a:off x="11660585" y="-113903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 rot="16200000">
              <a:off x="6192226" y="-113903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 rot="16200000">
              <a:off x="5899547" y="-113903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 rot="16200000">
              <a:off x="9860359" y="6949678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 rot="16200000">
              <a:off x="9860359" y="-113903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40" name="Grafik 39"/>
          <p:cNvPicPr preferRelativeResize="0"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87167" y="646933"/>
            <a:ext cx="1527044" cy="363689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26" name="Gerade Verbindung 25"/>
          <p:cNvCxnSpPr/>
          <p:nvPr/>
        </p:nvCxnSpPr>
        <p:spPr bwMode="auto">
          <a:xfrm>
            <a:off x="161187" y="1452397"/>
            <a:ext cx="11872800" cy="0"/>
          </a:xfrm>
          <a:prstGeom prst="line">
            <a:avLst/>
          </a:prstGeom>
          <a:solidFill>
            <a:srgbClr val="F0F0F0"/>
          </a:solidFill>
          <a:ln w="6350" cap="flat" cmpd="sng" algn="ctr">
            <a:solidFill>
              <a:srgbClr val="CCCCCC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1" name="Gerade Verbindung 40"/>
          <p:cNvCxnSpPr/>
          <p:nvPr/>
        </p:nvCxnSpPr>
        <p:spPr bwMode="auto">
          <a:xfrm>
            <a:off x="162000" y="6534000"/>
            <a:ext cx="11872800" cy="0"/>
          </a:xfrm>
          <a:prstGeom prst="line">
            <a:avLst/>
          </a:prstGeom>
          <a:solidFill>
            <a:srgbClr val="F0F0F0"/>
          </a:solidFill>
          <a:ln w="6350" cap="flat" cmpd="sng" algn="ctr">
            <a:solidFill>
              <a:srgbClr val="CCCCCC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480504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  <p:sldLayoutId id="2147483711" r:id="rId5"/>
    <p:sldLayoutId id="2147483712" r:id="rId6"/>
    <p:sldLayoutId id="2147483713" r:id="rId7"/>
    <p:sldLayoutId id="2147483714" r:id="rId8"/>
    <p:sldLayoutId id="2147483715" r:id="rId9"/>
    <p:sldLayoutId id="2147483716" r:id="rId10"/>
    <p:sldLayoutId id="2147483717" r:id="rId11"/>
    <p:sldLayoutId id="2147483718" r:id="rId12"/>
    <p:sldLayoutId id="2147483719" r:id="rId13"/>
  </p:sldLayoutIdLst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hf hdr="0" ftr="0" dt="0"/>
  <p:txStyles>
    <p:titleStyle>
      <a:lvl1pPr marL="0" indent="0"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2200" baseline="0">
          <a:solidFill>
            <a:schemeClr val="accent6"/>
          </a:solidFill>
          <a:latin typeface="+mn-lt"/>
          <a:ea typeface="EnBW DIN Pro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0099"/>
          </a:solidFill>
          <a:latin typeface="DIN-Medium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0099"/>
          </a:solidFill>
          <a:latin typeface="DIN-Medium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0099"/>
          </a:solidFill>
          <a:latin typeface="DIN-Medium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0099"/>
          </a:solidFill>
          <a:latin typeface="DIN-Medium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0099"/>
          </a:solidFill>
          <a:latin typeface="DIN-Medium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0099"/>
          </a:solidFill>
          <a:latin typeface="DIN-Medium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0099"/>
          </a:solidFill>
          <a:latin typeface="DIN-Medium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0099"/>
          </a:solidFill>
          <a:latin typeface="DIN-Medium" pitchFamily="34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600"/>
        </a:spcBef>
        <a:spcAft>
          <a:spcPts val="0"/>
        </a:spcAft>
        <a:buClr>
          <a:schemeClr val="accent6"/>
        </a:buClr>
        <a:buSzPct val="100000"/>
        <a:buFontTx/>
        <a:buNone/>
        <a:defRPr sz="1600" b="1" baseline="0">
          <a:solidFill>
            <a:schemeClr val="tx2"/>
          </a:solidFill>
          <a:latin typeface="EnBW DIN Pro"/>
          <a:ea typeface="EnBW DIN Pro"/>
          <a:cs typeface="EnBW DIN Pro"/>
          <a:sym typeface="EnBW DIN Pro"/>
        </a:defRPr>
      </a:lvl1pPr>
      <a:lvl2pPr marL="0" indent="0" algn="l" rtl="0" eaLnBrk="1" fontAlgn="base" hangingPunct="1">
        <a:lnSpc>
          <a:spcPct val="100000"/>
        </a:lnSpc>
        <a:spcBef>
          <a:spcPts val="600"/>
        </a:spcBef>
        <a:spcAft>
          <a:spcPts val="0"/>
        </a:spcAft>
        <a:buClr>
          <a:schemeClr val="accent6"/>
        </a:buClr>
        <a:buSzPct val="140000"/>
        <a:buFont typeface="DIN-Medium" panose="020B0600010101020104" pitchFamily="34" charset="0"/>
        <a:buNone/>
        <a:defRPr sz="1600">
          <a:solidFill>
            <a:schemeClr val="tx1"/>
          </a:solidFill>
          <a:latin typeface="+mn-lt"/>
          <a:ea typeface="EnBW DIN Pro"/>
        </a:defRPr>
      </a:lvl2pPr>
      <a:lvl3pPr marL="162000" indent="-162000" algn="l" rtl="0" eaLnBrk="1" fontAlgn="base" hangingPunct="1">
        <a:lnSpc>
          <a:spcPct val="100000"/>
        </a:lnSpc>
        <a:spcBef>
          <a:spcPts val="600"/>
        </a:spcBef>
        <a:spcAft>
          <a:spcPts val="0"/>
        </a:spcAft>
        <a:buClr>
          <a:srgbClr val="FF9900"/>
        </a:buClr>
        <a:buSzPct val="100000"/>
        <a:buFont typeface="EnBW DIN Pro" panose="020B0504020101020102" pitchFamily="34" charset="0"/>
        <a:buChar char="›"/>
        <a:defRPr sz="1600">
          <a:solidFill>
            <a:schemeClr val="tx1"/>
          </a:solidFill>
          <a:latin typeface="+mn-lt"/>
          <a:ea typeface="EnBW DIN Pro"/>
        </a:defRPr>
      </a:lvl3pPr>
      <a:lvl4pPr marL="324000" indent="-162000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Tx/>
        <a:buSzPct val="100000"/>
        <a:buFont typeface="Symbol" panose="05050102010706020507" pitchFamily="18" charset="2"/>
        <a:buChar char="-"/>
        <a:defRPr lang="de-DE" sz="1400" dirty="0" smtClean="0">
          <a:solidFill>
            <a:schemeClr val="tx1"/>
          </a:solidFill>
          <a:latin typeface="+mn-lt"/>
          <a:ea typeface="EnBW DIN Pro"/>
        </a:defRPr>
      </a:lvl4pPr>
      <a:lvl5pPr marL="486000" indent="-162000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Tx/>
        <a:buSzPct val="100000"/>
        <a:buFont typeface="Symbol" panose="05050102010706020507" pitchFamily="18" charset="2"/>
        <a:buChar char="-"/>
        <a:defRPr sz="1400">
          <a:solidFill>
            <a:schemeClr val="tx1"/>
          </a:solidFill>
          <a:latin typeface="+mn-lt"/>
          <a:ea typeface="EnBW DIN Pro"/>
        </a:defRPr>
      </a:lvl5pPr>
      <a:lvl6pPr marL="648000" indent="-162000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Tx/>
        <a:buSzPct val="100000"/>
        <a:buFont typeface="Symbol" panose="05050102010706020507" pitchFamily="18" charset="2"/>
        <a:buChar char="-"/>
        <a:defRPr sz="1400">
          <a:solidFill>
            <a:schemeClr val="tx1"/>
          </a:solidFill>
          <a:latin typeface="+mn-lt"/>
        </a:defRPr>
      </a:lvl6pPr>
      <a:lvl7pPr marL="2525713" indent="-174625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rgbClr val="FF9900"/>
        </a:buClr>
        <a:buSzPct val="160000"/>
        <a:buFont typeface="DIN-Regular" pitchFamily="34" charset="0"/>
        <a:buChar char="›"/>
        <a:defRPr>
          <a:solidFill>
            <a:schemeClr val="tx1"/>
          </a:solidFill>
          <a:latin typeface="+mn-lt"/>
        </a:defRPr>
      </a:lvl7pPr>
      <a:lvl8pPr marL="2982913" indent="-174625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rgbClr val="FF9900"/>
        </a:buClr>
        <a:buSzPct val="160000"/>
        <a:buFont typeface="DIN-Regular" pitchFamily="34" charset="0"/>
        <a:buChar char="›"/>
        <a:defRPr>
          <a:solidFill>
            <a:schemeClr val="tx1"/>
          </a:solidFill>
          <a:latin typeface="+mn-lt"/>
        </a:defRPr>
      </a:lvl8pPr>
      <a:lvl9pPr marL="3440113" indent="-174625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rgbClr val="FF9900"/>
        </a:buClr>
        <a:buSzPct val="160000"/>
        <a:buFont typeface="DIN-Regular" pitchFamily="34" charset="0"/>
        <a:buChar char="›"/>
        <a:defRPr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emf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6" Type="http://schemas.openxmlformats.org/officeDocument/2006/relationships/oleObject" Target="../embeddings/oleObject29.bin"/><Relationship Id="rId5" Type="http://schemas.openxmlformats.org/officeDocument/2006/relationships/image" Target="../media/image5.jpe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13" Type="http://schemas.openxmlformats.org/officeDocument/2006/relationships/image" Target="../media/image57.png"/><Relationship Id="rId3" Type="http://schemas.openxmlformats.org/officeDocument/2006/relationships/tags" Target="../tags/tag44.xml"/><Relationship Id="rId7" Type="http://schemas.openxmlformats.org/officeDocument/2006/relationships/image" Target="../media/image51.jpeg"/><Relationship Id="rId12" Type="http://schemas.openxmlformats.org/officeDocument/2006/relationships/image" Target="../media/image56.png"/><Relationship Id="rId2" Type="http://schemas.openxmlformats.org/officeDocument/2006/relationships/tags" Target="../tags/tag43.xml"/><Relationship Id="rId16" Type="http://schemas.openxmlformats.org/officeDocument/2006/relationships/image" Target="../media/image60.png"/><Relationship Id="rId1" Type="http://schemas.openxmlformats.org/officeDocument/2006/relationships/vmlDrawing" Target="../drawings/vmlDrawing37.vml"/><Relationship Id="rId6" Type="http://schemas.openxmlformats.org/officeDocument/2006/relationships/image" Target="../media/image6.emf"/><Relationship Id="rId11" Type="http://schemas.openxmlformats.org/officeDocument/2006/relationships/image" Target="../media/image55.png"/><Relationship Id="rId5" Type="http://schemas.openxmlformats.org/officeDocument/2006/relationships/oleObject" Target="../embeddings/oleObject37.bin"/><Relationship Id="rId15" Type="http://schemas.openxmlformats.org/officeDocument/2006/relationships/image" Target="../media/image59.png"/><Relationship Id="rId10" Type="http://schemas.openxmlformats.org/officeDocument/2006/relationships/image" Target="../media/image54.png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53.png"/><Relationship Id="rId14" Type="http://schemas.openxmlformats.org/officeDocument/2006/relationships/image" Target="../media/image58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51.xml"/><Relationship Id="rId13" Type="http://schemas.openxmlformats.org/officeDocument/2006/relationships/tags" Target="../tags/tag56.xml"/><Relationship Id="rId18" Type="http://schemas.openxmlformats.org/officeDocument/2006/relationships/tags" Target="../tags/tag61.xml"/><Relationship Id="rId26" Type="http://schemas.openxmlformats.org/officeDocument/2006/relationships/image" Target="../media/image63.jpeg"/><Relationship Id="rId3" Type="http://schemas.openxmlformats.org/officeDocument/2006/relationships/tags" Target="../tags/tag46.xml"/><Relationship Id="rId21" Type="http://schemas.openxmlformats.org/officeDocument/2006/relationships/oleObject" Target="../embeddings/oleObject38.bin"/><Relationship Id="rId7" Type="http://schemas.openxmlformats.org/officeDocument/2006/relationships/tags" Target="../tags/tag50.xml"/><Relationship Id="rId12" Type="http://schemas.openxmlformats.org/officeDocument/2006/relationships/tags" Target="../tags/tag55.xml"/><Relationship Id="rId17" Type="http://schemas.openxmlformats.org/officeDocument/2006/relationships/tags" Target="../tags/tag60.xml"/><Relationship Id="rId25" Type="http://schemas.openxmlformats.org/officeDocument/2006/relationships/image" Target="../media/image62.jpeg"/><Relationship Id="rId2" Type="http://schemas.openxmlformats.org/officeDocument/2006/relationships/tags" Target="../tags/tag45.xml"/><Relationship Id="rId16" Type="http://schemas.openxmlformats.org/officeDocument/2006/relationships/tags" Target="../tags/tag59.xml"/><Relationship Id="rId20" Type="http://schemas.openxmlformats.org/officeDocument/2006/relationships/notesSlide" Target="../notesSlides/notesSlide4.xml"/><Relationship Id="rId1" Type="http://schemas.openxmlformats.org/officeDocument/2006/relationships/vmlDrawing" Target="../drawings/vmlDrawing38.vml"/><Relationship Id="rId6" Type="http://schemas.openxmlformats.org/officeDocument/2006/relationships/tags" Target="../tags/tag49.xml"/><Relationship Id="rId11" Type="http://schemas.openxmlformats.org/officeDocument/2006/relationships/tags" Target="../tags/tag54.xml"/><Relationship Id="rId24" Type="http://schemas.openxmlformats.org/officeDocument/2006/relationships/image" Target="../media/image61.jpeg"/><Relationship Id="rId5" Type="http://schemas.openxmlformats.org/officeDocument/2006/relationships/tags" Target="../tags/tag48.xml"/><Relationship Id="rId15" Type="http://schemas.openxmlformats.org/officeDocument/2006/relationships/tags" Target="../tags/tag58.xml"/><Relationship Id="rId23" Type="http://schemas.openxmlformats.org/officeDocument/2006/relationships/chart" Target="../charts/chart3.xml"/><Relationship Id="rId10" Type="http://schemas.openxmlformats.org/officeDocument/2006/relationships/tags" Target="../tags/tag53.xml"/><Relationship Id="rId19" Type="http://schemas.openxmlformats.org/officeDocument/2006/relationships/slideLayout" Target="../slideLayouts/slideLayout6.xml"/><Relationship Id="rId4" Type="http://schemas.openxmlformats.org/officeDocument/2006/relationships/tags" Target="../tags/tag47.xml"/><Relationship Id="rId9" Type="http://schemas.openxmlformats.org/officeDocument/2006/relationships/tags" Target="../tags/tag52.xml"/><Relationship Id="rId14" Type="http://schemas.openxmlformats.org/officeDocument/2006/relationships/tags" Target="../tags/tag57.xml"/><Relationship Id="rId22" Type="http://schemas.openxmlformats.org/officeDocument/2006/relationships/image" Target="../media/image6.em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jpeg"/><Relationship Id="rId3" Type="http://schemas.openxmlformats.org/officeDocument/2006/relationships/tags" Target="../tags/tag63.xml"/><Relationship Id="rId7" Type="http://schemas.openxmlformats.org/officeDocument/2006/relationships/image" Target="../media/image64.jpeg"/><Relationship Id="rId2" Type="http://schemas.openxmlformats.org/officeDocument/2006/relationships/tags" Target="../tags/tag62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6.emf"/><Relationship Id="rId11" Type="http://schemas.openxmlformats.org/officeDocument/2006/relationships/image" Target="../media/image68.jpeg"/><Relationship Id="rId5" Type="http://schemas.openxmlformats.org/officeDocument/2006/relationships/oleObject" Target="../embeddings/oleObject39.bin"/><Relationship Id="rId10" Type="http://schemas.openxmlformats.org/officeDocument/2006/relationships/image" Target="../media/image67.jpeg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66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0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69.png"/><Relationship Id="rId2" Type="http://schemas.openxmlformats.org/officeDocument/2006/relationships/tags" Target="../tags/tag64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6.emf"/><Relationship Id="rId11" Type="http://schemas.openxmlformats.org/officeDocument/2006/relationships/image" Target="../media/image73.png"/><Relationship Id="rId5" Type="http://schemas.openxmlformats.org/officeDocument/2006/relationships/oleObject" Target="../embeddings/oleObject40.bin"/><Relationship Id="rId10" Type="http://schemas.openxmlformats.org/officeDocument/2006/relationships/image" Target="../media/image72.pn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7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66.xml"/><Relationship Id="rId7" Type="http://schemas.openxmlformats.org/officeDocument/2006/relationships/image" Target="../media/image74.jpeg"/><Relationship Id="rId2" Type="http://schemas.openxmlformats.org/officeDocument/2006/relationships/tags" Target="../tags/tag65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1.bin"/><Relationship Id="rId4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6.jpeg"/><Relationship Id="rId3" Type="http://schemas.openxmlformats.org/officeDocument/2006/relationships/tags" Target="../tags/tag68.xml"/><Relationship Id="rId7" Type="http://schemas.openxmlformats.org/officeDocument/2006/relationships/image" Target="../media/image75.jpeg"/><Relationship Id="rId2" Type="http://schemas.openxmlformats.org/officeDocument/2006/relationships/tags" Target="../tags/tag67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2.bin"/><Relationship Id="rId4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hyperlink" Target="http://www.stepmap.de/landkarte/usa-umriss-1440710" TargetMode="External"/><Relationship Id="rId13" Type="http://schemas.openxmlformats.org/officeDocument/2006/relationships/image" Target="../media/image81.jpeg"/><Relationship Id="rId18" Type="http://schemas.openxmlformats.org/officeDocument/2006/relationships/image" Target="../media/image3.wmf"/><Relationship Id="rId3" Type="http://schemas.openxmlformats.org/officeDocument/2006/relationships/tags" Target="../tags/tag70.xml"/><Relationship Id="rId7" Type="http://schemas.openxmlformats.org/officeDocument/2006/relationships/image" Target="../media/image77.png"/><Relationship Id="rId12" Type="http://schemas.openxmlformats.org/officeDocument/2006/relationships/image" Target="../media/image80.gif"/><Relationship Id="rId17" Type="http://schemas.openxmlformats.org/officeDocument/2006/relationships/image" Target="../media/image85.jpeg"/><Relationship Id="rId2" Type="http://schemas.openxmlformats.org/officeDocument/2006/relationships/tags" Target="../tags/tag69.xml"/><Relationship Id="rId16" Type="http://schemas.openxmlformats.org/officeDocument/2006/relationships/image" Target="../media/image84.jpeg"/><Relationship Id="rId1" Type="http://schemas.openxmlformats.org/officeDocument/2006/relationships/vmlDrawing" Target="../drawings/vmlDrawing43.vml"/><Relationship Id="rId6" Type="http://schemas.openxmlformats.org/officeDocument/2006/relationships/image" Target="../media/image6.emf"/><Relationship Id="rId11" Type="http://schemas.microsoft.com/office/2007/relationships/hdphoto" Target="../media/hdphoto1.wdp"/><Relationship Id="rId5" Type="http://schemas.openxmlformats.org/officeDocument/2006/relationships/oleObject" Target="../embeddings/oleObject43.bin"/><Relationship Id="rId15" Type="http://schemas.openxmlformats.org/officeDocument/2006/relationships/image" Target="../media/image83.png"/><Relationship Id="rId10" Type="http://schemas.openxmlformats.org/officeDocument/2006/relationships/image" Target="../media/image79.png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78.jpeg"/><Relationship Id="rId14" Type="http://schemas.openxmlformats.org/officeDocument/2006/relationships/image" Target="../media/image82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87.png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://www.google.de/url?sa=i&amp;rct=j&amp;q=&amp;esrc=s&amp;source=images&amp;cd=&amp;cad=rja&amp;uact=8&amp;ved=2ahUKEwiiwJvVh6XaAhVS46QKHZs6CHEQjRx6BAgAEAU&amp;url=http://www.landtag.ltsh.de/beauftragte/lb/&amp;psig=AOvVaw1bsYaXb7bs13X1iauqvZTR&amp;ust=1523083712819150" TargetMode="External"/><Relationship Id="rId13" Type="http://schemas.openxmlformats.org/officeDocument/2006/relationships/image" Target="../media/image12.jpe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8.jpeg"/><Relationship Id="rId12" Type="http://schemas.openxmlformats.org/officeDocument/2006/relationships/image" Target="../media/image11.png"/><Relationship Id="rId2" Type="http://schemas.openxmlformats.org/officeDocument/2006/relationships/tags" Target="../tags/tag31.xml"/><Relationship Id="rId16" Type="http://schemas.openxmlformats.org/officeDocument/2006/relationships/image" Target="../media/image15.png"/><Relationship Id="rId1" Type="http://schemas.openxmlformats.org/officeDocument/2006/relationships/vmlDrawing" Target="../drawings/vmlDrawing30.vml"/><Relationship Id="rId6" Type="http://schemas.openxmlformats.org/officeDocument/2006/relationships/image" Target="../media/image7.png"/><Relationship Id="rId11" Type="http://schemas.openxmlformats.org/officeDocument/2006/relationships/hyperlink" Target="https://www.google.de/url?sa=i&amp;rct=j&amp;q=&amp;esrc=s&amp;source=images&amp;cd=&amp;ved=2ahUKEwjMh7jekKXaAhWRDOwKHbNpBn4QjRx6BAgAEAU&amp;url=https://www.netze-bw.de/ausbildung&amp;psig=AOvVaw0j2vSLw8sDpPZuZW7jy5Bt&amp;ust=1523086275323376" TargetMode="External"/><Relationship Id="rId5" Type="http://schemas.openxmlformats.org/officeDocument/2006/relationships/image" Target="../media/image6.emf"/><Relationship Id="rId15" Type="http://schemas.openxmlformats.org/officeDocument/2006/relationships/image" Target="../media/image14.jpeg"/><Relationship Id="rId10" Type="http://schemas.openxmlformats.org/officeDocument/2006/relationships/image" Target="../media/image10.jpeg"/><Relationship Id="rId4" Type="http://schemas.openxmlformats.org/officeDocument/2006/relationships/oleObject" Target="../embeddings/oleObject30.bin"/><Relationship Id="rId9" Type="http://schemas.openxmlformats.org/officeDocument/2006/relationships/image" Target="../media/image9.png"/><Relationship Id="rId14" Type="http://schemas.openxmlformats.org/officeDocument/2006/relationships/image" Target="../media/image13.jpe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1.jpeg"/><Relationship Id="rId13" Type="http://schemas.openxmlformats.org/officeDocument/2006/relationships/image" Target="../media/image96.jpeg"/><Relationship Id="rId3" Type="http://schemas.openxmlformats.org/officeDocument/2006/relationships/tags" Target="../tags/tag71.xml"/><Relationship Id="rId7" Type="http://schemas.openxmlformats.org/officeDocument/2006/relationships/image" Target="../media/image90.jpeg"/><Relationship Id="rId12" Type="http://schemas.openxmlformats.org/officeDocument/2006/relationships/image" Target="../media/image95.jpeg"/><Relationship Id="rId2" Type="http://schemas.openxmlformats.org/officeDocument/2006/relationships/vmlDrawing" Target="../drawings/vmlDrawing44.vml"/><Relationship Id="rId1" Type="http://schemas.openxmlformats.org/officeDocument/2006/relationships/themeOverride" Target="../theme/themeOverride2.xml"/><Relationship Id="rId6" Type="http://schemas.openxmlformats.org/officeDocument/2006/relationships/image" Target="../media/image89.emf"/><Relationship Id="rId11" Type="http://schemas.openxmlformats.org/officeDocument/2006/relationships/image" Target="../media/image94.jpeg"/><Relationship Id="rId5" Type="http://schemas.openxmlformats.org/officeDocument/2006/relationships/oleObject" Target="../embeddings/oleObject44.bin"/><Relationship Id="rId10" Type="http://schemas.openxmlformats.org/officeDocument/2006/relationships/image" Target="../media/image93.jpeg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92.jpe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9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98.jpeg"/><Relationship Id="rId2" Type="http://schemas.openxmlformats.org/officeDocument/2006/relationships/tags" Target="../tags/tag72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97.jpeg"/><Relationship Id="rId5" Type="http://schemas.openxmlformats.org/officeDocument/2006/relationships/image" Target="../media/image89.emf"/><Relationship Id="rId4" Type="http://schemas.openxmlformats.org/officeDocument/2006/relationships/oleObject" Target="../embeddings/oleObject45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jpeg"/><Relationship Id="rId7" Type="http://schemas.openxmlformats.org/officeDocument/2006/relationships/image" Target="../media/image105.png"/><Relationship Id="rId2" Type="http://schemas.openxmlformats.org/officeDocument/2006/relationships/image" Target="../media/image100.jpe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04.jpeg"/><Relationship Id="rId5" Type="http://schemas.openxmlformats.org/officeDocument/2006/relationships/image" Target="../media/image103.jpeg"/><Relationship Id="rId4" Type="http://schemas.openxmlformats.org/officeDocument/2006/relationships/image" Target="../media/image102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Relationship Id="rId6" Type="http://schemas.microsoft.com/office/2007/relationships/hdphoto" Target="../media/hdphoto2.wdp"/><Relationship Id="rId5" Type="http://schemas.openxmlformats.org/officeDocument/2006/relationships/image" Target="../media/image108.png"/><Relationship Id="rId4" Type="http://schemas.openxmlformats.org/officeDocument/2006/relationships/image" Target="../media/image107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110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ustomXml" Target="../../customXml/item11.xml"/><Relationship Id="rId13" Type="http://schemas.openxmlformats.org/officeDocument/2006/relationships/slideLayout" Target="../slideLayouts/slideLayout6.xml"/><Relationship Id="rId18" Type="http://schemas.openxmlformats.org/officeDocument/2006/relationships/image" Target="../media/image18.png"/><Relationship Id="rId3" Type="http://schemas.openxmlformats.org/officeDocument/2006/relationships/customXml" Target="../../customXml/item7.xml"/><Relationship Id="rId7" Type="http://schemas.openxmlformats.org/officeDocument/2006/relationships/customXml" Target="../../customXml/item8.xml"/><Relationship Id="rId12" Type="http://schemas.openxmlformats.org/officeDocument/2006/relationships/customXml" Target="../../customXml/item3.xml"/><Relationship Id="rId17" Type="http://schemas.openxmlformats.org/officeDocument/2006/relationships/image" Target="../media/image17.png"/><Relationship Id="rId2" Type="http://schemas.openxmlformats.org/officeDocument/2006/relationships/tags" Target="../tags/tag32.xml"/><Relationship Id="rId16" Type="http://schemas.openxmlformats.org/officeDocument/2006/relationships/image" Target="../media/image16.emf"/><Relationship Id="rId1" Type="http://schemas.openxmlformats.org/officeDocument/2006/relationships/vmlDrawing" Target="../drawings/vmlDrawing31.vml"/><Relationship Id="rId6" Type="http://schemas.openxmlformats.org/officeDocument/2006/relationships/customXml" Target="../../customXml/item9.xml"/><Relationship Id="rId11" Type="http://schemas.openxmlformats.org/officeDocument/2006/relationships/customXml" Target="../../customXml/item13.xml"/><Relationship Id="rId5" Type="http://schemas.openxmlformats.org/officeDocument/2006/relationships/customXml" Target="../../customXml/item12.xml"/><Relationship Id="rId15" Type="http://schemas.openxmlformats.org/officeDocument/2006/relationships/oleObject" Target="../embeddings/oleObject31.bin"/><Relationship Id="rId10" Type="http://schemas.openxmlformats.org/officeDocument/2006/relationships/customXml" Target="../../customXml/item4.xml"/><Relationship Id="rId4" Type="http://schemas.openxmlformats.org/officeDocument/2006/relationships/customXml" Target="../../customXml/item5.xml"/><Relationship Id="rId9" Type="http://schemas.openxmlformats.org/officeDocument/2006/relationships/customXml" Target="../../customXml/item6.xml"/><Relationship Id="rId1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svg"/><Relationship Id="rId13" Type="http://schemas.openxmlformats.org/officeDocument/2006/relationships/image" Target="../media/image25.png"/><Relationship Id="rId18" Type="http://schemas.openxmlformats.org/officeDocument/2006/relationships/image" Target="../media/image30.jpeg"/><Relationship Id="rId3" Type="http://schemas.openxmlformats.org/officeDocument/2006/relationships/tags" Target="../tags/tag34.xml"/><Relationship Id="rId7" Type="http://schemas.openxmlformats.org/officeDocument/2006/relationships/image" Target="../media/image19.png"/><Relationship Id="rId12" Type="http://schemas.openxmlformats.org/officeDocument/2006/relationships/image" Target="../media/image24.svg"/><Relationship Id="rId17" Type="http://schemas.openxmlformats.org/officeDocument/2006/relationships/image" Target="../media/image29.jpeg"/><Relationship Id="rId2" Type="http://schemas.openxmlformats.org/officeDocument/2006/relationships/tags" Target="../tags/tag33.xml"/><Relationship Id="rId16" Type="http://schemas.openxmlformats.org/officeDocument/2006/relationships/image" Target="../media/image28.jpeg"/><Relationship Id="rId1" Type="http://schemas.openxmlformats.org/officeDocument/2006/relationships/vmlDrawing" Target="../drawings/vmlDrawing32.vml"/><Relationship Id="rId6" Type="http://schemas.openxmlformats.org/officeDocument/2006/relationships/image" Target="../media/image6.emf"/><Relationship Id="rId11" Type="http://schemas.openxmlformats.org/officeDocument/2006/relationships/image" Target="../media/image23.png"/><Relationship Id="rId5" Type="http://schemas.openxmlformats.org/officeDocument/2006/relationships/oleObject" Target="../embeddings/oleObject32.bin"/><Relationship Id="rId15" Type="http://schemas.openxmlformats.org/officeDocument/2006/relationships/image" Target="../media/image27.jpeg"/><Relationship Id="rId10" Type="http://schemas.openxmlformats.org/officeDocument/2006/relationships/image" Target="../media/image22.svg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21.png"/><Relationship Id="rId14" Type="http://schemas.openxmlformats.org/officeDocument/2006/relationships/image" Target="../media/image26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36.xml"/><Relationship Id="rId7" Type="http://schemas.openxmlformats.org/officeDocument/2006/relationships/image" Target="../media/image31.png"/><Relationship Id="rId2" Type="http://schemas.openxmlformats.org/officeDocument/2006/relationships/tags" Target="../tags/tag35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3.bin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32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13" Type="http://schemas.openxmlformats.org/officeDocument/2006/relationships/image" Target="../media/image38.png"/><Relationship Id="rId3" Type="http://schemas.openxmlformats.org/officeDocument/2006/relationships/tags" Target="../tags/tag38.xml"/><Relationship Id="rId7" Type="http://schemas.openxmlformats.org/officeDocument/2006/relationships/image" Target="../media/image34.png"/><Relationship Id="rId12" Type="http://schemas.openxmlformats.org/officeDocument/2006/relationships/image" Target="../media/image37.png"/><Relationship Id="rId2" Type="http://schemas.openxmlformats.org/officeDocument/2006/relationships/tags" Target="../tags/tag37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33.png"/><Relationship Id="rId11" Type="http://schemas.openxmlformats.org/officeDocument/2006/relationships/image" Target="../media/image6.emf"/><Relationship Id="rId5" Type="http://schemas.openxmlformats.org/officeDocument/2006/relationships/notesSlide" Target="../notesSlides/notesSlide3.xml"/><Relationship Id="rId10" Type="http://schemas.openxmlformats.org/officeDocument/2006/relationships/oleObject" Target="../embeddings/oleObject34.bin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36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jpeg"/><Relationship Id="rId3" Type="http://schemas.openxmlformats.org/officeDocument/2006/relationships/tags" Target="../tags/tag40.xml"/><Relationship Id="rId7" Type="http://schemas.openxmlformats.org/officeDocument/2006/relationships/image" Target="../media/image39.png"/><Relationship Id="rId2" Type="http://schemas.openxmlformats.org/officeDocument/2006/relationships/tags" Target="../tags/tag39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5.bin"/><Relationship Id="rId10" Type="http://schemas.openxmlformats.org/officeDocument/2006/relationships/image" Target="../media/image42.png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41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13" Type="http://schemas.openxmlformats.org/officeDocument/2006/relationships/image" Target="../media/image49.png"/><Relationship Id="rId3" Type="http://schemas.openxmlformats.org/officeDocument/2006/relationships/tags" Target="../tags/tag42.xml"/><Relationship Id="rId7" Type="http://schemas.openxmlformats.org/officeDocument/2006/relationships/image" Target="../media/image6.emf"/><Relationship Id="rId12" Type="http://schemas.openxmlformats.org/officeDocument/2006/relationships/image" Target="../media/image48.png"/><Relationship Id="rId2" Type="http://schemas.openxmlformats.org/officeDocument/2006/relationships/tags" Target="../tags/tag41.xml"/><Relationship Id="rId1" Type="http://schemas.openxmlformats.org/officeDocument/2006/relationships/vmlDrawing" Target="../drawings/vmlDrawing36.vml"/><Relationship Id="rId6" Type="http://schemas.openxmlformats.org/officeDocument/2006/relationships/oleObject" Target="../embeddings/oleObject36.bin"/><Relationship Id="rId11" Type="http://schemas.openxmlformats.org/officeDocument/2006/relationships/image" Target="../media/image47.png"/><Relationship Id="rId5" Type="http://schemas.openxmlformats.org/officeDocument/2006/relationships/image" Target="../media/image43.png"/><Relationship Id="rId10" Type="http://schemas.openxmlformats.org/officeDocument/2006/relationships/image" Target="../media/image46.png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45.png"/><Relationship Id="rId14" Type="http://schemas.openxmlformats.org/officeDocument/2006/relationships/image" Target="../media/image5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platzhalter 2"/>
          <p:cNvPicPr>
            <a:picLocks noGrp="1" noChangeAspect="1"/>
          </p:cNvPicPr>
          <p:nvPr>
            <p:ph type="pic" sz="quarter" idx="12"/>
          </p:nvPr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graphicFrame>
        <p:nvGraphicFramePr>
          <p:cNvPr id="27" name="Objekt 2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4516154"/>
              </p:ext>
            </p:ext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8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27" name="Objekt 2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9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de-DE" dirty="0"/>
              <a:t>Ein Unternehmen der EnBW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1" name="Rectangle 3"/>
          <p:cNvSpPr txBox="1">
            <a:spLocks noChangeArrowheads="1"/>
          </p:cNvSpPr>
          <p:nvPr/>
        </p:nvSpPr>
        <p:spPr bwMode="auto">
          <a:xfrm>
            <a:off x="161924" y="156063"/>
            <a:ext cx="4101318" cy="1542108"/>
          </a:xfrm>
          <a:prstGeom prst="rect">
            <a:avLst/>
          </a:prstGeom>
          <a:gradFill>
            <a:gsLst>
              <a:gs pos="0">
                <a:srgbClr val="374A9A"/>
              </a:gs>
              <a:gs pos="100000">
                <a:srgbClr val="061671"/>
              </a:gs>
            </a:gsLst>
            <a:lin ang="2700000" scaled="1"/>
          </a:gradFill>
          <a:ln>
            <a:noFill/>
          </a:ln>
          <a:effectLst/>
        </p:spPr>
        <p:txBody>
          <a:bodyPr vert="horz" wrap="square" lIns="216000" tIns="288000" rIns="288000" bIns="288000" numCol="1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 lang="de-DE" sz="2300" b="0" i="0" u="none" strike="noStrike" baseline="0" smtClean="0">
                <a:solidFill>
                  <a:schemeClr val="accent6"/>
                </a:solidFill>
                <a:latin typeface="+mn-lt"/>
                <a:ea typeface="EnBW DIN Pro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99"/>
                </a:solidFill>
                <a:latin typeface="DIN-Medium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99"/>
                </a:solidFill>
                <a:latin typeface="DIN-Medium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99"/>
                </a:solidFill>
                <a:latin typeface="DIN-Medium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99"/>
                </a:solidFill>
                <a:latin typeface="DIN-Medium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99"/>
                </a:solidFill>
                <a:latin typeface="DIN-Medium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99"/>
                </a:solidFill>
                <a:latin typeface="DIN-Medium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99"/>
                </a:solidFill>
                <a:latin typeface="DIN-Medium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99"/>
                </a:solidFill>
                <a:latin typeface="DIN-Medium" pitchFamily="34" charset="0"/>
              </a:defRPr>
            </a:lvl9pPr>
          </a:lstStyle>
          <a:p>
            <a:r>
              <a:rPr lang="de-DE" dirty="0"/>
              <a:t>365 Tage</a:t>
            </a:r>
          </a:p>
          <a:p>
            <a:r>
              <a:rPr lang="de-DE" kern="0" dirty="0">
                <a:latin typeface="EnBW DIN Pro" charset="0"/>
                <a:ea typeface="EnBW DIN Pro" charset="0"/>
                <a:cs typeface="EnBW DIN Pro" charset="0"/>
              </a:rPr>
              <a:t>100 Prozent Leidenschaft</a:t>
            </a:r>
          </a:p>
          <a:p>
            <a:r>
              <a:rPr lang="de-DE" kern="0" dirty="0">
                <a:latin typeface="EnBW DIN Pro" charset="0"/>
                <a:ea typeface="EnBW DIN Pro" charset="0"/>
                <a:cs typeface="EnBW DIN Pro" charset="0"/>
              </a:rPr>
              <a:t>1 Versprechen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161923" y="1738800"/>
            <a:ext cx="2634544" cy="754096"/>
          </a:xfrm>
          <a:prstGeom prst="rect">
            <a:avLst/>
          </a:prstGeom>
          <a:gradFill>
            <a:gsLst>
              <a:gs pos="0">
                <a:schemeClr val="accent6"/>
              </a:gs>
              <a:gs pos="100000">
                <a:srgbClr val="EE7700"/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0" tIns="0" rIns="90000" bIns="0" numCol="1" rtlCol="0" anchor="ctr" anchorCtr="0" compatLnSpc="1">
            <a:prstTxWarp prst="textNoShape">
              <a:avLst/>
            </a:prstTxWarp>
          </a:bodyPr>
          <a:lstStyle/>
          <a:p>
            <a:pPr lvl="0" fontAlgn="base">
              <a:buClr>
                <a:srgbClr val="FF9900"/>
              </a:buClr>
              <a:buSzPct val="100000"/>
            </a:pPr>
            <a:r>
              <a:rPr lang="de-DE" sz="1100" kern="0" dirty="0">
                <a:solidFill>
                  <a:srgbClr val="FFFFFF"/>
                </a:solidFill>
                <a:latin typeface="EnBW DIN Pro" panose="020B0504020101020102" pitchFamily="34" charset="0"/>
                <a:cs typeface="EnBW DIN Pro" panose="020B0504020101020102" pitchFamily="34" charset="0"/>
                <a:sym typeface="EnBW DIN Pro"/>
              </a:rPr>
              <a:t>Wir kümmern uns drum.</a:t>
            </a:r>
          </a:p>
        </p:txBody>
      </p:sp>
    </p:spTree>
    <p:extLst>
      <p:ext uri="{BB962C8B-B14F-4D97-AF65-F5344CB8AC3E}">
        <p14:creationId xmlns:p14="http://schemas.microsoft.com/office/powerpoint/2010/main" val="1377580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DB0768B8-BB1E-4E22-B2DE-3D7706B7FB3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86740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0" name="think-cell Folie" r:id="rId5" imgW="592" imgH="591" progId="TCLayout.ActiveDocument.1">
                  <p:embed/>
                </p:oleObj>
              </mc:Choice>
              <mc:Fallback>
                <p:oleObj name="think-cell Folie" r:id="rId5" imgW="592" imgH="591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DB0768B8-BB1E-4E22-B2DE-3D7706B7FB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25844DC1-15FE-42F9-8107-3DA7D9B471D0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Aft>
                <a:spcPct val="0"/>
              </a:spcAft>
            </a:pPr>
            <a:endParaRPr kumimoji="0" lang="de-DE" sz="22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EnBW DIN Pro" panose="020B0504020101020102" pitchFamily="34" charset="0"/>
              <a:cs typeface="+mj-cs"/>
              <a:sym typeface="EnBW DIN Pro" panose="020B0504020101020102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F4236CE-924A-4BC7-AFF1-EB8F8D5ED8F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3D4A45-F672-4474-BA28-E624C64DA635}" type="slidenum">
              <a:rPr lang="de-DE" smtClean="0"/>
              <a:t>10</a:t>
            </a:fld>
            <a:endParaRPr lang="de-DE"/>
          </a:p>
        </p:txBody>
      </p:sp>
      <p:sp>
        <p:nvSpPr>
          <p:cNvPr id="52" name="Titel 1">
            <a:extLst>
              <a:ext uri="{FF2B5EF4-FFF2-40B4-BE49-F238E27FC236}">
                <a16:creationId xmlns:a16="http://schemas.microsoft.com/office/drawing/2014/main" id="{38914B7C-ADF6-4F6C-884D-92940F101AF1}"/>
              </a:ext>
            </a:extLst>
          </p:cNvPr>
          <p:cNvSpPr txBox="1">
            <a:spLocks/>
          </p:cNvSpPr>
          <p:nvPr/>
        </p:nvSpPr>
        <p:spPr bwMode="auto">
          <a:xfrm>
            <a:off x="471247" y="680226"/>
            <a:ext cx="9440706" cy="338466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650" baseline="0">
                <a:solidFill>
                  <a:schemeClr val="accent6"/>
                </a:solidFill>
                <a:latin typeface="+mn-lt"/>
                <a:ea typeface="EnBW DIN Pro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5pPr>
            <a:lvl6pPr marL="342809"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6pPr>
            <a:lvl7pPr marL="685617"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7pPr>
            <a:lvl8pPr marL="1028426"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8pPr>
            <a:lvl9pPr marL="1371234"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9pPr>
          </a:lstStyle>
          <a:p>
            <a:r>
              <a:rPr lang="de-DE" sz="2199" dirty="0"/>
              <a:t>Wir sind in Baden-Württemberg verwurzelt…</a:t>
            </a:r>
            <a:endParaRPr lang="de-DE" sz="2199" dirty="0">
              <a:solidFill>
                <a:schemeClr val="tx2"/>
              </a:solidFill>
              <a:cs typeface="EnBW DIN Pro"/>
            </a:endParaRPr>
          </a:p>
        </p:txBody>
      </p:sp>
      <p:pic>
        <p:nvPicPr>
          <p:cNvPr id="53" name="Grafik 52">
            <a:extLst>
              <a:ext uri="{FF2B5EF4-FFF2-40B4-BE49-F238E27FC236}">
                <a16:creationId xmlns:a16="http://schemas.microsoft.com/office/drawing/2014/main" id="{588A28D2-C874-43E5-B960-3431731FDB45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92531" y="1606323"/>
            <a:ext cx="4268073" cy="4824208"/>
          </a:xfrm>
          <a:prstGeom prst="rect">
            <a:avLst/>
          </a:prstGeom>
        </p:spPr>
      </p:pic>
      <p:sp>
        <p:nvSpPr>
          <p:cNvPr id="54" name="Textplatzhalter 2">
            <a:extLst>
              <a:ext uri="{FF2B5EF4-FFF2-40B4-BE49-F238E27FC236}">
                <a16:creationId xmlns:a16="http://schemas.microsoft.com/office/drawing/2014/main" id="{E427C3A7-D5E6-4329-908F-1EB4DFE254D1}"/>
              </a:ext>
            </a:extLst>
          </p:cNvPr>
          <p:cNvSpPr txBox="1">
            <a:spLocks/>
          </p:cNvSpPr>
          <p:nvPr/>
        </p:nvSpPr>
        <p:spPr bwMode="gray">
          <a:xfrm>
            <a:off x="538100" y="4409832"/>
            <a:ext cx="1109375" cy="370312"/>
          </a:xfrm>
          <a:prstGeom prst="rect">
            <a:avLst/>
          </a:prstGeom>
          <a:noFill/>
          <a:ln w="381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80958" tIns="80958" rIns="80958" bIns="80958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SzPct val="100000"/>
              <a:buFontTx/>
              <a:buNone/>
              <a:defRPr lang="de-DE" sz="1400" b="1" baseline="0" dirty="0" smtClean="0">
                <a:solidFill>
                  <a:schemeClr val="tx2"/>
                </a:solidFill>
                <a:latin typeface="EnBW DIN Pro"/>
                <a:ea typeface="EnBW DIN Pro"/>
                <a:cs typeface="EnBW DIN Pro"/>
                <a:sym typeface="EnBW DIN Pro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SzPct val="140000"/>
              <a:buFont typeface="DIN-Medium" panose="020B0600010101020104" pitchFamily="34" charset="0"/>
              <a:buNone/>
              <a:defRPr lang="de-DE" sz="1400" dirty="0" smtClean="0">
                <a:solidFill>
                  <a:schemeClr val="tx1"/>
                </a:solidFill>
                <a:latin typeface="+mn-lt"/>
                <a:ea typeface="EnBW DIN Pro"/>
              </a:defRPr>
            </a:lvl2pPr>
            <a:lvl3pPr marL="162000" indent="-16200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  <a:defRPr lang="de-DE" sz="1400" dirty="0" smtClean="0">
                <a:solidFill>
                  <a:schemeClr val="tx1"/>
                </a:solidFill>
                <a:latin typeface="+mn-lt"/>
                <a:ea typeface="EnBW DIN Pro"/>
              </a:defRPr>
            </a:lvl3pPr>
            <a:lvl4pPr marL="324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lang="de-DE" sz="1200" dirty="0" smtClean="0">
                <a:solidFill>
                  <a:schemeClr val="tx1"/>
                </a:solidFill>
                <a:latin typeface="+mn-lt"/>
                <a:ea typeface="EnBW DIN Pro"/>
              </a:defRPr>
            </a:lvl4pPr>
            <a:lvl5pPr marL="486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lang="de-DE" sz="1200" dirty="0" smtClean="0">
                <a:solidFill>
                  <a:schemeClr val="tx1"/>
                </a:solidFill>
                <a:latin typeface="+mn-lt"/>
                <a:ea typeface="EnBW DIN Pro"/>
              </a:defRPr>
            </a:lvl5pPr>
            <a:lvl6pPr marL="648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25257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7pPr>
            <a:lvl8pPr marL="29829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8pPr>
            <a:lvl9pPr marL="34401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364125" lvl="5" indent="-359365" defTabSz="685411">
              <a:spcBef>
                <a:spcPts val="225"/>
              </a:spcBef>
              <a:buNone/>
              <a:defRPr/>
            </a:pPr>
            <a:r>
              <a:rPr lang="de-DE" sz="1200" b="1" kern="0" dirty="0">
                <a:solidFill>
                  <a:srgbClr val="000099"/>
                </a:solidFill>
                <a:latin typeface="EnBW DIN Pro" panose="020B0504020101020102" pitchFamily="34" charset="0"/>
                <a:cs typeface="EnBW DIN Pro" panose="020B0504020101020102" pitchFamily="34" charset="0"/>
              </a:rPr>
              <a:t>Legende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FF44CFA8-71C3-457D-9BB9-BD98D3681D91}"/>
              </a:ext>
            </a:extLst>
          </p:cNvPr>
          <p:cNvSpPr/>
          <p:nvPr/>
        </p:nvSpPr>
        <p:spPr>
          <a:xfrm>
            <a:off x="471247" y="1872237"/>
            <a:ext cx="3584259" cy="16615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411">
              <a:spcAft>
                <a:spcPts val="900"/>
              </a:spcAft>
              <a:buClr>
                <a:srgbClr val="FF9900"/>
              </a:buClr>
              <a:buSzPct val="140000"/>
              <a:defRPr/>
            </a:pPr>
            <a:r>
              <a:rPr lang="de-DE" sz="1799" dirty="0">
                <a:solidFill>
                  <a:srgbClr val="3B3B3B"/>
                </a:solidFill>
                <a:latin typeface="EnBW DIN Pro" panose="020B0504020101020102" pitchFamily="34" charset="0"/>
                <a:cs typeface="EnBW DIN Pro" panose="020B0504020101020102" pitchFamily="34" charset="0"/>
              </a:rPr>
              <a:t>Wir versorgen das Land und sind vor Ort an </a:t>
            </a:r>
            <a:br>
              <a:rPr lang="de-DE" sz="1799" dirty="0">
                <a:solidFill>
                  <a:srgbClr val="FF9900"/>
                </a:solidFill>
                <a:latin typeface="EnBW DIN Pro" panose="020B0504020101020102" pitchFamily="34" charset="0"/>
                <a:cs typeface="EnBW DIN Pro" panose="020B0504020101020102" pitchFamily="34" charset="0"/>
              </a:rPr>
            </a:br>
            <a:r>
              <a:rPr lang="de-DE" sz="4799" b="1" dirty="0">
                <a:solidFill>
                  <a:srgbClr val="000099"/>
                </a:solidFill>
                <a:latin typeface="EnBW DIN Pro" charset="0"/>
                <a:ea typeface="EnBW DIN Pro" charset="0"/>
                <a:cs typeface="EnBW DIN Pro" charset="0"/>
              </a:rPr>
              <a:t>88</a:t>
            </a:r>
            <a:r>
              <a:rPr lang="de-DE" sz="3298" b="1" dirty="0">
                <a:gradFill>
                  <a:gsLst>
                    <a:gs pos="0">
                      <a:srgbClr val="4C5FAB"/>
                    </a:gs>
                    <a:gs pos="100000">
                      <a:srgbClr val="071671"/>
                    </a:gs>
                  </a:gsLst>
                  <a:lin ang="2700000" scaled="1"/>
                </a:gra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EnBW DIN Pro" charset="0"/>
                <a:ea typeface="EnBW DIN Pro" charset="0"/>
                <a:cs typeface="EnBW DIN Pro" charset="0"/>
              </a:rPr>
              <a:t> </a:t>
            </a:r>
            <a:r>
              <a:rPr lang="de-DE" sz="3599" b="1" dirty="0">
                <a:solidFill>
                  <a:srgbClr val="000099"/>
                </a:solidFill>
                <a:latin typeface="EnBW DIN Pro" charset="0"/>
                <a:ea typeface="EnBW DIN Pro" charset="0"/>
                <a:cs typeface="EnBW DIN Pro" charset="0"/>
              </a:rPr>
              <a:t>Standorten</a:t>
            </a:r>
            <a:r>
              <a:rPr lang="de-DE" sz="3298" b="1" dirty="0">
                <a:gradFill>
                  <a:gsLst>
                    <a:gs pos="0">
                      <a:srgbClr val="4C5FAB"/>
                    </a:gs>
                    <a:gs pos="100000">
                      <a:srgbClr val="071671"/>
                    </a:gs>
                  </a:gsLst>
                  <a:lin ang="2700000" scaled="1"/>
                </a:gra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EnBW DIN Pro" charset="0"/>
                <a:ea typeface="EnBW DIN Pro" charset="0"/>
                <a:cs typeface="EnBW DIN Pro" charset="0"/>
              </a:rPr>
              <a:t> </a:t>
            </a:r>
            <a:br>
              <a:rPr lang="de-DE" sz="3298" dirty="0">
                <a:solidFill>
                  <a:srgbClr val="FF9900"/>
                </a:solidFill>
                <a:latin typeface="EnBW DIN Pro" panose="020B0504020101020102" pitchFamily="34" charset="0"/>
                <a:cs typeface="EnBW DIN Pro" panose="020B0504020101020102" pitchFamily="34" charset="0"/>
              </a:rPr>
            </a:br>
            <a:r>
              <a:rPr lang="de-DE" sz="1799" dirty="0">
                <a:solidFill>
                  <a:srgbClr val="3B3B3B"/>
                </a:solidFill>
                <a:latin typeface="EnBW DIN Pro" panose="020B0504020101020102" pitchFamily="34" charset="0"/>
                <a:cs typeface="EnBW DIN Pro" panose="020B0504020101020102" pitchFamily="34" charset="0"/>
              </a:rPr>
              <a:t>in Baden-Württemberg.</a:t>
            </a:r>
            <a:endParaRPr lang="de-DE" sz="1050" dirty="0">
              <a:solidFill>
                <a:srgbClr val="3B3B3B"/>
              </a:solidFill>
              <a:latin typeface="EnBW DIN Pro" charset="0"/>
              <a:ea typeface="EnBW DIN Pro" charset="0"/>
              <a:cs typeface="EnBW DIN Pro" charset="0"/>
            </a:endParaRPr>
          </a:p>
        </p:txBody>
      </p:sp>
      <p:pic>
        <p:nvPicPr>
          <p:cNvPr id="56" name="Grafik 55">
            <a:extLst>
              <a:ext uri="{FF2B5EF4-FFF2-40B4-BE49-F238E27FC236}">
                <a16:creationId xmlns:a16="http://schemas.microsoft.com/office/drawing/2014/main" id="{333C14A3-B561-478A-ACCE-4A58BD772224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8099" y="4708180"/>
            <a:ext cx="650352" cy="650352"/>
          </a:xfrm>
          <a:prstGeom prst="rect">
            <a:avLst/>
          </a:prstGeom>
        </p:spPr>
      </p:pic>
      <p:sp>
        <p:nvSpPr>
          <p:cNvPr id="57" name="Textfeld 10">
            <a:extLst>
              <a:ext uri="{FF2B5EF4-FFF2-40B4-BE49-F238E27FC236}">
                <a16:creationId xmlns:a16="http://schemas.microsoft.com/office/drawing/2014/main" id="{C42D0C96-50FB-413F-BD09-3CA139A899CF}"/>
              </a:ext>
            </a:extLst>
          </p:cNvPr>
          <p:cNvSpPr txBox="1"/>
          <p:nvPr/>
        </p:nvSpPr>
        <p:spPr bwMode="gray">
          <a:xfrm>
            <a:off x="1241775" y="4947076"/>
            <a:ext cx="1432868" cy="98296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411">
              <a:lnSpc>
                <a:spcPct val="150000"/>
              </a:lnSpc>
              <a:buClr>
                <a:srgbClr val="FF9900"/>
              </a:buClr>
              <a:buSzPct val="140000"/>
              <a:defRPr/>
            </a:pPr>
            <a:r>
              <a:rPr lang="de-DE" sz="1100" dirty="0">
                <a:solidFill>
                  <a:srgbClr val="3B3B3B"/>
                </a:solidFill>
                <a:latin typeface="EnBW DIN Pro" panose="020B0504020101020102" pitchFamily="34" charset="0"/>
                <a:ea typeface="DIN-Regular" panose="020B0500010101010101" pitchFamily="34" charset="0"/>
                <a:cs typeface="EnBW DIN Pro" panose="020B0504020101020102" pitchFamily="34" charset="0"/>
              </a:rPr>
              <a:t>Netze BW Standort</a:t>
            </a:r>
          </a:p>
          <a:p>
            <a:pPr defTabSz="685411">
              <a:lnSpc>
                <a:spcPct val="150000"/>
              </a:lnSpc>
              <a:buClr>
                <a:srgbClr val="FF9900"/>
              </a:buClr>
              <a:buSzPct val="140000"/>
              <a:defRPr/>
            </a:pPr>
            <a:r>
              <a:rPr lang="de-DE" sz="1100" dirty="0">
                <a:solidFill>
                  <a:srgbClr val="3B3B3B"/>
                </a:solidFill>
                <a:latin typeface="EnBW DIN Pro" panose="020B0504020101020102" pitchFamily="34" charset="0"/>
                <a:ea typeface="DIN-Regular" panose="020B0500010101010101" pitchFamily="34" charset="0"/>
                <a:cs typeface="EnBW DIN Pro" panose="020B0504020101020102" pitchFamily="34" charset="0"/>
              </a:rPr>
              <a:t>Netzgebiet Nord</a:t>
            </a:r>
          </a:p>
          <a:p>
            <a:pPr defTabSz="685411">
              <a:lnSpc>
                <a:spcPct val="150000"/>
              </a:lnSpc>
              <a:buClr>
                <a:srgbClr val="FF9900"/>
              </a:buClr>
              <a:buSzPct val="140000"/>
              <a:defRPr/>
            </a:pPr>
            <a:r>
              <a:rPr lang="de-DE" sz="1100" dirty="0">
                <a:solidFill>
                  <a:srgbClr val="3B3B3B"/>
                </a:solidFill>
                <a:latin typeface="EnBW DIN Pro" panose="020B0504020101020102" pitchFamily="34" charset="0"/>
                <a:ea typeface="DIN-Regular" panose="020B0500010101010101" pitchFamily="34" charset="0"/>
                <a:cs typeface="EnBW DIN Pro" panose="020B0504020101020102" pitchFamily="34" charset="0"/>
              </a:rPr>
              <a:t>Netzgebiet Mitte</a:t>
            </a:r>
          </a:p>
          <a:p>
            <a:pPr defTabSz="685411">
              <a:lnSpc>
                <a:spcPct val="150000"/>
              </a:lnSpc>
              <a:buClr>
                <a:srgbClr val="FF9900"/>
              </a:buClr>
              <a:buSzPct val="140000"/>
              <a:defRPr/>
            </a:pPr>
            <a:r>
              <a:rPr lang="de-DE" sz="1100" dirty="0">
                <a:solidFill>
                  <a:srgbClr val="3B3B3B"/>
                </a:solidFill>
                <a:latin typeface="EnBW DIN Pro" panose="020B0504020101020102" pitchFamily="34" charset="0"/>
                <a:ea typeface="DIN-Regular" panose="020B0500010101010101" pitchFamily="34" charset="0"/>
                <a:cs typeface="EnBW DIN Pro" panose="020B0504020101020102" pitchFamily="34" charset="0"/>
              </a:rPr>
              <a:t>Netzgebiet Süd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2D9612FA-BFC6-4E84-AF91-563BF584F545}"/>
              </a:ext>
            </a:extLst>
          </p:cNvPr>
          <p:cNvSpPr/>
          <p:nvPr/>
        </p:nvSpPr>
        <p:spPr bwMode="auto">
          <a:xfrm>
            <a:off x="632045" y="5271799"/>
            <a:ext cx="487765" cy="155215"/>
          </a:xfrm>
          <a:prstGeom prst="rect">
            <a:avLst/>
          </a:prstGeom>
          <a:solidFill>
            <a:srgbClr val="8AADD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0958" tIns="80958" rIns="80958" bIns="80958" numCol="1" rtlCol="0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5411" eaLnBrk="0" fontAlgn="base" hangingPunct="0">
              <a:spcAft>
                <a:spcPct val="0"/>
              </a:spcAft>
              <a:defRPr/>
            </a:pPr>
            <a:endParaRPr lang="de-DE" sz="1050" dirty="0">
              <a:solidFill>
                <a:srgbClr val="3B3B3B"/>
              </a:solidFill>
              <a:latin typeface="EnBW DIN Pro"/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0C3F2C03-409F-42E0-B1BA-CB19AB1F168C}"/>
              </a:ext>
            </a:extLst>
          </p:cNvPr>
          <p:cNvSpPr/>
          <p:nvPr/>
        </p:nvSpPr>
        <p:spPr bwMode="auto">
          <a:xfrm>
            <a:off x="633472" y="5490338"/>
            <a:ext cx="487765" cy="155215"/>
          </a:xfrm>
          <a:prstGeom prst="rect">
            <a:avLst/>
          </a:prstGeom>
          <a:solidFill>
            <a:srgbClr val="646EBE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0958" tIns="80958" rIns="80958" bIns="80958" numCol="1" rtlCol="0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5411" eaLnBrk="0" fontAlgn="base" hangingPunct="0">
              <a:spcAft>
                <a:spcPct val="0"/>
              </a:spcAft>
              <a:defRPr/>
            </a:pPr>
            <a:endParaRPr lang="de-DE" sz="1050" dirty="0">
              <a:solidFill>
                <a:srgbClr val="3B3B3B"/>
              </a:solidFill>
              <a:latin typeface="EnBW DIN Pro"/>
            </a:endParaRP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7B98125D-682F-4BC4-AB29-195DDA61581D}"/>
              </a:ext>
            </a:extLst>
          </p:cNvPr>
          <p:cNvSpPr/>
          <p:nvPr/>
        </p:nvSpPr>
        <p:spPr bwMode="auto">
          <a:xfrm>
            <a:off x="632514" y="5730053"/>
            <a:ext cx="487765" cy="155215"/>
          </a:xfrm>
          <a:prstGeom prst="rect">
            <a:avLst/>
          </a:prstGeom>
          <a:solidFill>
            <a:srgbClr val="374A9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0958" tIns="80958" rIns="80958" bIns="80958" numCol="1" rtlCol="0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5411" eaLnBrk="0" fontAlgn="base" hangingPunct="0">
              <a:spcAft>
                <a:spcPct val="0"/>
              </a:spcAft>
              <a:defRPr/>
            </a:pPr>
            <a:endParaRPr lang="de-DE" sz="1050" dirty="0">
              <a:solidFill>
                <a:srgbClr val="3B3B3B"/>
              </a:solidFill>
              <a:latin typeface="EnBW DIN Pro"/>
            </a:endParaRPr>
          </a:p>
        </p:txBody>
      </p:sp>
      <p:pic>
        <p:nvPicPr>
          <p:cNvPr id="61" name="Grafik 35">
            <a:extLst>
              <a:ext uri="{FF2B5EF4-FFF2-40B4-BE49-F238E27FC236}">
                <a16:creationId xmlns:a16="http://schemas.microsoft.com/office/drawing/2014/main" id="{AAF7BF80-41B1-40BA-95C2-594ACECE478A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06293" y="4951441"/>
            <a:ext cx="623404" cy="490984"/>
          </a:xfrm>
          <a:prstGeom prst="rect">
            <a:avLst/>
          </a:prstGeom>
        </p:spPr>
      </p:pic>
      <p:sp>
        <p:nvSpPr>
          <p:cNvPr id="62" name="Rechteck 61">
            <a:extLst>
              <a:ext uri="{FF2B5EF4-FFF2-40B4-BE49-F238E27FC236}">
                <a16:creationId xmlns:a16="http://schemas.microsoft.com/office/drawing/2014/main" id="{AAB2C63A-7F85-48E5-9296-829485B7E886}"/>
              </a:ext>
            </a:extLst>
          </p:cNvPr>
          <p:cNvSpPr/>
          <p:nvPr/>
        </p:nvSpPr>
        <p:spPr>
          <a:xfrm>
            <a:off x="7738194" y="5411057"/>
            <a:ext cx="578854" cy="2307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900" b="1" dirty="0">
                <a:latin typeface="EnBW DIN Pro" charset="0"/>
                <a:ea typeface="EnBW DIN Pro" charset="0"/>
                <a:cs typeface="EnBW DIN Pro" charset="0"/>
              </a:rPr>
              <a:t>Wasser</a:t>
            </a:r>
          </a:p>
        </p:txBody>
      </p:sp>
      <p:pic>
        <p:nvPicPr>
          <p:cNvPr id="63" name="Grafik 43">
            <a:extLst>
              <a:ext uri="{FF2B5EF4-FFF2-40B4-BE49-F238E27FC236}">
                <a16:creationId xmlns:a16="http://schemas.microsoft.com/office/drawing/2014/main" id="{D64F88C9-C083-4567-A1A5-DBD9C07C216E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11478" y="3210219"/>
            <a:ext cx="616781" cy="599329"/>
          </a:xfrm>
          <a:prstGeom prst="rect">
            <a:avLst/>
          </a:prstGeom>
        </p:spPr>
      </p:pic>
      <p:sp>
        <p:nvSpPr>
          <p:cNvPr id="64" name="Rechteck 63">
            <a:extLst>
              <a:ext uri="{FF2B5EF4-FFF2-40B4-BE49-F238E27FC236}">
                <a16:creationId xmlns:a16="http://schemas.microsoft.com/office/drawing/2014/main" id="{38006BEB-BEA4-432B-A752-F5C9F961C7AC}"/>
              </a:ext>
            </a:extLst>
          </p:cNvPr>
          <p:cNvSpPr/>
          <p:nvPr/>
        </p:nvSpPr>
        <p:spPr>
          <a:xfrm>
            <a:off x="7764897" y="3683418"/>
            <a:ext cx="509943" cy="2307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900" b="1" dirty="0">
                <a:latin typeface="EnBW DIN Pro" charset="0"/>
                <a:ea typeface="EnBW DIN Pro" charset="0"/>
                <a:cs typeface="EnBW DIN Pro" charset="0"/>
              </a:rPr>
              <a:t>Strom</a:t>
            </a:r>
          </a:p>
        </p:txBody>
      </p:sp>
      <p:pic>
        <p:nvPicPr>
          <p:cNvPr id="65" name="Grafik 101">
            <a:extLst>
              <a:ext uri="{FF2B5EF4-FFF2-40B4-BE49-F238E27FC236}">
                <a16:creationId xmlns:a16="http://schemas.microsoft.com/office/drawing/2014/main" id="{E7C76684-6388-41FD-9FE7-23FBAE8C3581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630097" y="4106142"/>
            <a:ext cx="734603" cy="647904"/>
          </a:xfrm>
          <a:prstGeom prst="rect">
            <a:avLst/>
          </a:prstGeom>
        </p:spPr>
      </p:pic>
      <p:sp>
        <p:nvSpPr>
          <p:cNvPr id="66" name="Rechteck 65">
            <a:extLst>
              <a:ext uri="{FF2B5EF4-FFF2-40B4-BE49-F238E27FC236}">
                <a16:creationId xmlns:a16="http://schemas.microsoft.com/office/drawing/2014/main" id="{EC2F47AD-724F-46E5-97BA-CFFA4A3BD7BC}"/>
              </a:ext>
            </a:extLst>
          </p:cNvPr>
          <p:cNvSpPr/>
          <p:nvPr/>
        </p:nvSpPr>
        <p:spPr>
          <a:xfrm>
            <a:off x="7808133" y="4592929"/>
            <a:ext cx="378531" cy="2307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900" b="1" dirty="0">
                <a:latin typeface="EnBW DIN Pro" charset="0"/>
                <a:ea typeface="EnBW DIN Pro" charset="0"/>
                <a:cs typeface="EnBW DIN Pro" charset="0"/>
              </a:rPr>
              <a:t>Gas</a:t>
            </a: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3947F244-09AD-4D34-A802-E45A68EE6DD7}"/>
              </a:ext>
            </a:extLst>
          </p:cNvPr>
          <p:cNvSpPr/>
          <p:nvPr/>
        </p:nvSpPr>
        <p:spPr>
          <a:xfrm>
            <a:off x="8430842" y="3078184"/>
            <a:ext cx="1115720" cy="3076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400" b="1" dirty="0">
                <a:latin typeface="EnBW DIN Pro" charset="0"/>
                <a:ea typeface="EnBW DIN Pro" charset="0"/>
                <a:cs typeface="EnBW DIN Pro" charset="0"/>
              </a:rPr>
              <a:t>Netzlängen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80ECC6E2-7DDC-4CD3-8577-0C6EE1B486D7}"/>
              </a:ext>
            </a:extLst>
          </p:cNvPr>
          <p:cNvSpPr/>
          <p:nvPr/>
        </p:nvSpPr>
        <p:spPr>
          <a:xfrm>
            <a:off x="8284598" y="5087203"/>
            <a:ext cx="1440000" cy="360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 dirty="0">
              <a:solidFill>
                <a:schemeClr val="bg1"/>
              </a:solidFill>
              <a:latin typeface="EnBW DIN Pro" charset="0"/>
              <a:ea typeface="EnBW DIN Pro" charset="0"/>
              <a:cs typeface="EnBW DIN Pro" charset="0"/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FD679650-06C4-49C9-BF77-C1738139A45A}"/>
              </a:ext>
            </a:extLst>
          </p:cNvPr>
          <p:cNvSpPr/>
          <p:nvPr/>
        </p:nvSpPr>
        <p:spPr>
          <a:xfrm>
            <a:off x="8268217" y="3443115"/>
            <a:ext cx="1440000" cy="360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 dirty="0">
              <a:latin typeface="EnBW DIN Pro" charset="0"/>
              <a:ea typeface="EnBW DIN Pro" charset="0"/>
              <a:cs typeface="EnBW DIN Pro" charset="0"/>
            </a:endParaRP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05D0FB1E-34BB-4106-BF06-5329EE141FEA}"/>
              </a:ext>
            </a:extLst>
          </p:cNvPr>
          <p:cNvSpPr/>
          <p:nvPr/>
        </p:nvSpPr>
        <p:spPr>
          <a:xfrm>
            <a:off x="8420634" y="5036312"/>
            <a:ext cx="129360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sz="2400" b="1" dirty="0">
                <a:solidFill>
                  <a:schemeClr val="bg1"/>
                </a:solidFill>
                <a:latin typeface="EnBW DIN Pro" charset="0"/>
                <a:ea typeface="EnBW DIN Pro" charset="0"/>
                <a:cs typeface="EnBW DIN Pro" charset="0"/>
              </a:rPr>
              <a:t>2.568</a:t>
            </a:r>
            <a:r>
              <a:rPr lang="de-DE" sz="1350" b="1" dirty="0">
                <a:solidFill>
                  <a:schemeClr val="bg1"/>
                </a:solidFill>
                <a:latin typeface="EnBW DIN Pro" charset="0"/>
                <a:ea typeface="EnBW DIN Pro" charset="0"/>
                <a:cs typeface="EnBW DIN Pro" charset="0"/>
              </a:rPr>
              <a:t> </a:t>
            </a:r>
            <a:r>
              <a:rPr lang="de-DE" sz="1000" b="1" dirty="0">
                <a:solidFill>
                  <a:schemeClr val="bg1"/>
                </a:solidFill>
                <a:latin typeface="EnBW DIN Pro" charset="0"/>
                <a:ea typeface="EnBW DIN Pro" charset="0"/>
                <a:cs typeface="EnBW DIN Pro" charset="0"/>
              </a:rPr>
              <a:t>km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D6CBAEF7-9DD3-4049-A9AE-742D8B1A7670}"/>
              </a:ext>
            </a:extLst>
          </p:cNvPr>
          <p:cNvSpPr/>
          <p:nvPr/>
        </p:nvSpPr>
        <p:spPr>
          <a:xfrm>
            <a:off x="8227759" y="3376451"/>
            <a:ext cx="148912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sz="2400" b="1" dirty="0">
                <a:solidFill>
                  <a:schemeClr val="bg1"/>
                </a:solidFill>
                <a:latin typeface="EnBW DIN Pro" charset="0"/>
                <a:ea typeface="EnBW DIN Pro" charset="0"/>
                <a:cs typeface="EnBW DIN Pro" charset="0"/>
              </a:rPr>
              <a:t>94.237</a:t>
            </a:r>
            <a:r>
              <a:rPr lang="de-DE" sz="1350" b="1" dirty="0">
                <a:solidFill>
                  <a:schemeClr val="bg1"/>
                </a:solidFill>
                <a:latin typeface="EnBW DIN Pro" charset="0"/>
                <a:ea typeface="EnBW DIN Pro" charset="0"/>
                <a:cs typeface="EnBW DIN Pro" charset="0"/>
              </a:rPr>
              <a:t> </a:t>
            </a:r>
            <a:r>
              <a:rPr lang="de-DE" sz="1000" b="1" dirty="0">
                <a:solidFill>
                  <a:schemeClr val="bg1"/>
                </a:solidFill>
                <a:latin typeface="EnBW DIN Pro" charset="0"/>
                <a:ea typeface="EnBW DIN Pro" charset="0"/>
                <a:cs typeface="EnBW DIN Pro" charset="0"/>
              </a:rPr>
              <a:t>km</a:t>
            </a: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CD2FA8ED-7792-4C7E-A47C-E745F5247922}"/>
              </a:ext>
            </a:extLst>
          </p:cNvPr>
          <p:cNvSpPr/>
          <p:nvPr/>
        </p:nvSpPr>
        <p:spPr>
          <a:xfrm>
            <a:off x="8268441" y="4274042"/>
            <a:ext cx="1440000" cy="360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 dirty="0">
              <a:solidFill>
                <a:schemeClr val="bg1"/>
              </a:solidFill>
              <a:latin typeface="EnBW DIN Pro" charset="0"/>
              <a:ea typeface="EnBW DIN Pro" charset="0"/>
              <a:cs typeface="EnBW DIN Pro" charset="0"/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28B9B1E9-2209-4074-8867-23D787951146}"/>
              </a:ext>
            </a:extLst>
          </p:cNvPr>
          <p:cNvSpPr/>
          <p:nvPr/>
        </p:nvSpPr>
        <p:spPr>
          <a:xfrm>
            <a:off x="8419585" y="4245218"/>
            <a:ext cx="1277581" cy="3744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sz="2400" b="1" dirty="0">
                <a:solidFill>
                  <a:schemeClr val="bg1"/>
                </a:solidFill>
                <a:latin typeface="EnBW DIN Pro" charset="0"/>
                <a:ea typeface="EnBW DIN Pro" charset="0"/>
                <a:cs typeface="EnBW DIN Pro" charset="0"/>
              </a:rPr>
              <a:t>4.984</a:t>
            </a:r>
            <a:r>
              <a:rPr lang="de-DE" sz="787" b="1" dirty="0">
                <a:solidFill>
                  <a:schemeClr val="bg1"/>
                </a:solidFill>
                <a:latin typeface="EnBW DIN Pro" charset="0"/>
                <a:ea typeface="EnBW DIN Pro" charset="0"/>
                <a:cs typeface="EnBW DIN Pro" charset="0"/>
              </a:rPr>
              <a:t> </a:t>
            </a:r>
            <a:r>
              <a:rPr lang="de-DE" sz="1000" b="1" dirty="0">
                <a:solidFill>
                  <a:schemeClr val="bg1"/>
                </a:solidFill>
                <a:latin typeface="EnBW DIN Pro" charset="0"/>
                <a:ea typeface="EnBW DIN Pro" charset="0"/>
                <a:cs typeface="EnBW DIN Pro" charset="0"/>
              </a:rPr>
              <a:t>km</a:t>
            </a:r>
          </a:p>
        </p:txBody>
      </p:sp>
      <p:grpSp>
        <p:nvGrpSpPr>
          <p:cNvPr id="74" name="Gruppieren 73">
            <a:extLst>
              <a:ext uri="{FF2B5EF4-FFF2-40B4-BE49-F238E27FC236}">
                <a16:creationId xmlns:a16="http://schemas.microsoft.com/office/drawing/2014/main" id="{4AB8FE53-276A-4871-A392-D47E23CC5E62}"/>
              </a:ext>
            </a:extLst>
          </p:cNvPr>
          <p:cNvGrpSpPr/>
          <p:nvPr/>
        </p:nvGrpSpPr>
        <p:grpSpPr>
          <a:xfrm>
            <a:off x="7892475" y="1567517"/>
            <a:ext cx="3726391" cy="1313221"/>
            <a:chOff x="2013153" y="4758105"/>
            <a:chExt cx="4971111" cy="1751874"/>
          </a:xfrm>
        </p:grpSpPr>
        <p:sp>
          <p:nvSpPr>
            <p:cNvPr id="75" name="Rechteck 74">
              <a:extLst>
                <a:ext uri="{FF2B5EF4-FFF2-40B4-BE49-F238E27FC236}">
                  <a16:creationId xmlns:a16="http://schemas.microsoft.com/office/drawing/2014/main" id="{CEE767C9-4F05-4F63-AF55-B07BD54BD928}"/>
                </a:ext>
              </a:extLst>
            </p:cNvPr>
            <p:cNvSpPr/>
            <p:nvPr/>
          </p:nvSpPr>
          <p:spPr>
            <a:xfrm>
              <a:off x="2018723" y="5002322"/>
              <a:ext cx="1986529" cy="10673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de-DE" sz="1200" b="1" dirty="0">
                  <a:solidFill>
                    <a:srgbClr val="000099"/>
                  </a:solidFill>
                  <a:latin typeface="EnBW DIN Pro" charset="0"/>
                  <a:ea typeface="EnBW DIN Pro" charset="0"/>
                  <a:cs typeface="EnBW DIN Pro" charset="0"/>
                </a:rPr>
                <a:t>ca. </a:t>
              </a:r>
              <a:r>
                <a:rPr lang="de-DE" sz="3199" b="1" dirty="0">
                  <a:solidFill>
                    <a:srgbClr val="000099"/>
                  </a:solidFill>
                  <a:latin typeface="EnBW DIN Pro" charset="0"/>
                  <a:ea typeface="EnBW DIN Pro" charset="0"/>
                  <a:cs typeface="EnBW DIN Pro" charset="0"/>
                </a:rPr>
                <a:t>5.000</a:t>
              </a:r>
              <a:r>
                <a:rPr lang="de-DE" sz="1050" dirty="0">
                  <a:solidFill>
                    <a:srgbClr val="000099"/>
                  </a:solidFill>
                  <a:latin typeface="EnBW DIN Pro" charset="0"/>
                  <a:ea typeface="EnBW DIN Pro" charset="0"/>
                  <a:cs typeface="EnBW DIN Pro" charset="0"/>
                </a:rPr>
                <a:t> </a:t>
              </a:r>
            </a:p>
            <a:p>
              <a:r>
                <a:rPr lang="de-DE" sz="1400" b="1" dirty="0">
                  <a:solidFill>
                    <a:srgbClr val="000099"/>
                  </a:solidFill>
                  <a:latin typeface="EnBW DIN Pro" charset="0"/>
                  <a:ea typeface="EnBW DIN Pro" charset="0"/>
                  <a:cs typeface="EnBW DIN Pro" charset="0"/>
                </a:rPr>
                <a:t>Mitarbeiter*</a:t>
              </a:r>
              <a:endParaRPr lang="de-DE" sz="1400" dirty="0">
                <a:solidFill>
                  <a:srgbClr val="000099"/>
                </a:solidFill>
                <a:latin typeface="EnBW DIN Pro" charset="0"/>
                <a:ea typeface="EnBW DIN Pro" charset="0"/>
                <a:cs typeface="EnBW DIN Pro" charset="0"/>
              </a:endParaRPr>
            </a:p>
          </p:txBody>
        </p:sp>
        <p:sp>
          <p:nvSpPr>
            <p:cNvPr id="76" name="Rechteck 75">
              <a:extLst>
                <a:ext uri="{FF2B5EF4-FFF2-40B4-BE49-F238E27FC236}">
                  <a16:creationId xmlns:a16="http://schemas.microsoft.com/office/drawing/2014/main" id="{1CEB64DC-D1CF-428A-8D2F-965395A41F17}"/>
                </a:ext>
              </a:extLst>
            </p:cNvPr>
            <p:cNvSpPr/>
            <p:nvPr/>
          </p:nvSpPr>
          <p:spPr>
            <a:xfrm>
              <a:off x="4997920" y="5002322"/>
              <a:ext cx="1986344" cy="10673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de-DE" sz="1200" b="1" dirty="0">
                  <a:solidFill>
                    <a:srgbClr val="000099"/>
                  </a:solidFill>
                  <a:latin typeface="EnBW DIN Pro" charset="0"/>
                  <a:ea typeface="EnBW DIN Pro" charset="0"/>
                  <a:cs typeface="EnBW DIN Pro" charset="0"/>
                </a:rPr>
                <a:t>ca. </a:t>
              </a:r>
              <a:r>
                <a:rPr lang="de-DE" sz="3199" b="1" dirty="0">
                  <a:solidFill>
                    <a:srgbClr val="000099"/>
                  </a:solidFill>
                  <a:latin typeface="EnBW DIN Pro" charset="0"/>
                  <a:ea typeface="EnBW DIN Pro" charset="0"/>
                  <a:cs typeface="EnBW DIN Pro" charset="0"/>
                </a:rPr>
                <a:t>600</a:t>
              </a:r>
              <a:r>
                <a:rPr lang="de-DE" sz="1050" dirty="0">
                  <a:solidFill>
                    <a:srgbClr val="000099"/>
                  </a:solidFill>
                  <a:latin typeface="EnBW DIN Pro" charset="0"/>
                  <a:ea typeface="EnBW DIN Pro" charset="0"/>
                  <a:cs typeface="EnBW DIN Pro" charset="0"/>
                </a:rPr>
                <a:t> </a:t>
              </a:r>
            </a:p>
            <a:p>
              <a:r>
                <a:rPr lang="de-DE" sz="1400" b="1" dirty="0">
                  <a:solidFill>
                    <a:srgbClr val="000099"/>
                  </a:solidFill>
                  <a:latin typeface="EnBW DIN Pro" charset="0"/>
                  <a:ea typeface="EnBW DIN Pro" charset="0"/>
                  <a:cs typeface="EnBW DIN Pro" charset="0"/>
                </a:rPr>
                <a:t>Auszubildende*</a:t>
              </a:r>
              <a:endParaRPr lang="de-DE" sz="1400" dirty="0">
                <a:solidFill>
                  <a:srgbClr val="000099"/>
                </a:solidFill>
                <a:latin typeface="EnBW DIN Pro" charset="0"/>
                <a:ea typeface="EnBW DIN Pro" charset="0"/>
                <a:cs typeface="EnBW DIN Pro" charset="0"/>
              </a:endParaRPr>
            </a:p>
          </p:txBody>
        </p:sp>
        <p:sp>
          <p:nvSpPr>
            <p:cNvPr id="77" name="Rechteck 76">
              <a:extLst>
                <a:ext uri="{FF2B5EF4-FFF2-40B4-BE49-F238E27FC236}">
                  <a16:creationId xmlns:a16="http://schemas.microsoft.com/office/drawing/2014/main" id="{87A17405-DA75-4901-8599-CEC7EBD24374}"/>
                </a:ext>
              </a:extLst>
            </p:cNvPr>
            <p:cNvSpPr/>
            <p:nvPr/>
          </p:nvSpPr>
          <p:spPr>
            <a:xfrm>
              <a:off x="2013153" y="6025516"/>
              <a:ext cx="1446021" cy="30793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de-DE" sz="900" dirty="0">
                  <a:latin typeface="EnBW DIN Pro" charset="0"/>
                  <a:ea typeface="EnBW DIN Pro" charset="0"/>
                  <a:cs typeface="EnBW DIN Pro" charset="0"/>
                </a:rPr>
                <a:t>* Stand Dez. 2021</a:t>
              </a:r>
            </a:p>
          </p:txBody>
        </p:sp>
        <p:pic>
          <p:nvPicPr>
            <p:cNvPr id="78" name="Bild 19">
              <a:extLst>
                <a:ext uri="{FF2B5EF4-FFF2-40B4-BE49-F238E27FC236}">
                  <a16:creationId xmlns:a16="http://schemas.microsoft.com/office/drawing/2014/main" id="{1D235A44-C274-4028-AF9B-A31AE385DAC9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583668" y="4758105"/>
              <a:ext cx="1751874" cy="1751874"/>
            </a:xfrm>
            <a:prstGeom prst="rect">
              <a:avLst/>
            </a:prstGeom>
            <a:ln>
              <a:noFill/>
            </a:ln>
            <a:effectLst/>
          </p:spPr>
        </p:pic>
      </p:grpSp>
      <p:pic>
        <p:nvPicPr>
          <p:cNvPr id="79" name="Grafik 38">
            <a:extLst>
              <a:ext uri="{FF2B5EF4-FFF2-40B4-BE49-F238E27FC236}">
                <a16:creationId xmlns:a16="http://schemas.microsoft.com/office/drawing/2014/main" id="{2A8F5D02-D430-448C-8B7F-F8B9E1A80830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38178" y="3032027"/>
            <a:ext cx="1471774" cy="1471774"/>
          </a:xfrm>
          <a:prstGeom prst="rect">
            <a:avLst/>
          </a:prstGeom>
        </p:spPr>
      </p:pic>
      <p:pic>
        <p:nvPicPr>
          <p:cNvPr id="80" name="Grafik 79">
            <a:extLst>
              <a:ext uri="{FF2B5EF4-FFF2-40B4-BE49-F238E27FC236}">
                <a16:creationId xmlns:a16="http://schemas.microsoft.com/office/drawing/2014/main" id="{841F2535-5783-4B0A-8570-0F4C213A6B3F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38682" y="5051564"/>
            <a:ext cx="213513" cy="213513"/>
          </a:xfrm>
          <a:prstGeom prst="rect">
            <a:avLst/>
          </a:prstGeom>
        </p:spPr>
      </p:pic>
      <p:sp>
        <p:nvSpPr>
          <p:cNvPr id="81" name="Rechteck 80">
            <a:extLst>
              <a:ext uri="{FF2B5EF4-FFF2-40B4-BE49-F238E27FC236}">
                <a16:creationId xmlns:a16="http://schemas.microsoft.com/office/drawing/2014/main" id="{5F4F62FB-9149-42B9-821B-8AC53A30DCAF}"/>
              </a:ext>
            </a:extLst>
          </p:cNvPr>
          <p:cNvSpPr/>
          <p:nvPr/>
        </p:nvSpPr>
        <p:spPr>
          <a:xfrm>
            <a:off x="10432520" y="5083176"/>
            <a:ext cx="1440000" cy="360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799">
              <a:solidFill>
                <a:schemeClr val="accent6"/>
              </a:solidFill>
              <a:latin typeface="EnBW DIN Pro" charset="0"/>
              <a:cs typeface="EnBW DIN Pro" charset="0"/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CA980315-1788-455D-8648-C5CFE4FD0766}"/>
              </a:ext>
            </a:extLst>
          </p:cNvPr>
          <p:cNvSpPr/>
          <p:nvPr/>
        </p:nvSpPr>
        <p:spPr>
          <a:xfrm>
            <a:off x="10834558" y="4728615"/>
            <a:ext cx="809626" cy="3076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400" b="1" dirty="0">
                <a:latin typeface="EnBW DIN Pro" charset="0"/>
                <a:ea typeface="EnBW DIN Pro" charset="0"/>
                <a:cs typeface="EnBW DIN Pro" charset="0"/>
              </a:rPr>
              <a:t>Kunden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4725E728-DC10-4FDE-B2F6-8D2ADB19A59C}"/>
              </a:ext>
            </a:extLst>
          </p:cNvPr>
          <p:cNvSpPr/>
          <p:nvPr/>
        </p:nvSpPr>
        <p:spPr>
          <a:xfrm>
            <a:off x="10586109" y="5017115"/>
            <a:ext cx="130642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sz="2400" b="1" dirty="0">
                <a:solidFill>
                  <a:schemeClr val="bg1"/>
                </a:solidFill>
                <a:latin typeface="EnBW DIN Pro" charset="0"/>
                <a:ea typeface="EnBW DIN Pro" charset="0"/>
                <a:cs typeface="EnBW DIN Pro" charset="0"/>
              </a:rPr>
              <a:t>2,23</a:t>
            </a:r>
            <a:r>
              <a:rPr lang="de-DE" sz="1799" b="1" dirty="0">
                <a:solidFill>
                  <a:schemeClr val="bg1"/>
                </a:solidFill>
                <a:latin typeface="EnBW DIN Pro" charset="0"/>
                <a:ea typeface="EnBW DIN Pro" charset="0"/>
                <a:cs typeface="EnBW DIN Pro" charset="0"/>
              </a:rPr>
              <a:t> </a:t>
            </a:r>
            <a:r>
              <a:rPr lang="de-DE" sz="1600" dirty="0">
                <a:solidFill>
                  <a:schemeClr val="bg1"/>
                </a:solidFill>
                <a:latin typeface="EnBW DIN Pro" charset="0"/>
                <a:ea typeface="EnBW DIN Pro" charset="0"/>
                <a:cs typeface="EnBW DIN Pro" charset="0"/>
              </a:rPr>
              <a:t>Mio.</a:t>
            </a:r>
            <a:endParaRPr lang="de-DE" sz="3599" dirty="0">
              <a:solidFill>
                <a:schemeClr val="bg1"/>
              </a:solidFill>
              <a:latin typeface="EnBW DIN Pro" charset="0"/>
              <a:ea typeface="EnBW DIN Pro" charset="0"/>
              <a:cs typeface="EnBW DIN Pro" charset="0"/>
            </a:endParaRPr>
          </a:p>
        </p:txBody>
      </p:sp>
      <p:pic>
        <p:nvPicPr>
          <p:cNvPr id="84" name="Grafik 83">
            <a:extLst>
              <a:ext uri="{FF2B5EF4-FFF2-40B4-BE49-F238E27FC236}">
                <a16:creationId xmlns:a16="http://schemas.microsoft.com/office/drawing/2014/main" id="{639CEC89-56B5-4BBF-AA1A-D5476642A5EE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92703" y="5015356"/>
            <a:ext cx="523085" cy="523085"/>
          </a:xfrm>
          <a:prstGeom prst="rect">
            <a:avLst/>
          </a:prstGeom>
        </p:spPr>
      </p:pic>
      <p:pic>
        <p:nvPicPr>
          <p:cNvPr id="85" name="Grafik 43">
            <a:extLst>
              <a:ext uri="{FF2B5EF4-FFF2-40B4-BE49-F238E27FC236}">
                <a16:creationId xmlns:a16="http://schemas.microsoft.com/office/drawing/2014/main" id="{63A2B8EB-F5F0-42E1-A4A3-DE6EDC20565A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38782" y="3212153"/>
            <a:ext cx="616781" cy="600929"/>
          </a:xfrm>
          <a:prstGeom prst="rect">
            <a:avLst/>
          </a:prstGeom>
        </p:spPr>
      </p:pic>
      <p:sp>
        <p:nvSpPr>
          <p:cNvPr id="86" name="Rechteck 85">
            <a:extLst>
              <a:ext uri="{FF2B5EF4-FFF2-40B4-BE49-F238E27FC236}">
                <a16:creationId xmlns:a16="http://schemas.microsoft.com/office/drawing/2014/main" id="{95A03EE9-0C58-4DA6-8076-8049FBD79544}"/>
              </a:ext>
            </a:extLst>
          </p:cNvPr>
          <p:cNvSpPr/>
          <p:nvPr/>
        </p:nvSpPr>
        <p:spPr>
          <a:xfrm>
            <a:off x="9892201" y="3685352"/>
            <a:ext cx="509943" cy="2307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900" b="1" dirty="0">
                <a:latin typeface="EnBW DIN Pro" charset="0"/>
                <a:ea typeface="EnBW DIN Pro" charset="0"/>
                <a:cs typeface="EnBW DIN Pro" charset="0"/>
              </a:rPr>
              <a:t>Strom</a:t>
            </a:r>
          </a:p>
        </p:txBody>
      </p:sp>
      <p:pic>
        <p:nvPicPr>
          <p:cNvPr id="87" name="Grafik 101">
            <a:extLst>
              <a:ext uri="{FF2B5EF4-FFF2-40B4-BE49-F238E27FC236}">
                <a16:creationId xmlns:a16="http://schemas.microsoft.com/office/drawing/2014/main" id="{6182675D-922D-4E05-B2C8-13BFD24FBAAA}"/>
              </a:ext>
            </a:extLst>
          </p:cNvPr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9771165" y="4109625"/>
            <a:ext cx="734603" cy="649634"/>
          </a:xfrm>
          <a:prstGeom prst="rect">
            <a:avLst/>
          </a:prstGeom>
        </p:spPr>
      </p:pic>
      <p:sp>
        <p:nvSpPr>
          <p:cNvPr id="88" name="Rechteck 87">
            <a:extLst>
              <a:ext uri="{FF2B5EF4-FFF2-40B4-BE49-F238E27FC236}">
                <a16:creationId xmlns:a16="http://schemas.microsoft.com/office/drawing/2014/main" id="{234E257D-F915-4FF6-99B9-B75A7E7F1923}"/>
              </a:ext>
            </a:extLst>
          </p:cNvPr>
          <p:cNvSpPr/>
          <p:nvPr/>
        </p:nvSpPr>
        <p:spPr>
          <a:xfrm>
            <a:off x="9949201" y="4606037"/>
            <a:ext cx="378531" cy="2307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900" b="1" dirty="0">
                <a:latin typeface="EnBW DIN Pro" charset="0"/>
                <a:ea typeface="EnBW DIN Pro" charset="0"/>
                <a:cs typeface="EnBW DIN Pro" charset="0"/>
              </a:rPr>
              <a:t>Gas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2C8372C-D486-4E86-AB88-DA37E914D413}"/>
              </a:ext>
            </a:extLst>
          </p:cNvPr>
          <p:cNvSpPr/>
          <p:nvPr/>
        </p:nvSpPr>
        <p:spPr>
          <a:xfrm>
            <a:off x="10440081" y="3078184"/>
            <a:ext cx="133581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400" b="1" dirty="0">
                <a:latin typeface="EnBW DIN Pro" charset="0"/>
                <a:ea typeface="EnBW DIN Pro" charset="0"/>
                <a:cs typeface="EnBW DIN Pro" charset="0"/>
              </a:rPr>
              <a:t>Konzessionen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B9989DE0-A03F-4784-ACCB-383551CB76F5}"/>
              </a:ext>
            </a:extLst>
          </p:cNvPr>
          <p:cNvSpPr/>
          <p:nvPr/>
        </p:nvSpPr>
        <p:spPr>
          <a:xfrm>
            <a:off x="10405146" y="3445049"/>
            <a:ext cx="1440000" cy="360000"/>
          </a:xfrm>
          <a:prstGeom prst="rect">
            <a:avLst/>
          </a:prstGeom>
          <a:solidFill>
            <a:srgbClr val="FF9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 dirty="0">
              <a:latin typeface="EnBW DIN Pro" charset="0"/>
              <a:ea typeface="EnBW DIN Pro" charset="0"/>
              <a:cs typeface="EnBW DIN Pro" charset="0"/>
            </a:endParaRP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506DE68F-C707-49C6-A537-6EB144A5F150}"/>
              </a:ext>
            </a:extLst>
          </p:cNvPr>
          <p:cNvSpPr/>
          <p:nvPr/>
        </p:nvSpPr>
        <p:spPr>
          <a:xfrm>
            <a:off x="10440081" y="3409035"/>
            <a:ext cx="14400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sz="2400" b="1" dirty="0">
                <a:solidFill>
                  <a:schemeClr val="bg1"/>
                </a:solidFill>
                <a:latin typeface="EnBW DIN Pro" charset="0"/>
                <a:ea typeface="EnBW DIN Pro" charset="0"/>
                <a:cs typeface="EnBW DIN Pro" charset="0"/>
              </a:rPr>
              <a:t>551 </a:t>
            </a:r>
            <a:r>
              <a:rPr lang="de-DE" sz="1000" b="1" dirty="0">
                <a:solidFill>
                  <a:schemeClr val="bg1"/>
                </a:solidFill>
                <a:latin typeface="EnBW DIN Pro" charset="0"/>
                <a:ea typeface="EnBW DIN Pro" charset="0"/>
                <a:cs typeface="EnBW DIN Pro" charset="0"/>
              </a:rPr>
              <a:t>Konzession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6F196F70-E6BB-41DB-978B-1B38D0CF1DDD}"/>
              </a:ext>
            </a:extLst>
          </p:cNvPr>
          <p:cNvSpPr/>
          <p:nvPr/>
        </p:nvSpPr>
        <p:spPr>
          <a:xfrm>
            <a:off x="10400393" y="4270827"/>
            <a:ext cx="1440000" cy="360000"/>
          </a:xfrm>
          <a:prstGeom prst="rect">
            <a:avLst/>
          </a:prstGeom>
          <a:solidFill>
            <a:srgbClr val="FF9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 dirty="0">
              <a:latin typeface="EnBW DIN Pro" charset="0"/>
              <a:ea typeface="EnBW DIN Pro" charset="0"/>
              <a:cs typeface="EnBW DIN Pro" charset="0"/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949402FD-601A-4D4A-AF0B-0884CCE1EAE9}"/>
              </a:ext>
            </a:extLst>
          </p:cNvPr>
          <p:cNvSpPr/>
          <p:nvPr/>
        </p:nvSpPr>
        <p:spPr>
          <a:xfrm>
            <a:off x="10471207" y="4231292"/>
            <a:ext cx="14400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2400" b="1" dirty="0">
                <a:solidFill>
                  <a:schemeClr val="bg1"/>
                </a:solidFill>
                <a:latin typeface="EnBW DIN Pro" charset="0"/>
                <a:ea typeface="EnBW DIN Pro" charset="0"/>
                <a:cs typeface="EnBW DIN Pro" charset="0"/>
              </a:rPr>
              <a:t>101 </a:t>
            </a:r>
            <a:r>
              <a:rPr lang="de-DE" sz="1000" b="1" dirty="0">
                <a:solidFill>
                  <a:schemeClr val="bg1"/>
                </a:solidFill>
                <a:latin typeface="EnBW DIN Pro" charset="0"/>
                <a:ea typeface="EnBW DIN Pro" charset="0"/>
                <a:cs typeface="EnBW DIN Pro" charset="0"/>
              </a:rPr>
              <a:t>Konzession</a:t>
            </a:r>
          </a:p>
        </p:txBody>
      </p:sp>
    </p:spTree>
    <p:extLst>
      <p:ext uri="{BB962C8B-B14F-4D97-AF65-F5344CB8AC3E}">
        <p14:creationId xmlns:p14="http://schemas.microsoft.com/office/powerpoint/2010/main" val="728624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5224A17-143C-4C8E-84FD-C8D35063FAB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4" name="think-cell Folie" r:id="rId21" imgW="592" imgH="591" progId="TCLayout.ActiveDocument.1">
                  <p:embed/>
                </p:oleObj>
              </mc:Choice>
              <mc:Fallback>
                <p:oleObj name="think-cell Folie" r:id="rId21" imgW="592" imgH="591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5224A17-143C-4C8E-84FD-C8D35063FA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FCB6749C-0FB1-4E01-9FBE-638BD42DB608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Aft>
                <a:spcPct val="0"/>
              </a:spcAft>
            </a:pPr>
            <a:endParaRPr kumimoji="0" lang="de-DE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EnBW DIN Pro" panose="020B0504020101020102" pitchFamily="34" charset="0"/>
              <a:cs typeface="+mj-cs"/>
              <a:sym typeface="EnBW DIN Pro" panose="020B0504020101020102" pitchFamily="34" charset="0"/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81012" y="363726"/>
            <a:ext cx="10167937" cy="892552"/>
          </a:xfrm>
        </p:spPr>
        <p:txBody>
          <a:bodyPr vert="horz"/>
          <a:lstStyle/>
          <a:p>
            <a:r>
              <a:rPr lang="de-DE" dirty="0"/>
              <a:t>Ausbildung vor Ort: Knapp 600 Auszubildende und DH-Studierende</a:t>
            </a:r>
            <a:br>
              <a:rPr lang="de-DE" dirty="0"/>
            </a:br>
            <a:r>
              <a:rPr lang="de-DE" sz="1800" kern="1200" dirty="0">
                <a:solidFill>
                  <a:schemeClr val="tx2"/>
                </a:solidFill>
                <a:cs typeface="EnBW DIN Pro Medium" panose="020B0604020101020102" pitchFamily="34" charset="0"/>
              </a:rPr>
              <a:t>Qualität und Zukunftssicherung durch ein Netzwerk von Ausbildungsstätten</a:t>
            </a:r>
            <a:br>
              <a:rPr lang="de-DE" sz="1800" kern="1200" dirty="0">
                <a:solidFill>
                  <a:schemeClr val="tx2"/>
                </a:solidFill>
                <a:cs typeface="EnBW DIN Pro Medium" panose="020B0604020101020102" pitchFamily="34" charset="0"/>
              </a:rPr>
            </a:br>
            <a:r>
              <a:rPr lang="de-DE" sz="1800" kern="1200" dirty="0">
                <a:solidFill>
                  <a:schemeClr val="tx2"/>
                </a:solidFill>
                <a:cs typeface="EnBW DIN Pro Medium" panose="020B0604020101020102" pitchFamily="34" charset="0"/>
              </a:rPr>
              <a:t>(an denen auch viele Stadtwerke &amp; Dienstleister der Branche ausbilden lassen)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3D4A45-F672-4474-BA28-E624C64DA635}" type="slidenum">
              <a:rPr lang="de-DE" smtClean="0"/>
              <a:t>11</a:t>
            </a:fld>
            <a:endParaRPr lang="de-DE" dirty="0"/>
          </a:p>
        </p:txBody>
      </p:sp>
      <p:sp>
        <p:nvSpPr>
          <p:cNvPr id="7" name="Rectangle 2"/>
          <p:cNvSpPr>
            <a:spLocks noChangeArrowheads="1"/>
          </p:cNvSpPr>
          <p:nvPr/>
        </p:nvSpPr>
        <p:spPr bwMode="auto">
          <a:xfrm>
            <a:off x="1525588" y="-184666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de-DE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16EE0D57-3BF0-4DF5-B690-7558AE16739F}"/>
              </a:ext>
            </a:extLst>
          </p:cNvPr>
          <p:cNvSpPr/>
          <p:nvPr/>
        </p:nvSpPr>
        <p:spPr bwMode="auto">
          <a:xfrm>
            <a:off x="4873415" y="1711573"/>
            <a:ext cx="6822444" cy="216166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8000" tIns="108000" rIns="108000" bIns="10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D5CDA6F6-70DB-4241-AC9A-276845B134C0}"/>
              </a:ext>
            </a:extLst>
          </p:cNvPr>
          <p:cNvSpPr/>
          <p:nvPr/>
        </p:nvSpPr>
        <p:spPr>
          <a:xfrm>
            <a:off x="5074367" y="1888685"/>
            <a:ext cx="6588698" cy="19958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Clr>
                <a:schemeClr val="accent6"/>
              </a:buClr>
              <a:buFont typeface="EnBW DIN Pro" panose="020B0504020101020102" pitchFamily="34" charset="0"/>
              <a:buChar char="›"/>
            </a:pPr>
            <a:r>
              <a:rPr lang="de-DE" sz="1200" dirty="0">
                <a:ea typeface="Times New Roman" panose="02020603050405020304" pitchFamily="18" charset="0"/>
              </a:rPr>
              <a:t>15 Ausbildungsstätten in ganz Baden-Württemberg</a:t>
            </a:r>
            <a:endParaRPr lang="de-DE" sz="1200" dirty="0">
              <a:latin typeface="+mj-lt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spcAft>
                <a:spcPts val="0"/>
              </a:spcAft>
              <a:buClr>
                <a:schemeClr val="accent6"/>
              </a:buClr>
              <a:buFont typeface="EnBW DIN Pro" panose="020B0504020101020102" pitchFamily="34" charset="0"/>
              <a:buChar char="›"/>
            </a:pPr>
            <a:r>
              <a:rPr lang="de-DE" sz="1200" dirty="0">
                <a:latin typeface="+mj-lt"/>
                <a:ea typeface="Times New Roman" panose="02020603050405020304" pitchFamily="18" charset="0"/>
              </a:rPr>
              <a:t>Branchenspezifische Ausbildung, bspw. zur Netzfachkraft</a:t>
            </a:r>
          </a:p>
          <a:p>
            <a:pPr marL="342900" lvl="0" indent="-342900">
              <a:lnSpc>
                <a:spcPct val="150000"/>
              </a:lnSpc>
              <a:spcAft>
                <a:spcPts val="0"/>
              </a:spcAft>
              <a:buClr>
                <a:schemeClr val="accent6"/>
              </a:buClr>
              <a:buFont typeface="EnBW DIN Pro" panose="020B0504020101020102" pitchFamily="34" charset="0"/>
              <a:buChar char="›"/>
            </a:pPr>
            <a:r>
              <a:rPr lang="de-DE" sz="1200" dirty="0">
                <a:latin typeface="+mj-lt"/>
                <a:ea typeface="Times New Roman" panose="02020603050405020304" pitchFamily="18" charset="0"/>
              </a:rPr>
              <a:t>Breites Spektrum an dualen Studiengängen / -vertiefungen</a:t>
            </a:r>
          </a:p>
          <a:p>
            <a:pPr marL="342900" lvl="0" indent="-342900">
              <a:lnSpc>
                <a:spcPct val="150000"/>
              </a:lnSpc>
              <a:spcAft>
                <a:spcPts val="0"/>
              </a:spcAft>
              <a:buClr>
                <a:schemeClr val="accent6"/>
              </a:buClr>
              <a:buFont typeface="EnBW DIN Pro" panose="020B0504020101020102" pitchFamily="34" charset="0"/>
              <a:buChar char="›"/>
            </a:pPr>
            <a:r>
              <a:rPr lang="de-DE" sz="1200" dirty="0">
                <a:latin typeface="+mj-lt"/>
                <a:ea typeface="Times New Roman" panose="02020603050405020304" pitchFamily="18" charset="0"/>
              </a:rPr>
              <a:t>Bedarfsorientierte Ausbildung mit sehr guten Übernahme- und Aufstiegsmöglichkeiten</a:t>
            </a:r>
          </a:p>
          <a:p>
            <a:pPr marL="342900" lvl="0" indent="-342900">
              <a:lnSpc>
                <a:spcPct val="150000"/>
              </a:lnSpc>
              <a:spcAft>
                <a:spcPts val="0"/>
              </a:spcAft>
              <a:buClr>
                <a:schemeClr val="accent6"/>
              </a:buClr>
              <a:buFont typeface="EnBW DIN Pro" panose="020B0504020101020102" pitchFamily="34" charset="0"/>
              <a:buChar char="›"/>
            </a:pPr>
            <a:r>
              <a:rPr lang="de-DE" sz="1200" dirty="0">
                <a:latin typeface="+mj-lt"/>
                <a:ea typeface="Times New Roman" panose="02020603050405020304" pitchFamily="18" charset="0"/>
              </a:rPr>
              <a:t>Sicherer Arbeitsplatz: Teil der Energie- und Mobilitätswende</a:t>
            </a:r>
            <a:endParaRPr lang="de-DE" sz="1200" dirty="0">
              <a:latin typeface="+mj-lt"/>
              <a:ea typeface="Calibri" panose="020F0502020204030204" pitchFamily="34" charset="0"/>
            </a:endParaRPr>
          </a:p>
          <a:p>
            <a:pPr marL="342900" lvl="0" indent="-342900">
              <a:lnSpc>
                <a:spcPct val="150000"/>
              </a:lnSpc>
              <a:spcAft>
                <a:spcPts val="0"/>
              </a:spcAft>
              <a:buClr>
                <a:schemeClr val="accent6"/>
              </a:buClr>
              <a:buFont typeface="EnBW DIN Pro" panose="020B0504020101020102" pitchFamily="34" charset="0"/>
              <a:buChar char="›"/>
            </a:pPr>
            <a:r>
              <a:rPr lang="de-DE" sz="1200" dirty="0">
                <a:latin typeface="+mj-lt"/>
                <a:ea typeface="Calibri" panose="020F0502020204030204" pitchFamily="34" charset="0"/>
              </a:rPr>
              <a:t>Moderne und kundenzentrierte Lernmethoden mit bspw. </a:t>
            </a:r>
            <a:r>
              <a:rPr lang="de-DE" sz="1200" dirty="0" err="1">
                <a:latin typeface="+mj-lt"/>
                <a:ea typeface="Calibri" panose="020F0502020204030204" pitchFamily="34" charset="0"/>
              </a:rPr>
              <a:t>Augmented</a:t>
            </a:r>
            <a:r>
              <a:rPr lang="de-DE" sz="1200" dirty="0">
                <a:latin typeface="+mj-lt"/>
                <a:ea typeface="Calibri" panose="020F0502020204030204" pitchFamily="34" charset="0"/>
              </a:rPr>
              <a:t> Reality</a:t>
            </a:r>
          </a:p>
          <a:p>
            <a:pPr marL="342900" lvl="0" indent="-342900">
              <a:lnSpc>
                <a:spcPct val="150000"/>
              </a:lnSpc>
              <a:spcAft>
                <a:spcPts val="0"/>
              </a:spcAft>
              <a:buClr>
                <a:schemeClr val="accent6"/>
              </a:buClr>
              <a:buFont typeface="EnBW DIN Pro" panose="020B0504020101020102" pitchFamily="34" charset="0"/>
              <a:buChar char="›"/>
            </a:pPr>
            <a:r>
              <a:rPr lang="de-DE" sz="1200" dirty="0">
                <a:latin typeface="+mj-lt"/>
                <a:ea typeface="Calibri" panose="020F0502020204030204" pitchFamily="34" charset="0"/>
              </a:rPr>
              <a:t>Berufsintegrationsprogramm für Migrant*innen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DBC2C70B-FAAF-4675-859A-02F4B7086ED6}"/>
              </a:ext>
            </a:extLst>
          </p:cNvPr>
          <p:cNvSpPr txBox="1"/>
          <p:nvPr/>
        </p:nvSpPr>
        <p:spPr bwMode="gray">
          <a:xfrm>
            <a:off x="5135605" y="1603850"/>
            <a:ext cx="2598987" cy="2154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0"/>
              </a:spcBef>
              <a:buClr>
                <a:schemeClr val="accent6"/>
              </a:buClr>
              <a:buSzPct val="140000"/>
              <a:buNone/>
            </a:pPr>
            <a:r>
              <a:rPr lang="de-DE" sz="1400" b="1" dirty="0">
                <a:solidFill>
                  <a:srgbClr val="061671"/>
                </a:solidFill>
                <a:latin typeface="+mn-lt"/>
                <a:ea typeface="DIN-Regular" panose="020B0500010101010101" pitchFamily="34" charset="0"/>
              </a:rPr>
              <a:t>Die Netze BW als Ausbildende:</a:t>
            </a:r>
          </a:p>
        </p:txBody>
      </p:sp>
      <p:grpSp>
        <p:nvGrpSpPr>
          <p:cNvPr id="85" name="Gruppieren 84">
            <a:extLst>
              <a:ext uri="{FF2B5EF4-FFF2-40B4-BE49-F238E27FC236}">
                <a16:creationId xmlns:a16="http://schemas.microsoft.com/office/drawing/2014/main" id="{B74126F9-AD28-479B-B57C-EE7619A46AAE}"/>
              </a:ext>
            </a:extLst>
          </p:cNvPr>
          <p:cNvGrpSpPr/>
          <p:nvPr/>
        </p:nvGrpSpPr>
        <p:grpSpPr>
          <a:xfrm>
            <a:off x="467836" y="1671887"/>
            <a:ext cx="4117649" cy="4423574"/>
            <a:chOff x="467836" y="1671887"/>
            <a:chExt cx="4377319" cy="4702536"/>
          </a:xfrm>
        </p:grpSpPr>
        <p:grpSp>
          <p:nvGrpSpPr>
            <p:cNvPr id="37" name="Group 91">
              <a:extLst>
                <a:ext uri="{FF2B5EF4-FFF2-40B4-BE49-F238E27FC236}">
                  <a16:creationId xmlns:a16="http://schemas.microsoft.com/office/drawing/2014/main" id="{B8F1B9DC-17BD-4682-BCF7-6144DD872C33}"/>
                </a:ext>
              </a:extLst>
            </p:cNvPr>
            <p:cNvGrpSpPr/>
            <p:nvPr/>
          </p:nvGrpSpPr>
          <p:grpSpPr bwMode="gray">
            <a:xfrm>
              <a:off x="467836" y="1671887"/>
              <a:ext cx="4244540" cy="4702536"/>
              <a:chOff x="6765814" y="1576368"/>
              <a:chExt cx="4291836" cy="4736285"/>
            </a:xfrm>
          </p:grpSpPr>
          <p:sp>
            <p:nvSpPr>
              <p:cNvPr id="38" name="Freeform 49">
                <a:extLst>
                  <a:ext uri="{FF2B5EF4-FFF2-40B4-BE49-F238E27FC236}">
                    <a16:creationId xmlns:a16="http://schemas.microsoft.com/office/drawing/2014/main" id="{89C59197-3840-4541-AC21-58FC7F1E3A05}"/>
                  </a:ext>
                </a:extLst>
              </p:cNvPr>
              <p:cNvSpPr>
                <a:spLocks noEditPoints="1"/>
              </p:cNvSpPr>
              <p:nvPr>
                <p:custDataLst>
                  <p:tags r:id="rId8"/>
                </p:custDataLst>
              </p:nvPr>
            </p:nvSpPr>
            <p:spPr bwMode="gray">
              <a:xfrm>
                <a:off x="6765814" y="1576368"/>
                <a:ext cx="4291836" cy="4736285"/>
              </a:xfrm>
              <a:custGeom>
                <a:avLst/>
                <a:gdLst>
                  <a:gd name="T0" fmla="*/ 209 w 2688"/>
                  <a:gd name="T1" fmla="*/ 353 h 2994"/>
                  <a:gd name="T2" fmla="*/ 188 w 2688"/>
                  <a:gd name="T3" fmla="*/ 339 h 2994"/>
                  <a:gd name="T4" fmla="*/ 164 w 2688"/>
                  <a:gd name="T5" fmla="*/ 321 h 2994"/>
                  <a:gd name="T6" fmla="*/ 168 w 2688"/>
                  <a:gd name="T7" fmla="*/ 326 h 2994"/>
                  <a:gd name="T8" fmla="*/ 164 w 2688"/>
                  <a:gd name="T9" fmla="*/ 339 h 2994"/>
                  <a:gd name="T10" fmla="*/ 160 w 2688"/>
                  <a:gd name="T11" fmla="*/ 335 h 2994"/>
                  <a:gd name="T12" fmla="*/ 143 w 2688"/>
                  <a:gd name="T13" fmla="*/ 330 h 2994"/>
                  <a:gd name="T14" fmla="*/ 135 w 2688"/>
                  <a:gd name="T15" fmla="*/ 334 h 2994"/>
                  <a:gd name="T16" fmla="*/ 132 w 2688"/>
                  <a:gd name="T17" fmla="*/ 335 h 2994"/>
                  <a:gd name="T18" fmla="*/ 119 w 2688"/>
                  <a:gd name="T19" fmla="*/ 321 h 2994"/>
                  <a:gd name="T20" fmla="*/ 109 w 2688"/>
                  <a:gd name="T21" fmla="*/ 320 h 2994"/>
                  <a:gd name="T22" fmla="*/ 93 w 2688"/>
                  <a:gd name="T23" fmla="*/ 338 h 2994"/>
                  <a:gd name="T24" fmla="*/ 110 w 2688"/>
                  <a:gd name="T25" fmla="*/ 339 h 2994"/>
                  <a:gd name="T26" fmla="*/ 102 w 2688"/>
                  <a:gd name="T27" fmla="*/ 344 h 2994"/>
                  <a:gd name="T28" fmla="*/ 83 w 2688"/>
                  <a:gd name="T29" fmla="*/ 353 h 2994"/>
                  <a:gd name="T30" fmla="*/ 59 w 2688"/>
                  <a:gd name="T31" fmla="*/ 355 h 2994"/>
                  <a:gd name="T32" fmla="*/ 31 w 2688"/>
                  <a:gd name="T33" fmla="*/ 349 h 2994"/>
                  <a:gd name="T34" fmla="*/ 18 w 2688"/>
                  <a:gd name="T35" fmla="*/ 352 h 2994"/>
                  <a:gd name="T36" fmla="*/ 6 w 2688"/>
                  <a:gd name="T37" fmla="*/ 334 h 2994"/>
                  <a:gd name="T38" fmla="*/ 9 w 2688"/>
                  <a:gd name="T39" fmla="*/ 292 h 2994"/>
                  <a:gd name="T40" fmla="*/ 13 w 2688"/>
                  <a:gd name="T41" fmla="*/ 256 h 2994"/>
                  <a:gd name="T42" fmla="*/ 27 w 2688"/>
                  <a:gd name="T43" fmla="*/ 216 h 2994"/>
                  <a:gd name="T44" fmla="*/ 46 w 2688"/>
                  <a:gd name="T45" fmla="*/ 173 h 2994"/>
                  <a:gd name="T46" fmla="*/ 67 w 2688"/>
                  <a:gd name="T47" fmla="*/ 142 h 2994"/>
                  <a:gd name="T48" fmla="*/ 93 w 2688"/>
                  <a:gd name="T49" fmla="*/ 96 h 2994"/>
                  <a:gd name="T50" fmla="*/ 103 w 2688"/>
                  <a:gd name="T51" fmla="*/ 68 h 2994"/>
                  <a:gd name="T52" fmla="*/ 100 w 2688"/>
                  <a:gd name="T53" fmla="*/ 45 h 2994"/>
                  <a:gd name="T54" fmla="*/ 118 w 2688"/>
                  <a:gd name="T55" fmla="*/ 38 h 2994"/>
                  <a:gd name="T56" fmla="*/ 125 w 2688"/>
                  <a:gd name="T57" fmla="*/ 28 h 2994"/>
                  <a:gd name="T58" fmla="*/ 135 w 2688"/>
                  <a:gd name="T59" fmla="*/ 44 h 2994"/>
                  <a:gd name="T60" fmla="*/ 136 w 2688"/>
                  <a:gd name="T61" fmla="*/ 50 h 2994"/>
                  <a:gd name="T62" fmla="*/ 145 w 2688"/>
                  <a:gd name="T63" fmla="*/ 56 h 2994"/>
                  <a:gd name="T64" fmla="*/ 160 w 2688"/>
                  <a:gd name="T65" fmla="*/ 42 h 2994"/>
                  <a:gd name="T66" fmla="*/ 169 w 2688"/>
                  <a:gd name="T67" fmla="*/ 34 h 2994"/>
                  <a:gd name="T68" fmla="*/ 189 w 2688"/>
                  <a:gd name="T69" fmla="*/ 23 h 2994"/>
                  <a:gd name="T70" fmla="*/ 189 w 2688"/>
                  <a:gd name="T71" fmla="*/ 13 h 2994"/>
                  <a:gd name="T72" fmla="*/ 199 w 2688"/>
                  <a:gd name="T73" fmla="*/ 9 h 2994"/>
                  <a:gd name="T74" fmla="*/ 220 w 2688"/>
                  <a:gd name="T75" fmla="*/ 6 h 2994"/>
                  <a:gd name="T76" fmla="*/ 223 w 2688"/>
                  <a:gd name="T77" fmla="*/ 9 h 2994"/>
                  <a:gd name="T78" fmla="*/ 236 w 2688"/>
                  <a:gd name="T79" fmla="*/ 19 h 2994"/>
                  <a:gd name="T80" fmla="*/ 236 w 2688"/>
                  <a:gd name="T81" fmla="*/ 38 h 2994"/>
                  <a:gd name="T82" fmla="*/ 246 w 2688"/>
                  <a:gd name="T83" fmla="*/ 46 h 2994"/>
                  <a:gd name="T84" fmla="*/ 262 w 2688"/>
                  <a:gd name="T85" fmla="*/ 42 h 2994"/>
                  <a:gd name="T86" fmla="*/ 263 w 2688"/>
                  <a:gd name="T87" fmla="*/ 56 h 2994"/>
                  <a:gd name="T88" fmla="*/ 263 w 2688"/>
                  <a:gd name="T89" fmla="*/ 73 h 2994"/>
                  <a:gd name="T90" fmla="*/ 263 w 2688"/>
                  <a:gd name="T91" fmla="*/ 86 h 2994"/>
                  <a:gd name="T92" fmla="*/ 274 w 2688"/>
                  <a:gd name="T93" fmla="*/ 101 h 2994"/>
                  <a:gd name="T94" fmla="*/ 277 w 2688"/>
                  <a:gd name="T95" fmla="*/ 113 h 2994"/>
                  <a:gd name="T96" fmla="*/ 288 w 2688"/>
                  <a:gd name="T97" fmla="*/ 125 h 2994"/>
                  <a:gd name="T98" fmla="*/ 294 w 2688"/>
                  <a:gd name="T99" fmla="*/ 141 h 2994"/>
                  <a:gd name="T100" fmla="*/ 294 w 2688"/>
                  <a:gd name="T101" fmla="*/ 162 h 2994"/>
                  <a:gd name="T102" fmla="*/ 294 w 2688"/>
                  <a:gd name="T103" fmla="*/ 179 h 2994"/>
                  <a:gd name="T104" fmla="*/ 285 w 2688"/>
                  <a:gd name="T105" fmla="*/ 176 h 2994"/>
                  <a:gd name="T106" fmla="*/ 283 w 2688"/>
                  <a:gd name="T107" fmla="*/ 194 h 2994"/>
                  <a:gd name="T108" fmla="*/ 265 w 2688"/>
                  <a:gd name="T109" fmla="*/ 213 h 2994"/>
                  <a:gd name="T110" fmla="*/ 249 w 2688"/>
                  <a:gd name="T111" fmla="*/ 228 h 2994"/>
                  <a:gd name="T112" fmla="*/ 261 w 2688"/>
                  <a:gd name="T113" fmla="*/ 250 h 2994"/>
                  <a:gd name="T114" fmla="*/ 265 w 2688"/>
                  <a:gd name="T115" fmla="*/ 282 h 2994"/>
                  <a:gd name="T116" fmla="*/ 262 w 2688"/>
                  <a:gd name="T117" fmla="*/ 307 h 2994"/>
                  <a:gd name="T118" fmla="*/ 263 w 2688"/>
                  <a:gd name="T119" fmla="*/ 323 h 2994"/>
                  <a:gd name="T120" fmla="*/ 262 w 2688"/>
                  <a:gd name="T121" fmla="*/ 343 h 2994"/>
                  <a:gd name="T122" fmla="*/ 246 w 2688"/>
                  <a:gd name="T123" fmla="*/ 342 h 2994"/>
                  <a:gd name="T124" fmla="*/ 227 w 2688"/>
                  <a:gd name="T125" fmla="*/ 348 h 2994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2688"/>
                  <a:gd name="T190" fmla="*/ 0 h 2994"/>
                  <a:gd name="T191" fmla="*/ 2688 w 2688"/>
                  <a:gd name="T192" fmla="*/ 2994 h 2994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2688" h="2994">
                    <a:moveTo>
                      <a:pt x="1524" y="2790"/>
                    </a:moveTo>
                    <a:lnTo>
                      <a:pt x="1530" y="2790"/>
                    </a:lnTo>
                    <a:lnTo>
                      <a:pt x="1524" y="2790"/>
                    </a:lnTo>
                    <a:lnTo>
                      <a:pt x="1524" y="2796"/>
                    </a:lnTo>
                    <a:lnTo>
                      <a:pt x="1530" y="2796"/>
                    </a:lnTo>
                    <a:lnTo>
                      <a:pt x="1524" y="2796"/>
                    </a:lnTo>
                    <a:lnTo>
                      <a:pt x="1518" y="2796"/>
                    </a:lnTo>
                    <a:lnTo>
                      <a:pt x="1512" y="2796"/>
                    </a:lnTo>
                    <a:lnTo>
                      <a:pt x="1518" y="2796"/>
                    </a:lnTo>
                    <a:lnTo>
                      <a:pt x="1518" y="2790"/>
                    </a:lnTo>
                    <a:lnTo>
                      <a:pt x="1512" y="2790"/>
                    </a:lnTo>
                    <a:lnTo>
                      <a:pt x="1518" y="2790"/>
                    </a:lnTo>
                    <a:lnTo>
                      <a:pt x="1524" y="2790"/>
                    </a:lnTo>
                    <a:close/>
                    <a:moveTo>
                      <a:pt x="1080" y="2778"/>
                    </a:moveTo>
                    <a:lnTo>
                      <a:pt x="1080" y="2784"/>
                    </a:lnTo>
                    <a:lnTo>
                      <a:pt x="1080" y="2790"/>
                    </a:lnTo>
                    <a:lnTo>
                      <a:pt x="1086" y="2790"/>
                    </a:lnTo>
                    <a:lnTo>
                      <a:pt x="1086" y="2796"/>
                    </a:lnTo>
                    <a:lnTo>
                      <a:pt x="1092" y="2802"/>
                    </a:lnTo>
                    <a:lnTo>
                      <a:pt x="1092" y="2808"/>
                    </a:lnTo>
                    <a:lnTo>
                      <a:pt x="1086" y="2808"/>
                    </a:lnTo>
                    <a:lnTo>
                      <a:pt x="1080" y="2808"/>
                    </a:lnTo>
                    <a:lnTo>
                      <a:pt x="1074" y="2802"/>
                    </a:lnTo>
                    <a:lnTo>
                      <a:pt x="1068" y="2802"/>
                    </a:lnTo>
                    <a:lnTo>
                      <a:pt x="1068" y="2796"/>
                    </a:lnTo>
                    <a:lnTo>
                      <a:pt x="1062" y="2802"/>
                    </a:lnTo>
                    <a:lnTo>
                      <a:pt x="1056" y="2808"/>
                    </a:lnTo>
                    <a:lnTo>
                      <a:pt x="1044" y="2814"/>
                    </a:lnTo>
                    <a:lnTo>
                      <a:pt x="1044" y="2808"/>
                    </a:lnTo>
                    <a:lnTo>
                      <a:pt x="1038" y="2808"/>
                    </a:lnTo>
                    <a:lnTo>
                      <a:pt x="1038" y="2802"/>
                    </a:lnTo>
                    <a:lnTo>
                      <a:pt x="1044" y="2802"/>
                    </a:lnTo>
                    <a:lnTo>
                      <a:pt x="1050" y="2802"/>
                    </a:lnTo>
                    <a:lnTo>
                      <a:pt x="1050" y="2796"/>
                    </a:lnTo>
                    <a:lnTo>
                      <a:pt x="1050" y="2784"/>
                    </a:lnTo>
                    <a:lnTo>
                      <a:pt x="1044" y="2784"/>
                    </a:lnTo>
                    <a:lnTo>
                      <a:pt x="1044" y="2772"/>
                    </a:lnTo>
                    <a:lnTo>
                      <a:pt x="1044" y="2778"/>
                    </a:lnTo>
                    <a:lnTo>
                      <a:pt x="1050" y="2778"/>
                    </a:lnTo>
                    <a:lnTo>
                      <a:pt x="1056" y="2778"/>
                    </a:lnTo>
                    <a:lnTo>
                      <a:pt x="1062" y="2784"/>
                    </a:lnTo>
                    <a:lnTo>
                      <a:pt x="1062" y="2778"/>
                    </a:lnTo>
                    <a:lnTo>
                      <a:pt x="1068" y="2778"/>
                    </a:lnTo>
                    <a:lnTo>
                      <a:pt x="1062" y="2778"/>
                    </a:lnTo>
                    <a:lnTo>
                      <a:pt x="1074" y="2772"/>
                    </a:lnTo>
                    <a:lnTo>
                      <a:pt x="1080" y="2778"/>
                    </a:lnTo>
                    <a:close/>
                    <a:moveTo>
                      <a:pt x="1890" y="2958"/>
                    </a:moveTo>
                    <a:lnTo>
                      <a:pt x="1884" y="2952"/>
                    </a:lnTo>
                    <a:lnTo>
                      <a:pt x="1878" y="2952"/>
                    </a:lnTo>
                    <a:lnTo>
                      <a:pt x="1872" y="2958"/>
                    </a:lnTo>
                    <a:lnTo>
                      <a:pt x="1866" y="2958"/>
                    </a:lnTo>
                    <a:lnTo>
                      <a:pt x="1860" y="2958"/>
                    </a:lnTo>
                    <a:lnTo>
                      <a:pt x="1854" y="2958"/>
                    </a:lnTo>
                    <a:lnTo>
                      <a:pt x="1848" y="2958"/>
                    </a:lnTo>
                    <a:lnTo>
                      <a:pt x="1854" y="2958"/>
                    </a:lnTo>
                    <a:lnTo>
                      <a:pt x="1854" y="2952"/>
                    </a:lnTo>
                    <a:lnTo>
                      <a:pt x="1848" y="2952"/>
                    </a:lnTo>
                    <a:lnTo>
                      <a:pt x="1848" y="2958"/>
                    </a:lnTo>
                    <a:lnTo>
                      <a:pt x="1848" y="2952"/>
                    </a:lnTo>
                    <a:lnTo>
                      <a:pt x="1842" y="2952"/>
                    </a:lnTo>
                    <a:lnTo>
                      <a:pt x="1836" y="2946"/>
                    </a:lnTo>
                    <a:lnTo>
                      <a:pt x="1830" y="2946"/>
                    </a:lnTo>
                    <a:lnTo>
                      <a:pt x="1830" y="2940"/>
                    </a:lnTo>
                    <a:lnTo>
                      <a:pt x="1824" y="2934"/>
                    </a:lnTo>
                    <a:lnTo>
                      <a:pt x="1824" y="2928"/>
                    </a:lnTo>
                    <a:lnTo>
                      <a:pt x="1824" y="2922"/>
                    </a:lnTo>
                    <a:lnTo>
                      <a:pt x="1818" y="2922"/>
                    </a:lnTo>
                    <a:lnTo>
                      <a:pt x="1818" y="2916"/>
                    </a:lnTo>
                    <a:lnTo>
                      <a:pt x="1824" y="2916"/>
                    </a:lnTo>
                    <a:lnTo>
                      <a:pt x="1818" y="2916"/>
                    </a:lnTo>
                    <a:lnTo>
                      <a:pt x="1818" y="2910"/>
                    </a:lnTo>
                    <a:lnTo>
                      <a:pt x="1812" y="2910"/>
                    </a:lnTo>
                    <a:lnTo>
                      <a:pt x="1812" y="2904"/>
                    </a:lnTo>
                    <a:lnTo>
                      <a:pt x="1812" y="2898"/>
                    </a:lnTo>
                    <a:lnTo>
                      <a:pt x="1812" y="2892"/>
                    </a:lnTo>
                    <a:lnTo>
                      <a:pt x="1806" y="2886"/>
                    </a:lnTo>
                    <a:lnTo>
                      <a:pt x="1806" y="2892"/>
                    </a:lnTo>
                    <a:lnTo>
                      <a:pt x="1806" y="2886"/>
                    </a:lnTo>
                    <a:lnTo>
                      <a:pt x="1800" y="2880"/>
                    </a:lnTo>
                    <a:lnTo>
                      <a:pt x="1800" y="2874"/>
                    </a:lnTo>
                    <a:lnTo>
                      <a:pt x="1794" y="2874"/>
                    </a:lnTo>
                    <a:lnTo>
                      <a:pt x="1794" y="2868"/>
                    </a:lnTo>
                    <a:lnTo>
                      <a:pt x="1788" y="2868"/>
                    </a:lnTo>
                    <a:lnTo>
                      <a:pt x="1782" y="2868"/>
                    </a:lnTo>
                    <a:lnTo>
                      <a:pt x="1776" y="2868"/>
                    </a:lnTo>
                    <a:lnTo>
                      <a:pt x="1770" y="2868"/>
                    </a:lnTo>
                    <a:lnTo>
                      <a:pt x="1764" y="2868"/>
                    </a:lnTo>
                    <a:lnTo>
                      <a:pt x="1764" y="2874"/>
                    </a:lnTo>
                    <a:lnTo>
                      <a:pt x="1764" y="2868"/>
                    </a:lnTo>
                    <a:lnTo>
                      <a:pt x="1758" y="2868"/>
                    </a:lnTo>
                    <a:lnTo>
                      <a:pt x="1758" y="2862"/>
                    </a:lnTo>
                    <a:lnTo>
                      <a:pt x="1752" y="2862"/>
                    </a:lnTo>
                    <a:lnTo>
                      <a:pt x="1746" y="2862"/>
                    </a:lnTo>
                    <a:lnTo>
                      <a:pt x="1740" y="2862"/>
                    </a:lnTo>
                    <a:lnTo>
                      <a:pt x="1734" y="2856"/>
                    </a:lnTo>
                    <a:lnTo>
                      <a:pt x="1728" y="2856"/>
                    </a:lnTo>
                    <a:lnTo>
                      <a:pt x="1728" y="2850"/>
                    </a:lnTo>
                    <a:lnTo>
                      <a:pt x="1722" y="2850"/>
                    </a:lnTo>
                    <a:lnTo>
                      <a:pt x="1722" y="2844"/>
                    </a:lnTo>
                    <a:lnTo>
                      <a:pt x="1716" y="2844"/>
                    </a:lnTo>
                    <a:lnTo>
                      <a:pt x="1710" y="2844"/>
                    </a:lnTo>
                    <a:lnTo>
                      <a:pt x="1704" y="2844"/>
                    </a:lnTo>
                    <a:lnTo>
                      <a:pt x="1698" y="2844"/>
                    </a:lnTo>
                    <a:lnTo>
                      <a:pt x="1698" y="2850"/>
                    </a:lnTo>
                    <a:lnTo>
                      <a:pt x="1692" y="2850"/>
                    </a:lnTo>
                    <a:lnTo>
                      <a:pt x="1686" y="2850"/>
                    </a:lnTo>
                    <a:lnTo>
                      <a:pt x="1680" y="2850"/>
                    </a:lnTo>
                    <a:lnTo>
                      <a:pt x="1674" y="2850"/>
                    </a:lnTo>
                    <a:lnTo>
                      <a:pt x="1680" y="2850"/>
                    </a:lnTo>
                    <a:lnTo>
                      <a:pt x="1674" y="2850"/>
                    </a:lnTo>
                    <a:lnTo>
                      <a:pt x="1668" y="2850"/>
                    </a:lnTo>
                    <a:lnTo>
                      <a:pt x="1668" y="2856"/>
                    </a:lnTo>
                    <a:lnTo>
                      <a:pt x="1662" y="2856"/>
                    </a:lnTo>
                    <a:lnTo>
                      <a:pt x="1662" y="2850"/>
                    </a:lnTo>
                    <a:lnTo>
                      <a:pt x="1656" y="2850"/>
                    </a:lnTo>
                    <a:lnTo>
                      <a:pt x="1650" y="2850"/>
                    </a:lnTo>
                    <a:lnTo>
                      <a:pt x="1650" y="2844"/>
                    </a:lnTo>
                    <a:lnTo>
                      <a:pt x="1644" y="2844"/>
                    </a:lnTo>
                    <a:lnTo>
                      <a:pt x="1644" y="2838"/>
                    </a:lnTo>
                    <a:lnTo>
                      <a:pt x="1638" y="2838"/>
                    </a:lnTo>
                    <a:lnTo>
                      <a:pt x="1632" y="2838"/>
                    </a:lnTo>
                    <a:lnTo>
                      <a:pt x="1626" y="2838"/>
                    </a:lnTo>
                    <a:lnTo>
                      <a:pt x="1626" y="2832"/>
                    </a:lnTo>
                    <a:lnTo>
                      <a:pt x="1620" y="2832"/>
                    </a:lnTo>
                    <a:lnTo>
                      <a:pt x="1614" y="2826"/>
                    </a:lnTo>
                    <a:lnTo>
                      <a:pt x="1608" y="2826"/>
                    </a:lnTo>
                    <a:lnTo>
                      <a:pt x="1602" y="2820"/>
                    </a:lnTo>
                    <a:lnTo>
                      <a:pt x="1596" y="2814"/>
                    </a:lnTo>
                    <a:lnTo>
                      <a:pt x="1590" y="2808"/>
                    </a:lnTo>
                    <a:lnTo>
                      <a:pt x="1590" y="2814"/>
                    </a:lnTo>
                    <a:lnTo>
                      <a:pt x="1590" y="2808"/>
                    </a:lnTo>
                    <a:lnTo>
                      <a:pt x="1584" y="2808"/>
                    </a:lnTo>
                    <a:lnTo>
                      <a:pt x="1578" y="2802"/>
                    </a:lnTo>
                    <a:lnTo>
                      <a:pt x="1572" y="2796"/>
                    </a:lnTo>
                    <a:lnTo>
                      <a:pt x="1566" y="2790"/>
                    </a:lnTo>
                    <a:lnTo>
                      <a:pt x="1560" y="2784"/>
                    </a:lnTo>
                    <a:lnTo>
                      <a:pt x="1560" y="2778"/>
                    </a:lnTo>
                    <a:lnTo>
                      <a:pt x="1554" y="2778"/>
                    </a:lnTo>
                    <a:lnTo>
                      <a:pt x="1554" y="2772"/>
                    </a:lnTo>
                    <a:lnTo>
                      <a:pt x="1554" y="2766"/>
                    </a:lnTo>
                    <a:lnTo>
                      <a:pt x="1548" y="2766"/>
                    </a:lnTo>
                    <a:lnTo>
                      <a:pt x="1548" y="2760"/>
                    </a:lnTo>
                    <a:lnTo>
                      <a:pt x="1548" y="2754"/>
                    </a:lnTo>
                    <a:lnTo>
                      <a:pt x="1548" y="2748"/>
                    </a:lnTo>
                    <a:lnTo>
                      <a:pt x="1548" y="2742"/>
                    </a:lnTo>
                    <a:lnTo>
                      <a:pt x="1542" y="2742"/>
                    </a:lnTo>
                    <a:lnTo>
                      <a:pt x="1542" y="2736"/>
                    </a:lnTo>
                    <a:lnTo>
                      <a:pt x="1536" y="2736"/>
                    </a:lnTo>
                    <a:lnTo>
                      <a:pt x="1530" y="2736"/>
                    </a:lnTo>
                    <a:lnTo>
                      <a:pt x="1524" y="2736"/>
                    </a:lnTo>
                    <a:lnTo>
                      <a:pt x="1524" y="2730"/>
                    </a:lnTo>
                    <a:lnTo>
                      <a:pt x="1518" y="2730"/>
                    </a:lnTo>
                    <a:lnTo>
                      <a:pt x="1512" y="2724"/>
                    </a:lnTo>
                    <a:lnTo>
                      <a:pt x="1506" y="2724"/>
                    </a:lnTo>
                    <a:lnTo>
                      <a:pt x="1506" y="2718"/>
                    </a:lnTo>
                    <a:lnTo>
                      <a:pt x="1500" y="2718"/>
                    </a:lnTo>
                    <a:lnTo>
                      <a:pt x="1494" y="2718"/>
                    </a:lnTo>
                    <a:lnTo>
                      <a:pt x="1494" y="2712"/>
                    </a:lnTo>
                    <a:lnTo>
                      <a:pt x="1488" y="2706"/>
                    </a:lnTo>
                    <a:lnTo>
                      <a:pt x="1482" y="2706"/>
                    </a:lnTo>
                    <a:lnTo>
                      <a:pt x="1476" y="2706"/>
                    </a:lnTo>
                    <a:lnTo>
                      <a:pt x="1470" y="2706"/>
                    </a:lnTo>
                    <a:lnTo>
                      <a:pt x="1470" y="2700"/>
                    </a:lnTo>
                    <a:lnTo>
                      <a:pt x="1464" y="2700"/>
                    </a:lnTo>
                    <a:lnTo>
                      <a:pt x="1464" y="2694"/>
                    </a:lnTo>
                    <a:lnTo>
                      <a:pt x="1464" y="2688"/>
                    </a:lnTo>
                    <a:lnTo>
                      <a:pt x="1458" y="2688"/>
                    </a:lnTo>
                    <a:lnTo>
                      <a:pt x="1452" y="2682"/>
                    </a:lnTo>
                    <a:lnTo>
                      <a:pt x="1446" y="2682"/>
                    </a:lnTo>
                    <a:lnTo>
                      <a:pt x="1446" y="2676"/>
                    </a:lnTo>
                    <a:lnTo>
                      <a:pt x="1440" y="2676"/>
                    </a:lnTo>
                    <a:lnTo>
                      <a:pt x="1434" y="2670"/>
                    </a:lnTo>
                    <a:lnTo>
                      <a:pt x="1428" y="2670"/>
                    </a:lnTo>
                    <a:lnTo>
                      <a:pt x="1428" y="2664"/>
                    </a:lnTo>
                    <a:lnTo>
                      <a:pt x="1422" y="2664"/>
                    </a:lnTo>
                    <a:lnTo>
                      <a:pt x="1422" y="2658"/>
                    </a:lnTo>
                    <a:lnTo>
                      <a:pt x="1416" y="2658"/>
                    </a:lnTo>
                    <a:lnTo>
                      <a:pt x="1410" y="2658"/>
                    </a:lnTo>
                    <a:lnTo>
                      <a:pt x="1410" y="2652"/>
                    </a:lnTo>
                    <a:lnTo>
                      <a:pt x="1410" y="2646"/>
                    </a:lnTo>
                    <a:lnTo>
                      <a:pt x="1404" y="2646"/>
                    </a:lnTo>
                    <a:lnTo>
                      <a:pt x="1398" y="2646"/>
                    </a:lnTo>
                    <a:lnTo>
                      <a:pt x="1392" y="2640"/>
                    </a:lnTo>
                    <a:lnTo>
                      <a:pt x="1386" y="2640"/>
                    </a:lnTo>
                    <a:lnTo>
                      <a:pt x="1380" y="2640"/>
                    </a:lnTo>
                    <a:lnTo>
                      <a:pt x="1386" y="2646"/>
                    </a:lnTo>
                    <a:lnTo>
                      <a:pt x="1380" y="2646"/>
                    </a:lnTo>
                    <a:lnTo>
                      <a:pt x="1380" y="2652"/>
                    </a:lnTo>
                    <a:lnTo>
                      <a:pt x="1374" y="2652"/>
                    </a:lnTo>
                    <a:lnTo>
                      <a:pt x="1374" y="2658"/>
                    </a:lnTo>
                    <a:lnTo>
                      <a:pt x="1380" y="2658"/>
                    </a:lnTo>
                    <a:lnTo>
                      <a:pt x="1380" y="2664"/>
                    </a:lnTo>
                    <a:lnTo>
                      <a:pt x="1386" y="2664"/>
                    </a:lnTo>
                    <a:lnTo>
                      <a:pt x="1386" y="2670"/>
                    </a:lnTo>
                    <a:lnTo>
                      <a:pt x="1392" y="2670"/>
                    </a:lnTo>
                    <a:lnTo>
                      <a:pt x="1392" y="2676"/>
                    </a:lnTo>
                    <a:lnTo>
                      <a:pt x="1398" y="2676"/>
                    </a:lnTo>
                    <a:lnTo>
                      <a:pt x="1398" y="2682"/>
                    </a:lnTo>
                    <a:lnTo>
                      <a:pt x="1404" y="2688"/>
                    </a:lnTo>
                    <a:lnTo>
                      <a:pt x="1410" y="2694"/>
                    </a:lnTo>
                    <a:lnTo>
                      <a:pt x="1416" y="2700"/>
                    </a:lnTo>
                    <a:lnTo>
                      <a:pt x="1422" y="2700"/>
                    </a:lnTo>
                    <a:lnTo>
                      <a:pt x="1422" y="2706"/>
                    </a:lnTo>
                    <a:lnTo>
                      <a:pt x="1428" y="2706"/>
                    </a:lnTo>
                    <a:lnTo>
                      <a:pt x="1428" y="2712"/>
                    </a:lnTo>
                    <a:lnTo>
                      <a:pt x="1434" y="2712"/>
                    </a:lnTo>
                    <a:lnTo>
                      <a:pt x="1440" y="2712"/>
                    </a:lnTo>
                    <a:lnTo>
                      <a:pt x="1446" y="2712"/>
                    </a:lnTo>
                    <a:lnTo>
                      <a:pt x="1446" y="2718"/>
                    </a:lnTo>
                    <a:lnTo>
                      <a:pt x="1452" y="2718"/>
                    </a:lnTo>
                    <a:lnTo>
                      <a:pt x="1452" y="2724"/>
                    </a:lnTo>
                    <a:lnTo>
                      <a:pt x="1458" y="2724"/>
                    </a:lnTo>
                    <a:lnTo>
                      <a:pt x="1458" y="2730"/>
                    </a:lnTo>
                    <a:lnTo>
                      <a:pt x="1464" y="2730"/>
                    </a:lnTo>
                    <a:lnTo>
                      <a:pt x="1464" y="2736"/>
                    </a:lnTo>
                    <a:lnTo>
                      <a:pt x="1470" y="2736"/>
                    </a:lnTo>
                    <a:lnTo>
                      <a:pt x="1476" y="2736"/>
                    </a:lnTo>
                    <a:lnTo>
                      <a:pt x="1482" y="2736"/>
                    </a:lnTo>
                    <a:lnTo>
                      <a:pt x="1482" y="2742"/>
                    </a:lnTo>
                    <a:lnTo>
                      <a:pt x="1488" y="2742"/>
                    </a:lnTo>
                    <a:lnTo>
                      <a:pt x="1488" y="2748"/>
                    </a:lnTo>
                    <a:lnTo>
                      <a:pt x="1494" y="2748"/>
                    </a:lnTo>
                    <a:lnTo>
                      <a:pt x="1500" y="2748"/>
                    </a:lnTo>
                    <a:lnTo>
                      <a:pt x="1500" y="2754"/>
                    </a:lnTo>
                    <a:lnTo>
                      <a:pt x="1506" y="2754"/>
                    </a:lnTo>
                    <a:lnTo>
                      <a:pt x="1506" y="2760"/>
                    </a:lnTo>
                    <a:lnTo>
                      <a:pt x="1506" y="2766"/>
                    </a:lnTo>
                    <a:lnTo>
                      <a:pt x="1506" y="2772"/>
                    </a:lnTo>
                    <a:lnTo>
                      <a:pt x="1506" y="2778"/>
                    </a:lnTo>
                    <a:lnTo>
                      <a:pt x="1506" y="2784"/>
                    </a:lnTo>
                    <a:lnTo>
                      <a:pt x="1512" y="2784"/>
                    </a:lnTo>
                    <a:lnTo>
                      <a:pt x="1506" y="2784"/>
                    </a:lnTo>
                    <a:lnTo>
                      <a:pt x="1506" y="2790"/>
                    </a:lnTo>
                    <a:lnTo>
                      <a:pt x="1506" y="2796"/>
                    </a:lnTo>
                    <a:lnTo>
                      <a:pt x="1512" y="2796"/>
                    </a:lnTo>
                    <a:lnTo>
                      <a:pt x="1512" y="2802"/>
                    </a:lnTo>
                    <a:lnTo>
                      <a:pt x="1518" y="2802"/>
                    </a:lnTo>
                    <a:lnTo>
                      <a:pt x="1518" y="2808"/>
                    </a:lnTo>
                    <a:lnTo>
                      <a:pt x="1524" y="2808"/>
                    </a:lnTo>
                    <a:lnTo>
                      <a:pt x="1530" y="2808"/>
                    </a:lnTo>
                    <a:lnTo>
                      <a:pt x="1530" y="2814"/>
                    </a:lnTo>
                    <a:lnTo>
                      <a:pt x="1530" y="2820"/>
                    </a:lnTo>
                    <a:lnTo>
                      <a:pt x="1536" y="2820"/>
                    </a:lnTo>
                    <a:lnTo>
                      <a:pt x="1536" y="2826"/>
                    </a:lnTo>
                    <a:lnTo>
                      <a:pt x="1536" y="2832"/>
                    </a:lnTo>
                    <a:lnTo>
                      <a:pt x="1536" y="2838"/>
                    </a:lnTo>
                    <a:lnTo>
                      <a:pt x="1542" y="2838"/>
                    </a:lnTo>
                    <a:lnTo>
                      <a:pt x="1542" y="2844"/>
                    </a:lnTo>
                    <a:lnTo>
                      <a:pt x="1536" y="2844"/>
                    </a:lnTo>
                    <a:lnTo>
                      <a:pt x="1536" y="2850"/>
                    </a:lnTo>
                    <a:lnTo>
                      <a:pt x="1530" y="2850"/>
                    </a:lnTo>
                    <a:lnTo>
                      <a:pt x="1524" y="2844"/>
                    </a:lnTo>
                    <a:lnTo>
                      <a:pt x="1524" y="2850"/>
                    </a:lnTo>
                    <a:lnTo>
                      <a:pt x="1524" y="2844"/>
                    </a:lnTo>
                    <a:lnTo>
                      <a:pt x="1518" y="2844"/>
                    </a:lnTo>
                    <a:lnTo>
                      <a:pt x="1512" y="2844"/>
                    </a:lnTo>
                    <a:lnTo>
                      <a:pt x="1506" y="2844"/>
                    </a:lnTo>
                    <a:lnTo>
                      <a:pt x="1506" y="2850"/>
                    </a:lnTo>
                    <a:lnTo>
                      <a:pt x="1506" y="2856"/>
                    </a:lnTo>
                    <a:lnTo>
                      <a:pt x="1506" y="2862"/>
                    </a:lnTo>
                    <a:lnTo>
                      <a:pt x="1506" y="2856"/>
                    </a:lnTo>
                    <a:lnTo>
                      <a:pt x="1500" y="2862"/>
                    </a:lnTo>
                    <a:lnTo>
                      <a:pt x="1500" y="2856"/>
                    </a:lnTo>
                    <a:lnTo>
                      <a:pt x="1494" y="2856"/>
                    </a:lnTo>
                    <a:lnTo>
                      <a:pt x="1494" y="2850"/>
                    </a:lnTo>
                    <a:lnTo>
                      <a:pt x="1488" y="2850"/>
                    </a:lnTo>
                    <a:lnTo>
                      <a:pt x="1488" y="2844"/>
                    </a:lnTo>
                    <a:lnTo>
                      <a:pt x="1494" y="2838"/>
                    </a:lnTo>
                    <a:lnTo>
                      <a:pt x="1488" y="2838"/>
                    </a:lnTo>
                    <a:lnTo>
                      <a:pt x="1482" y="2838"/>
                    </a:lnTo>
                    <a:lnTo>
                      <a:pt x="1482" y="2844"/>
                    </a:lnTo>
                    <a:lnTo>
                      <a:pt x="1476" y="2844"/>
                    </a:lnTo>
                    <a:lnTo>
                      <a:pt x="1470" y="2844"/>
                    </a:lnTo>
                    <a:lnTo>
                      <a:pt x="1464" y="2844"/>
                    </a:lnTo>
                    <a:lnTo>
                      <a:pt x="1458" y="2844"/>
                    </a:lnTo>
                    <a:lnTo>
                      <a:pt x="1458" y="2838"/>
                    </a:lnTo>
                    <a:lnTo>
                      <a:pt x="1458" y="2844"/>
                    </a:lnTo>
                    <a:lnTo>
                      <a:pt x="1458" y="2838"/>
                    </a:lnTo>
                    <a:lnTo>
                      <a:pt x="1452" y="2838"/>
                    </a:lnTo>
                    <a:lnTo>
                      <a:pt x="1452" y="2832"/>
                    </a:lnTo>
                    <a:lnTo>
                      <a:pt x="1458" y="2832"/>
                    </a:lnTo>
                    <a:lnTo>
                      <a:pt x="1452" y="2832"/>
                    </a:lnTo>
                    <a:lnTo>
                      <a:pt x="1452" y="2826"/>
                    </a:lnTo>
                    <a:lnTo>
                      <a:pt x="1446" y="2820"/>
                    </a:lnTo>
                    <a:lnTo>
                      <a:pt x="1440" y="2820"/>
                    </a:lnTo>
                    <a:lnTo>
                      <a:pt x="1446" y="2820"/>
                    </a:lnTo>
                    <a:lnTo>
                      <a:pt x="1446" y="2814"/>
                    </a:lnTo>
                    <a:lnTo>
                      <a:pt x="1440" y="2814"/>
                    </a:lnTo>
                    <a:lnTo>
                      <a:pt x="1440" y="2820"/>
                    </a:lnTo>
                    <a:lnTo>
                      <a:pt x="1434" y="2820"/>
                    </a:lnTo>
                    <a:lnTo>
                      <a:pt x="1434" y="2814"/>
                    </a:lnTo>
                    <a:lnTo>
                      <a:pt x="1434" y="2820"/>
                    </a:lnTo>
                    <a:lnTo>
                      <a:pt x="1434" y="2814"/>
                    </a:lnTo>
                    <a:lnTo>
                      <a:pt x="1428" y="2814"/>
                    </a:lnTo>
                    <a:lnTo>
                      <a:pt x="1428" y="2820"/>
                    </a:lnTo>
                    <a:lnTo>
                      <a:pt x="1422" y="2820"/>
                    </a:lnTo>
                    <a:lnTo>
                      <a:pt x="1416" y="2820"/>
                    </a:lnTo>
                    <a:lnTo>
                      <a:pt x="1410" y="2820"/>
                    </a:lnTo>
                    <a:lnTo>
                      <a:pt x="1410" y="2814"/>
                    </a:lnTo>
                    <a:lnTo>
                      <a:pt x="1404" y="2814"/>
                    </a:lnTo>
                    <a:lnTo>
                      <a:pt x="1398" y="2814"/>
                    </a:lnTo>
                    <a:lnTo>
                      <a:pt x="1392" y="2814"/>
                    </a:lnTo>
                    <a:lnTo>
                      <a:pt x="1392" y="2808"/>
                    </a:lnTo>
                    <a:lnTo>
                      <a:pt x="1386" y="2808"/>
                    </a:lnTo>
                    <a:lnTo>
                      <a:pt x="1386" y="2802"/>
                    </a:lnTo>
                    <a:lnTo>
                      <a:pt x="1386" y="2796"/>
                    </a:lnTo>
                    <a:lnTo>
                      <a:pt x="1380" y="2796"/>
                    </a:lnTo>
                    <a:lnTo>
                      <a:pt x="1386" y="2796"/>
                    </a:lnTo>
                    <a:lnTo>
                      <a:pt x="1386" y="2790"/>
                    </a:lnTo>
                    <a:lnTo>
                      <a:pt x="1380" y="2784"/>
                    </a:lnTo>
                    <a:lnTo>
                      <a:pt x="1386" y="2790"/>
                    </a:lnTo>
                    <a:lnTo>
                      <a:pt x="1392" y="2790"/>
                    </a:lnTo>
                    <a:lnTo>
                      <a:pt x="1392" y="2796"/>
                    </a:lnTo>
                    <a:lnTo>
                      <a:pt x="1398" y="2796"/>
                    </a:lnTo>
                    <a:lnTo>
                      <a:pt x="1398" y="2790"/>
                    </a:lnTo>
                    <a:lnTo>
                      <a:pt x="1398" y="2796"/>
                    </a:lnTo>
                    <a:lnTo>
                      <a:pt x="1404" y="2796"/>
                    </a:lnTo>
                    <a:lnTo>
                      <a:pt x="1404" y="2802"/>
                    </a:lnTo>
                    <a:lnTo>
                      <a:pt x="1410" y="2802"/>
                    </a:lnTo>
                    <a:lnTo>
                      <a:pt x="1416" y="2802"/>
                    </a:lnTo>
                    <a:lnTo>
                      <a:pt x="1416" y="2808"/>
                    </a:lnTo>
                    <a:lnTo>
                      <a:pt x="1422" y="2814"/>
                    </a:lnTo>
                    <a:lnTo>
                      <a:pt x="1428" y="2814"/>
                    </a:lnTo>
                    <a:lnTo>
                      <a:pt x="1434" y="2814"/>
                    </a:lnTo>
                    <a:lnTo>
                      <a:pt x="1440" y="2814"/>
                    </a:lnTo>
                    <a:lnTo>
                      <a:pt x="1446" y="2814"/>
                    </a:lnTo>
                    <a:lnTo>
                      <a:pt x="1440" y="2814"/>
                    </a:lnTo>
                    <a:lnTo>
                      <a:pt x="1440" y="2808"/>
                    </a:lnTo>
                    <a:lnTo>
                      <a:pt x="1446" y="2814"/>
                    </a:lnTo>
                    <a:lnTo>
                      <a:pt x="1446" y="2808"/>
                    </a:lnTo>
                    <a:lnTo>
                      <a:pt x="1440" y="2808"/>
                    </a:lnTo>
                    <a:lnTo>
                      <a:pt x="1440" y="2802"/>
                    </a:lnTo>
                    <a:lnTo>
                      <a:pt x="1440" y="2796"/>
                    </a:lnTo>
                    <a:lnTo>
                      <a:pt x="1434" y="2796"/>
                    </a:lnTo>
                    <a:lnTo>
                      <a:pt x="1428" y="2790"/>
                    </a:lnTo>
                    <a:lnTo>
                      <a:pt x="1422" y="2790"/>
                    </a:lnTo>
                    <a:lnTo>
                      <a:pt x="1422" y="2784"/>
                    </a:lnTo>
                    <a:lnTo>
                      <a:pt x="1416" y="2784"/>
                    </a:lnTo>
                    <a:lnTo>
                      <a:pt x="1410" y="2784"/>
                    </a:lnTo>
                    <a:lnTo>
                      <a:pt x="1404" y="2778"/>
                    </a:lnTo>
                    <a:lnTo>
                      <a:pt x="1398" y="2772"/>
                    </a:lnTo>
                    <a:lnTo>
                      <a:pt x="1392" y="2772"/>
                    </a:lnTo>
                    <a:lnTo>
                      <a:pt x="1386" y="2766"/>
                    </a:lnTo>
                    <a:lnTo>
                      <a:pt x="1380" y="2766"/>
                    </a:lnTo>
                    <a:lnTo>
                      <a:pt x="1380" y="2760"/>
                    </a:lnTo>
                    <a:lnTo>
                      <a:pt x="1374" y="2760"/>
                    </a:lnTo>
                    <a:lnTo>
                      <a:pt x="1368" y="2760"/>
                    </a:lnTo>
                    <a:lnTo>
                      <a:pt x="1362" y="2760"/>
                    </a:lnTo>
                    <a:lnTo>
                      <a:pt x="1362" y="2754"/>
                    </a:lnTo>
                    <a:lnTo>
                      <a:pt x="1356" y="2754"/>
                    </a:lnTo>
                    <a:lnTo>
                      <a:pt x="1356" y="2748"/>
                    </a:lnTo>
                    <a:lnTo>
                      <a:pt x="1350" y="2748"/>
                    </a:lnTo>
                    <a:lnTo>
                      <a:pt x="1344" y="2748"/>
                    </a:lnTo>
                    <a:lnTo>
                      <a:pt x="1344" y="2742"/>
                    </a:lnTo>
                    <a:lnTo>
                      <a:pt x="1338" y="2742"/>
                    </a:lnTo>
                    <a:lnTo>
                      <a:pt x="1338" y="2736"/>
                    </a:lnTo>
                    <a:lnTo>
                      <a:pt x="1332" y="2742"/>
                    </a:lnTo>
                    <a:lnTo>
                      <a:pt x="1332" y="2748"/>
                    </a:lnTo>
                    <a:lnTo>
                      <a:pt x="1338" y="2748"/>
                    </a:lnTo>
                    <a:lnTo>
                      <a:pt x="1338" y="2754"/>
                    </a:lnTo>
                    <a:lnTo>
                      <a:pt x="1344" y="2754"/>
                    </a:lnTo>
                    <a:lnTo>
                      <a:pt x="1350" y="2760"/>
                    </a:lnTo>
                    <a:lnTo>
                      <a:pt x="1356" y="2760"/>
                    </a:lnTo>
                    <a:lnTo>
                      <a:pt x="1356" y="2766"/>
                    </a:lnTo>
                    <a:lnTo>
                      <a:pt x="1362" y="2766"/>
                    </a:lnTo>
                    <a:lnTo>
                      <a:pt x="1362" y="2772"/>
                    </a:lnTo>
                    <a:lnTo>
                      <a:pt x="1356" y="2772"/>
                    </a:lnTo>
                    <a:lnTo>
                      <a:pt x="1356" y="2766"/>
                    </a:lnTo>
                    <a:lnTo>
                      <a:pt x="1350" y="2766"/>
                    </a:lnTo>
                    <a:lnTo>
                      <a:pt x="1350" y="2760"/>
                    </a:lnTo>
                    <a:lnTo>
                      <a:pt x="1344" y="2760"/>
                    </a:lnTo>
                    <a:lnTo>
                      <a:pt x="1344" y="2766"/>
                    </a:lnTo>
                    <a:lnTo>
                      <a:pt x="1344" y="2760"/>
                    </a:lnTo>
                    <a:lnTo>
                      <a:pt x="1338" y="2760"/>
                    </a:lnTo>
                    <a:lnTo>
                      <a:pt x="1332" y="2754"/>
                    </a:lnTo>
                    <a:lnTo>
                      <a:pt x="1320" y="2748"/>
                    </a:lnTo>
                    <a:lnTo>
                      <a:pt x="1320" y="2754"/>
                    </a:lnTo>
                    <a:lnTo>
                      <a:pt x="1320" y="2748"/>
                    </a:lnTo>
                    <a:lnTo>
                      <a:pt x="1314" y="2748"/>
                    </a:lnTo>
                    <a:lnTo>
                      <a:pt x="1308" y="2748"/>
                    </a:lnTo>
                    <a:lnTo>
                      <a:pt x="1302" y="2748"/>
                    </a:lnTo>
                    <a:lnTo>
                      <a:pt x="1296" y="2748"/>
                    </a:lnTo>
                    <a:lnTo>
                      <a:pt x="1296" y="2754"/>
                    </a:lnTo>
                    <a:lnTo>
                      <a:pt x="1290" y="2754"/>
                    </a:lnTo>
                    <a:lnTo>
                      <a:pt x="1290" y="2760"/>
                    </a:lnTo>
                    <a:lnTo>
                      <a:pt x="1296" y="2766"/>
                    </a:lnTo>
                    <a:lnTo>
                      <a:pt x="1302" y="2766"/>
                    </a:lnTo>
                    <a:lnTo>
                      <a:pt x="1308" y="2772"/>
                    </a:lnTo>
                    <a:lnTo>
                      <a:pt x="1314" y="2772"/>
                    </a:lnTo>
                    <a:lnTo>
                      <a:pt x="1314" y="2778"/>
                    </a:lnTo>
                    <a:lnTo>
                      <a:pt x="1320" y="2784"/>
                    </a:lnTo>
                    <a:lnTo>
                      <a:pt x="1326" y="2784"/>
                    </a:lnTo>
                    <a:lnTo>
                      <a:pt x="1332" y="2784"/>
                    </a:lnTo>
                    <a:lnTo>
                      <a:pt x="1338" y="2790"/>
                    </a:lnTo>
                    <a:lnTo>
                      <a:pt x="1344" y="2790"/>
                    </a:lnTo>
                    <a:lnTo>
                      <a:pt x="1344" y="2796"/>
                    </a:lnTo>
                    <a:lnTo>
                      <a:pt x="1350" y="2802"/>
                    </a:lnTo>
                    <a:lnTo>
                      <a:pt x="1350" y="2808"/>
                    </a:lnTo>
                    <a:lnTo>
                      <a:pt x="1344" y="2808"/>
                    </a:lnTo>
                    <a:lnTo>
                      <a:pt x="1344" y="2814"/>
                    </a:lnTo>
                    <a:lnTo>
                      <a:pt x="1338" y="2820"/>
                    </a:lnTo>
                    <a:lnTo>
                      <a:pt x="1332" y="2820"/>
                    </a:lnTo>
                    <a:lnTo>
                      <a:pt x="1326" y="2826"/>
                    </a:lnTo>
                    <a:lnTo>
                      <a:pt x="1320" y="2826"/>
                    </a:lnTo>
                    <a:lnTo>
                      <a:pt x="1320" y="2832"/>
                    </a:lnTo>
                    <a:lnTo>
                      <a:pt x="1314" y="2832"/>
                    </a:lnTo>
                    <a:lnTo>
                      <a:pt x="1314" y="2838"/>
                    </a:lnTo>
                    <a:lnTo>
                      <a:pt x="1314" y="2832"/>
                    </a:lnTo>
                    <a:lnTo>
                      <a:pt x="1308" y="2838"/>
                    </a:lnTo>
                    <a:lnTo>
                      <a:pt x="1302" y="2838"/>
                    </a:lnTo>
                    <a:lnTo>
                      <a:pt x="1296" y="2844"/>
                    </a:lnTo>
                    <a:lnTo>
                      <a:pt x="1290" y="2844"/>
                    </a:lnTo>
                    <a:lnTo>
                      <a:pt x="1290" y="2850"/>
                    </a:lnTo>
                    <a:lnTo>
                      <a:pt x="1284" y="2850"/>
                    </a:lnTo>
                    <a:lnTo>
                      <a:pt x="1278" y="2850"/>
                    </a:lnTo>
                    <a:lnTo>
                      <a:pt x="1272" y="2850"/>
                    </a:lnTo>
                    <a:lnTo>
                      <a:pt x="1272" y="2856"/>
                    </a:lnTo>
                    <a:lnTo>
                      <a:pt x="1266" y="2856"/>
                    </a:lnTo>
                    <a:lnTo>
                      <a:pt x="1260" y="2856"/>
                    </a:lnTo>
                    <a:lnTo>
                      <a:pt x="1254" y="2856"/>
                    </a:lnTo>
                    <a:lnTo>
                      <a:pt x="1254" y="2862"/>
                    </a:lnTo>
                    <a:lnTo>
                      <a:pt x="1248" y="2862"/>
                    </a:lnTo>
                    <a:lnTo>
                      <a:pt x="1248" y="2856"/>
                    </a:lnTo>
                    <a:lnTo>
                      <a:pt x="1242" y="2856"/>
                    </a:lnTo>
                    <a:lnTo>
                      <a:pt x="1236" y="2856"/>
                    </a:lnTo>
                    <a:lnTo>
                      <a:pt x="1230" y="2856"/>
                    </a:lnTo>
                    <a:lnTo>
                      <a:pt x="1230" y="2850"/>
                    </a:lnTo>
                    <a:lnTo>
                      <a:pt x="1230" y="2844"/>
                    </a:lnTo>
                    <a:lnTo>
                      <a:pt x="1230" y="2838"/>
                    </a:lnTo>
                    <a:lnTo>
                      <a:pt x="1230" y="2832"/>
                    </a:lnTo>
                    <a:lnTo>
                      <a:pt x="1224" y="2832"/>
                    </a:lnTo>
                    <a:lnTo>
                      <a:pt x="1224" y="2826"/>
                    </a:lnTo>
                    <a:lnTo>
                      <a:pt x="1218" y="2820"/>
                    </a:lnTo>
                    <a:lnTo>
                      <a:pt x="1212" y="2820"/>
                    </a:lnTo>
                    <a:lnTo>
                      <a:pt x="1212" y="2814"/>
                    </a:lnTo>
                    <a:lnTo>
                      <a:pt x="1212" y="2808"/>
                    </a:lnTo>
                    <a:lnTo>
                      <a:pt x="1218" y="2808"/>
                    </a:lnTo>
                    <a:lnTo>
                      <a:pt x="1218" y="2802"/>
                    </a:lnTo>
                    <a:lnTo>
                      <a:pt x="1212" y="2802"/>
                    </a:lnTo>
                    <a:lnTo>
                      <a:pt x="1212" y="2796"/>
                    </a:lnTo>
                    <a:lnTo>
                      <a:pt x="1212" y="2802"/>
                    </a:lnTo>
                    <a:lnTo>
                      <a:pt x="1218" y="2796"/>
                    </a:lnTo>
                    <a:lnTo>
                      <a:pt x="1218" y="2802"/>
                    </a:lnTo>
                    <a:lnTo>
                      <a:pt x="1224" y="2796"/>
                    </a:lnTo>
                    <a:lnTo>
                      <a:pt x="1224" y="2802"/>
                    </a:lnTo>
                    <a:lnTo>
                      <a:pt x="1218" y="2808"/>
                    </a:lnTo>
                    <a:lnTo>
                      <a:pt x="1224" y="2808"/>
                    </a:lnTo>
                    <a:lnTo>
                      <a:pt x="1224" y="2802"/>
                    </a:lnTo>
                    <a:lnTo>
                      <a:pt x="1230" y="2802"/>
                    </a:lnTo>
                    <a:lnTo>
                      <a:pt x="1236" y="2802"/>
                    </a:lnTo>
                    <a:lnTo>
                      <a:pt x="1230" y="2796"/>
                    </a:lnTo>
                    <a:lnTo>
                      <a:pt x="1230" y="2790"/>
                    </a:lnTo>
                    <a:lnTo>
                      <a:pt x="1224" y="2790"/>
                    </a:lnTo>
                    <a:lnTo>
                      <a:pt x="1218" y="2790"/>
                    </a:lnTo>
                    <a:lnTo>
                      <a:pt x="1212" y="2790"/>
                    </a:lnTo>
                    <a:lnTo>
                      <a:pt x="1206" y="2790"/>
                    </a:lnTo>
                    <a:lnTo>
                      <a:pt x="1206" y="2784"/>
                    </a:lnTo>
                    <a:lnTo>
                      <a:pt x="1206" y="2778"/>
                    </a:lnTo>
                    <a:lnTo>
                      <a:pt x="1200" y="2778"/>
                    </a:lnTo>
                    <a:lnTo>
                      <a:pt x="1194" y="2778"/>
                    </a:lnTo>
                    <a:lnTo>
                      <a:pt x="1188" y="2778"/>
                    </a:lnTo>
                    <a:lnTo>
                      <a:pt x="1182" y="2778"/>
                    </a:lnTo>
                    <a:lnTo>
                      <a:pt x="1188" y="2772"/>
                    </a:lnTo>
                    <a:lnTo>
                      <a:pt x="1182" y="2772"/>
                    </a:lnTo>
                    <a:lnTo>
                      <a:pt x="1176" y="2760"/>
                    </a:lnTo>
                    <a:lnTo>
                      <a:pt x="1170" y="2760"/>
                    </a:lnTo>
                    <a:lnTo>
                      <a:pt x="1176" y="2760"/>
                    </a:lnTo>
                    <a:lnTo>
                      <a:pt x="1176" y="2754"/>
                    </a:lnTo>
                    <a:lnTo>
                      <a:pt x="1170" y="2754"/>
                    </a:lnTo>
                    <a:lnTo>
                      <a:pt x="1170" y="2748"/>
                    </a:lnTo>
                    <a:lnTo>
                      <a:pt x="1170" y="2742"/>
                    </a:lnTo>
                    <a:lnTo>
                      <a:pt x="1170" y="2748"/>
                    </a:lnTo>
                    <a:lnTo>
                      <a:pt x="1164" y="2748"/>
                    </a:lnTo>
                    <a:lnTo>
                      <a:pt x="1164" y="2754"/>
                    </a:lnTo>
                    <a:lnTo>
                      <a:pt x="1164" y="2760"/>
                    </a:lnTo>
                    <a:lnTo>
                      <a:pt x="1158" y="2754"/>
                    </a:lnTo>
                    <a:lnTo>
                      <a:pt x="1158" y="2760"/>
                    </a:lnTo>
                    <a:lnTo>
                      <a:pt x="1152" y="2760"/>
                    </a:lnTo>
                    <a:lnTo>
                      <a:pt x="1146" y="2766"/>
                    </a:lnTo>
                    <a:lnTo>
                      <a:pt x="1140" y="2766"/>
                    </a:lnTo>
                    <a:lnTo>
                      <a:pt x="1140" y="2772"/>
                    </a:lnTo>
                    <a:lnTo>
                      <a:pt x="1140" y="2766"/>
                    </a:lnTo>
                    <a:lnTo>
                      <a:pt x="1140" y="2772"/>
                    </a:lnTo>
                    <a:lnTo>
                      <a:pt x="1140" y="2778"/>
                    </a:lnTo>
                    <a:lnTo>
                      <a:pt x="1140" y="2784"/>
                    </a:lnTo>
                    <a:lnTo>
                      <a:pt x="1134" y="2784"/>
                    </a:lnTo>
                    <a:lnTo>
                      <a:pt x="1140" y="2784"/>
                    </a:lnTo>
                    <a:lnTo>
                      <a:pt x="1146" y="2784"/>
                    </a:lnTo>
                    <a:lnTo>
                      <a:pt x="1152" y="2790"/>
                    </a:lnTo>
                    <a:lnTo>
                      <a:pt x="1158" y="2790"/>
                    </a:lnTo>
                    <a:lnTo>
                      <a:pt x="1164" y="2790"/>
                    </a:lnTo>
                    <a:lnTo>
                      <a:pt x="1164" y="2796"/>
                    </a:lnTo>
                    <a:lnTo>
                      <a:pt x="1170" y="2802"/>
                    </a:lnTo>
                    <a:lnTo>
                      <a:pt x="1176" y="2802"/>
                    </a:lnTo>
                    <a:lnTo>
                      <a:pt x="1170" y="2808"/>
                    </a:lnTo>
                    <a:lnTo>
                      <a:pt x="1164" y="2802"/>
                    </a:lnTo>
                    <a:lnTo>
                      <a:pt x="1164" y="2808"/>
                    </a:lnTo>
                    <a:lnTo>
                      <a:pt x="1164" y="2814"/>
                    </a:lnTo>
                    <a:lnTo>
                      <a:pt x="1158" y="2814"/>
                    </a:lnTo>
                    <a:lnTo>
                      <a:pt x="1158" y="2820"/>
                    </a:lnTo>
                    <a:lnTo>
                      <a:pt x="1158" y="2826"/>
                    </a:lnTo>
                    <a:lnTo>
                      <a:pt x="1152" y="2826"/>
                    </a:lnTo>
                    <a:lnTo>
                      <a:pt x="1146" y="2826"/>
                    </a:lnTo>
                    <a:lnTo>
                      <a:pt x="1146" y="2820"/>
                    </a:lnTo>
                    <a:lnTo>
                      <a:pt x="1140" y="2820"/>
                    </a:lnTo>
                    <a:lnTo>
                      <a:pt x="1140" y="2814"/>
                    </a:lnTo>
                    <a:lnTo>
                      <a:pt x="1134" y="2814"/>
                    </a:lnTo>
                    <a:lnTo>
                      <a:pt x="1128" y="2808"/>
                    </a:lnTo>
                    <a:lnTo>
                      <a:pt x="1122" y="2808"/>
                    </a:lnTo>
                    <a:lnTo>
                      <a:pt x="1116" y="2808"/>
                    </a:lnTo>
                    <a:lnTo>
                      <a:pt x="1110" y="2808"/>
                    </a:lnTo>
                    <a:lnTo>
                      <a:pt x="1110" y="2802"/>
                    </a:lnTo>
                    <a:lnTo>
                      <a:pt x="1104" y="2802"/>
                    </a:lnTo>
                    <a:lnTo>
                      <a:pt x="1098" y="2802"/>
                    </a:lnTo>
                    <a:lnTo>
                      <a:pt x="1098" y="2796"/>
                    </a:lnTo>
                    <a:lnTo>
                      <a:pt x="1104" y="2784"/>
                    </a:lnTo>
                    <a:lnTo>
                      <a:pt x="1104" y="2778"/>
                    </a:lnTo>
                    <a:lnTo>
                      <a:pt x="1104" y="2772"/>
                    </a:lnTo>
                    <a:lnTo>
                      <a:pt x="1110" y="2772"/>
                    </a:lnTo>
                    <a:lnTo>
                      <a:pt x="1104" y="2772"/>
                    </a:lnTo>
                    <a:lnTo>
                      <a:pt x="1104" y="2766"/>
                    </a:lnTo>
                    <a:lnTo>
                      <a:pt x="1098" y="2766"/>
                    </a:lnTo>
                    <a:lnTo>
                      <a:pt x="1092" y="2766"/>
                    </a:lnTo>
                    <a:lnTo>
                      <a:pt x="1086" y="2760"/>
                    </a:lnTo>
                    <a:lnTo>
                      <a:pt x="1086" y="2754"/>
                    </a:lnTo>
                    <a:lnTo>
                      <a:pt x="1086" y="2748"/>
                    </a:lnTo>
                    <a:lnTo>
                      <a:pt x="1086" y="2742"/>
                    </a:lnTo>
                    <a:lnTo>
                      <a:pt x="1092" y="2742"/>
                    </a:lnTo>
                    <a:lnTo>
                      <a:pt x="1092" y="2736"/>
                    </a:lnTo>
                    <a:lnTo>
                      <a:pt x="1098" y="2736"/>
                    </a:lnTo>
                    <a:lnTo>
                      <a:pt x="1098" y="2730"/>
                    </a:lnTo>
                    <a:lnTo>
                      <a:pt x="1104" y="2730"/>
                    </a:lnTo>
                    <a:lnTo>
                      <a:pt x="1110" y="2730"/>
                    </a:lnTo>
                    <a:lnTo>
                      <a:pt x="1110" y="2724"/>
                    </a:lnTo>
                    <a:lnTo>
                      <a:pt x="1110" y="2718"/>
                    </a:lnTo>
                    <a:lnTo>
                      <a:pt x="1104" y="2718"/>
                    </a:lnTo>
                    <a:lnTo>
                      <a:pt x="1104" y="2712"/>
                    </a:lnTo>
                    <a:lnTo>
                      <a:pt x="1098" y="2712"/>
                    </a:lnTo>
                    <a:lnTo>
                      <a:pt x="1098" y="2706"/>
                    </a:lnTo>
                    <a:lnTo>
                      <a:pt x="1092" y="2706"/>
                    </a:lnTo>
                    <a:lnTo>
                      <a:pt x="1086" y="2706"/>
                    </a:lnTo>
                    <a:lnTo>
                      <a:pt x="1080" y="2706"/>
                    </a:lnTo>
                    <a:lnTo>
                      <a:pt x="1080" y="2712"/>
                    </a:lnTo>
                    <a:lnTo>
                      <a:pt x="1074" y="2712"/>
                    </a:lnTo>
                    <a:lnTo>
                      <a:pt x="1074" y="2718"/>
                    </a:lnTo>
                    <a:lnTo>
                      <a:pt x="1068" y="2718"/>
                    </a:lnTo>
                    <a:lnTo>
                      <a:pt x="1062" y="2712"/>
                    </a:lnTo>
                    <a:lnTo>
                      <a:pt x="1068" y="2712"/>
                    </a:lnTo>
                    <a:lnTo>
                      <a:pt x="1062" y="2706"/>
                    </a:lnTo>
                    <a:lnTo>
                      <a:pt x="1062" y="2700"/>
                    </a:lnTo>
                    <a:lnTo>
                      <a:pt x="1062" y="2694"/>
                    </a:lnTo>
                    <a:lnTo>
                      <a:pt x="1068" y="2694"/>
                    </a:lnTo>
                    <a:lnTo>
                      <a:pt x="1062" y="2694"/>
                    </a:lnTo>
                    <a:lnTo>
                      <a:pt x="1062" y="2688"/>
                    </a:lnTo>
                    <a:lnTo>
                      <a:pt x="1062" y="2682"/>
                    </a:lnTo>
                    <a:lnTo>
                      <a:pt x="1056" y="2676"/>
                    </a:lnTo>
                    <a:lnTo>
                      <a:pt x="1050" y="2676"/>
                    </a:lnTo>
                    <a:lnTo>
                      <a:pt x="1044" y="2670"/>
                    </a:lnTo>
                    <a:lnTo>
                      <a:pt x="1038" y="2670"/>
                    </a:lnTo>
                    <a:lnTo>
                      <a:pt x="1044" y="2664"/>
                    </a:lnTo>
                    <a:lnTo>
                      <a:pt x="1038" y="2664"/>
                    </a:lnTo>
                    <a:lnTo>
                      <a:pt x="1038" y="2658"/>
                    </a:lnTo>
                    <a:lnTo>
                      <a:pt x="1032" y="2658"/>
                    </a:lnTo>
                    <a:lnTo>
                      <a:pt x="1032" y="2664"/>
                    </a:lnTo>
                    <a:lnTo>
                      <a:pt x="1026" y="2664"/>
                    </a:lnTo>
                    <a:lnTo>
                      <a:pt x="1026" y="2670"/>
                    </a:lnTo>
                    <a:lnTo>
                      <a:pt x="1026" y="2676"/>
                    </a:lnTo>
                    <a:lnTo>
                      <a:pt x="1032" y="2676"/>
                    </a:lnTo>
                    <a:lnTo>
                      <a:pt x="1032" y="2682"/>
                    </a:lnTo>
                    <a:lnTo>
                      <a:pt x="1032" y="2688"/>
                    </a:lnTo>
                    <a:lnTo>
                      <a:pt x="1032" y="2694"/>
                    </a:lnTo>
                    <a:lnTo>
                      <a:pt x="1032" y="2700"/>
                    </a:lnTo>
                    <a:lnTo>
                      <a:pt x="1026" y="2700"/>
                    </a:lnTo>
                    <a:lnTo>
                      <a:pt x="1026" y="2706"/>
                    </a:lnTo>
                    <a:lnTo>
                      <a:pt x="1014" y="2712"/>
                    </a:lnTo>
                    <a:lnTo>
                      <a:pt x="1008" y="2712"/>
                    </a:lnTo>
                    <a:lnTo>
                      <a:pt x="1008" y="2706"/>
                    </a:lnTo>
                    <a:lnTo>
                      <a:pt x="1002" y="2700"/>
                    </a:lnTo>
                    <a:lnTo>
                      <a:pt x="1002" y="2694"/>
                    </a:lnTo>
                    <a:lnTo>
                      <a:pt x="1008" y="2688"/>
                    </a:lnTo>
                    <a:lnTo>
                      <a:pt x="1002" y="2688"/>
                    </a:lnTo>
                    <a:lnTo>
                      <a:pt x="1002" y="2682"/>
                    </a:lnTo>
                    <a:lnTo>
                      <a:pt x="1002" y="2676"/>
                    </a:lnTo>
                    <a:lnTo>
                      <a:pt x="1002" y="2670"/>
                    </a:lnTo>
                    <a:lnTo>
                      <a:pt x="1008" y="2664"/>
                    </a:lnTo>
                    <a:lnTo>
                      <a:pt x="1002" y="2664"/>
                    </a:lnTo>
                    <a:lnTo>
                      <a:pt x="1002" y="2658"/>
                    </a:lnTo>
                    <a:lnTo>
                      <a:pt x="996" y="2652"/>
                    </a:lnTo>
                    <a:lnTo>
                      <a:pt x="984" y="2652"/>
                    </a:lnTo>
                    <a:lnTo>
                      <a:pt x="978" y="2658"/>
                    </a:lnTo>
                    <a:lnTo>
                      <a:pt x="978" y="2652"/>
                    </a:lnTo>
                    <a:lnTo>
                      <a:pt x="972" y="2658"/>
                    </a:lnTo>
                    <a:lnTo>
                      <a:pt x="966" y="2658"/>
                    </a:lnTo>
                    <a:lnTo>
                      <a:pt x="966" y="2652"/>
                    </a:lnTo>
                    <a:lnTo>
                      <a:pt x="960" y="2652"/>
                    </a:lnTo>
                    <a:lnTo>
                      <a:pt x="960" y="2646"/>
                    </a:lnTo>
                    <a:lnTo>
                      <a:pt x="954" y="2646"/>
                    </a:lnTo>
                    <a:lnTo>
                      <a:pt x="954" y="2652"/>
                    </a:lnTo>
                    <a:lnTo>
                      <a:pt x="954" y="2658"/>
                    </a:lnTo>
                    <a:lnTo>
                      <a:pt x="954" y="2664"/>
                    </a:lnTo>
                    <a:lnTo>
                      <a:pt x="954" y="2670"/>
                    </a:lnTo>
                    <a:lnTo>
                      <a:pt x="954" y="2664"/>
                    </a:lnTo>
                    <a:lnTo>
                      <a:pt x="966" y="2670"/>
                    </a:lnTo>
                    <a:lnTo>
                      <a:pt x="960" y="2676"/>
                    </a:lnTo>
                    <a:lnTo>
                      <a:pt x="966" y="2676"/>
                    </a:lnTo>
                    <a:lnTo>
                      <a:pt x="966" y="2682"/>
                    </a:lnTo>
                    <a:lnTo>
                      <a:pt x="960" y="2682"/>
                    </a:lnTo>
                    <a:lnTo>
                      <a:pt x="954" y="2688"/>
                    </a:lnTo>
                    <a:lnTo>
                      <a:pt x="954" y="2682"/>
                    </a:lnTo>
                    <a:lnTo>
                      <a:pt x="948" y="2676"/>
                    </a:lnTo>
                    <a:lnTo>
                      <a:pt x="942" y="2676"/>
                    </a:lnTo>
                    <a:lnTo>
                      <a:pt x="936" y="2682"/>
                    </a:lnTo>
                    <a:lnTo>
                      <a:pt x="930" y="2682"/>
                    </a:lnTo>
                    <a:lnTo>
                      <a:pt x="924" y="2688"/>
                    </a:lnTo>
                    <a:lnTo>
                      <a:pt x="918" y="2688"/>
                    </a:lnTo>
                    <a:lnTo>
                      <a:pt x="912" y="2694"/>
                    </a:lnTo>
                    <a:lnTo>
                      <a:pt x="906" y="2688"/>
                    </a:lnTo>
                    <a:lnTo>
                      <a:pt x="900" y="2694"/>
                    </a:lnTo>
                    <a:lnTo>
                      <a:pt x="900" y="2688"/>
                    </a:lnTo>
                    <a:lnTo>
                      <a:pt x="894" y="2694"/>
                    </a:lnTo>
                    <a:lnTo>
                      <a:pt x="888" y="2694"/>
                    </a:lnTo>
                    <a:lnTo>
                      <a:pt x="882" y="2694"/>
                    </a:lnTo>
                    <a:lnTo>
                      <a:pt x="876" y="2700"/>
                    </a:lnTo>
                    <a:lnTo>
                      <a:pt x="870" y="2700"/>
                    </a:lnTo>
                    <a:lnTo>
                      <a:pt x="870" y="2712"/>
                    </a:lnTo>
                    <a:lnTo>
                      <a:pt x="864" y="2712"/>
                    </a:lnTo>
                    <a:lnTo>
                      <a:pt x="864" y="2718"/>
                    </a:lnTo>
                    <a:lnTo>
                      <a:pt x="858" y="2718"/>
                    </a:lnTo>
                    <a:lnTo>
                      <a:pt x="858" y="2724"/>
                    </a:lnTo>
                    <a:lnTo>
                      <a:pt x="858" y="2730"/>
                    </a:lnTo>
                    <a:lnTo>
                      <a:pt x="852" y="2730"/>
                    </a:lnTo>
                    <a:lnTo>
                      <a:pt x="852" y="2736"/>
                    </a:lnTo>
                    <a:lnTo>
                      <a:pt x="852" y="2742"/>
                    </a:lnTo>
                    <a:lnTo>
                      <a:pt x="852" y="2748"/>
                    </a:lnTo>
                    <a:lnTo>
                      <a:pt x="858" y="2748"/>
                    </a:lnTo>
                    <a:lnTo>
                      <a:pt x="852" y="2754"/>
                    </a:lnTo>
                    <a:lnTo>
                      <a:pt x="852" y="2760"/>
                    </a:lnTo>
                    <a:lnTo>
                      <a:pt x="846" y="2760"/>
                    </a:lnTo>
                    <a:lnTo>
                      <a:pt x="840" y="2760"/>
                    </a:lnTo>
                    <a:lnTo>
                      <a:pt x="840" y="2766"/>
                    </a:lnTo>
                    <a:lnTo>
                      <a:pt x="834" y="2766"/>
                    </a:lnTo>
                    <a:lnTo>
                      <a:pt x="828" y="2772"/>
                    </a:lnTo>
                    <a:lnTo>
                      <a:pt x="822" y="2778"/>
                    </a:lnTo>
                    <a:lnTo>
                      <a:pt x="822" y="2772"/>
                    </a:lnTo>
                    <a:lnTo>
                      <a:pt x="816" y="2778"/>
                    </a:lnTo>
                    <a:lnTo>
                      <a:pt x="810" y="2784"/>
                    </a:lnTo>
                    <a:lnTo>
                      <a:pt x="810" y="2790"/>
                    </a:lnTo>
                    <a:lnTo>
                      <a:pt x="810" y="2796"/>
                    </a:lnTo>
                    <a:lnTo>
                      <a:pt x="816" y="2796"/>
                    </a:lnTo>
                    <a:lnTo>
                      <a:pt x="816" y="2802"/>
                    </a:lnTo>
                    <a:lnTo>
                      <a:pt x="822" y="2802"/>
                    </a:lnTo>
                    <a:lnTo>
                      <a:pt x="822" y="2808"/>
                    </a:lnTo>
                    <a:lnTo>
                      <a:pt x="822" y="2814"/>
                    </a:lnTo>
                    <a:lnTo>
                      <a:pt x="816" y="2814"/>
                    </a:lnTo>
                    <a:lnTo>
                      <a:pt x="810" y="2814"/>
                    </a:lnTo>
                    <a:lnTo>
                      <a:pt x="810" y="2820"/>
                    </a:lnTo>
                    <a:lnTo>
                      <a:pt x="810" y="2826"/>
                    </a:lnTo>
                    <a:lnTo>
                      <a:pt x="810" y="2832"/>
                    </a:lnTo>
                    <a:lnTo>
                      <a:pt x="816" y="2832"/>
                    </a:lnTo>
                    <a:lnTo>
                      <a:pt x="822" y="2832"/>
                    </a:lnTo>
                    <a:lnTo>
                      <a:pt x="828" y="2838"/>
                    </a:lnTo>
                    <a:lnTo>
                      <a:pt x="834" y="2838"/>
                    </a:lnTo>
                    <a:lnTo>
                      <a:pt x="834" y="2844"/>
                    </a:lnTo>
                    <a:lnTo>
                      <a:pt x="840" y="2844"/>
                    </a:lnTo>
                    <a:lnTo>
                      <a:pt x="840" y="2850"/>
                    </a:lnTo>
                    <a:lnTo>
                      <a:pt x="846" y="2850"/>
                    </a:lnTo>
                    <a:lnTo>
                      <a:pt x="852" y="2850"/>
                    </a:lnTo>
                    <a:lnTo>
                      <a:pt x="858" y="2850"/>
                    </a:lnTo>
                    <a:lnTo>
                      <a:pt x="864" y="2844"/>
                    </a:lnTo>
                    <a:lnTo>
                      <a:pt x="864" y="2850"/>
                    </a:lnTo>
                    <a:lnTo>
                      <a:pt x="858" y="2856"/>
                    </a:lnTo>
                    <a:lnTo>
                      <a:pt x="858" y="2862"/>
                    </a:lnTo>
                    <a:lnTo>
                      <a:pt x="864" y="2868"/>
                    </a:lnTo>
                    <a:lnTo>
                      <a:pt x="870" y="2874"/>
                    </a:lnTo>
                    <a:lnTo>
                      <a:pt x="870" y="2868"/>
                    </a:lnTo>
                    <a:lnTo>
                      <a:pt x="864" y="2868"/>
                    </a:lnTo>
                    <a:lnTo>
                      <a:pt x="870" y="2868"/>
                    </a:lnTo>
                    <a:lnTo>
                      <a:pt x="870" y="2862"/>
                    </a:lnTo>
                    <a:lnTo>
                      <a:pt x="870" y="2856"/>
                    </a:lnTo>
                    <a:lnTo>
                      <a:pt x="876" y="2856"/>
                    </a:lnTo>
                    <a:lnTo>
                      <a:pt x="876" y="2862"/>
                    </a:lnTo>
                    <a:lnTo>
                      <a:pt x="882" y="2862"/>
                    </a:lnTo>
                    <a:lnTo>
                      <a:pt x="882" y="2868"/>
                    </a:lnTo>
                    <a:lnTo>
                      <a:pt x="888" y="2868"/>
                    </a:lnTo>
                    <a:lnTo>
                      <a:pt x="888" y="2862"/>
                    </a:lnTo>
                    <a:lnTo>
                      <a:pt x="894" y="2862"/>
                    </a:lnTo>
                    <a:lnTo>
                      <a:pt x="900" y="2862"/>
                    </a:lnTo>
                    <a:lnTo>
                      <a:pt x="906" y="2862"/>
                    </a:lnTo>
                    <a:lnTo>
                      <a:pt x="912" y="2862"/>
                    </a:lnTo>
                    <a:lnTo>
                      <a:pt x="918" y="2862"/>
                    </a:lnTo>
                    <a:lnTo>
                      <a:pt x="924" y="2862"/>
                    </a:lnTo>
                    <a:lnTo>
                      <a:pt x="924" y="2856"/>
                    </a:lnTo>
                    <a:lnTo>
                      <a:pt x="918" y="2856"/>
                    </a:lnTo>
                    <a:lnTo>
                      <a:pt x="918" y="2850"/>
                    </a:lnTo>
                    <a:lnTo>
                      <a:pt x="918" y="2844"/>
                    </a:lnTo>
                    <a:lnTo>
                      <a:pt x="924" y="2838"/>
                    </a:lnTo>
                    <a:lnTo>
                      <a:pt x="924" y="2844"/>
                    </a:lnTo>
                    <a:lnTo>
                      <a:pt x="930" y="2850"/>
                    </a:lnTo>
                    <a:lnTo>
                      <a:pt x="930" y="2844"/>
                    </a:lnTo>
                    <a:lnTo>
                      <a:pt x="930" y="2838"/>
                    </a:lnTo>
                    <a:lnTo>
                      <a:pt x="936" y="2838"/>
                    </a:lnTo>
                    <a:lnTo>
                      <a:pt x="936" y="2832"/>
                    </a:lnTo>
                    <a:lnTo>
                      <a:pt x="942" y="2832"/>
                    </a:lnTo>
                    <a:lnTo>
                      <a:pt x="948" y="2832"/>
                    </a:lnTo>
                    <a:lnTo>
                      <a:pt x="954" y="2838"/>
                    </a:lnTo>
                    <a:lnTo>
                      <a:pt x="960" y="2838"/>
                    </a:lnTo>
                    <a:lnTo>
                      <a:pt x="960" y="2844"/>
                    </a:lnTo>
                    <a:lnTo>
                      <a:pt x="972" y="2838"/>
                    </a:lnTo>
                    <a:lnTo>
                      <a:pt x="978" y="2832"/>
                    </a:lnTo>
                    <a:lnTo>
                      <a:pt x="978" y="2838"/>
                    </a:lnTo>
                    <a:lnTo>
                      <a:pt x="978" y="2832"/>
                    </a:lnTo>
                    <a:lnTo>
                      <a:pt x="984" y="2826"/>
                    </a:lnTo>
                    <a:lnTo>
                      <a:pt x="990" y="2832"/>
                    </a:lnTo>
                    <a:lnTo>
                      <a:pt x="990" y="2838"/>
                    </a:lnTo>
                    <a:lnTo>
                      <a:pt x="990" y="2844"/>
                    </a:lnTo>
                    <a:lnTo>
                      <a:pt x="996" y="2844"/>
                    </a:lnTo>
                    <a:lnTo>
                      <a:pt x="1002" y="2850"/>
                    </a:lnTo>
                    <a:lnTo>
                      <a:pt x="1008" y="2850"/>
                    </a:lnTo>
                    <a:lnTo>
                      <a:pt x="1008" y="2856"/>
                    </a:lnTo>
                    <a:lnTo>
                      <a:pt x="1008" y="2862"/>
                    </a:lnTo>
                    <a:lnTo>
                      <a:pt x="1002" y="2868"/>
                    </a:lnTo>
                    <a:lnTo>
                      <a:pt x="1002" y="2874"/>
                    </a:lnTo>
                    <a:lnTo>
                      <a:pt x="996" y="2874"/>
                    </a:lnTo>
                    <a:lnTo>
                      <a:pt x="990" y="2874"/>
                    </a:lnTo>
                    <a:lnTo>
                      <a:pt x="984" y="2874"/>
                    </a:lnTo>
                    <a:lnTo>
                      <a:pt x="984" y="2868"/>
                    </a:lnTo>
                    <a:lnTo>
                      <a:pt x="990" y="2868"/>
                    </a:lnTo>
                    <a:lnTo>
                      <a:pt x="996" y="2868"/>
                    </a:lnTo>
                    <a:lnTo>
                      <a:pt x="996" y="2862"/>
                    </a:lnTo>
                    <a:lnTo>
                      <a:pt x="990" y="2856"/>
                    </a:lnTo>
                    <a:lnTo>
                      <a:pt x="984" y="2856"/>
                    </a:lnTo>
                    <a:lnTo>
                      <a:pt x="984" y="2862"/>
                    </a:lnTo>
                    <a:lnTo>
                      <a:pt x="978" y="2868"/>
                    </a:lnTo>
                    <a:lnTo>
                      <a:pt x="978" y="2874"/>
                    </a:lnTo>
                    <a:lnTo>
                      <a:pt x="978" y="2880"/>
                    </a:lnTo>
                    <a:lnTo>
                      <a:pt x="978" y="2886"/>
                    </a:lnTo>
                    <a:lnTo>
                      <a:pt x="978" y="2892"/>
                    </a:lnTo>
                    <a:lnTo>
                      <a:pt x="984" y="2898"/>
                    </a:lnTo>
                    <a:lnTo>
                      <a:pt x="984" y="2904"/>
                    </a:lnTo>
                    <a:lnTo>
                      <a:pt x="984" y="2910"/>
                    </a:lnTo>
                    <a:lnTo>
                      <a:pt x="984" y="2916"/>
                    </a:lnTo>
                    <a:lnTo>
                      <a:pt x="978" y="2916"/>
                    </a:lnTo>
                    <a:lnTo>
                      <a:pt x="972" y="2916"/>
                    </a:lnTo>
                    <a:lnTo>
                      <a:pt x="972" y="2922"/>
                    </a:lnTo>
                    <a:lnTo>
                      <a:pt x="966" y="2928"/>
                    </a:lnTo>
                    <a:lnTo>
                      <a:pt x="960" y="2928"/>
                    </a:lnTo>
                    <a:lnTo>
                      <a:pt x="960" y="2934"/>
                    </a:lnTo>
                    <a:lnTo>
                      <a:pt x="954" y="2928"/>
                    </a:lnTo>
                    <a:lnTo>
                      <a:pt x="948" y="2928"/>
                    </a:lnTo>
                    <a:lnTo>
                      <a:pt x="948" y="2922"/>
                    </a:lnTo>
                    <a:lnTo>
                      <a:pt x="948" y="2916"/>
                    </a:lnTo>
                    <a:lnTo>
                      <a:pt x="954" y="2916"/>
                    </a:lnTo>
                    <a:lnTo>
                      <a:pt x="954" y="2910"/>
                    </a:lnTo>
                    <a:lnTo>
                      <a:pt x="960" y="2910"/>
                    </a:lnTo>
                    <a:lnTo>
                      <a:pt x="954" y="2910"/>
                    </a:lnTo>
                    <a:lnTo>
                      <a:pt x="954" y="2904"/>
                    </a:lnTo>
                    <a:lnTo>
                      <a:pt x="948" y="2904"/>
                    </a:lnTo>
                    <a:lnTo>
                      <a:pt x="948" y="2898"/>
                    </a:lnTo>
                    <a:lnTo>
                      <a:pt x="942" y="2898"/>
                    </a:lnTo>
                    <a:lnTo>
                      <a:pt x="942" y="2892"/>
                    </a:lnTo>
                    <a:lnTo>
                      <a:pt x="936" y="2892"/>
                    </a:lnTo>
                    <a:lnTo>
                      <a:pt x="930" y="2892"/>
                    </a:lnTo>
                    <a:lnTo>
                      <a:pt x="930" y="2886"/>
                    </a:lnTo>
                    <a:lnTo>
                      <a:pt x="924" y="2892"/>
                    </a:lnTo>
                    <a:lnTo>
                      <a:pt x="930" y="2886"/>
                    </a:lnTo>
                    <a:lnTo>
                      <a:pt x="924" y="2886"/>
                    </a:lnTo>
                    <a:lnTo>
                      <a:pt x="918" y="2880"/>
                    </a:lnTo>
                    <a:lnTo>
                      <a:pt x="912" y="2880"/>
                    </a:lnTo>
                    <a:lnTo>
                      <a:pt x="906" y="2880"/>
                    </a:lnTo>
                    <a:lnTo>
                      <a:pt x="906" y="2886"/>
                    </a:lnTo>
                    <a:lnTo>
                      <a:pt x="906" y="2892"/>
                    </a:lnTo>
                    <a:lnTo>
                      <a:pt x="900" y="2892"/>
                    </a:lnTo>
                    <a:lnTo>
                      <a:pt x="900" y="2898"/>
                    </a:lnTo>
                    <a:lnTo>
                      <a:pt x="894" y="2898"/>
                    </a:lnTo>
                    <a:lnTo>
                      <a:pt x="894" y="2904"/>
                    </a:lnTo>
                    <a:lnTo>
                      <a:pt x="882" y="2904"/>
                    </a:lnTo>
                    <a:lnTo>
                      <a:pt x="876" y="2904"/>
                    </a:lnTo>
                    <a:lnTo>
                      <a:pt x="870" y="2904"/>
                    </a:lnTo>
                    <a:lnTo>
                      <a:pt x="870" y="2910"/>
                    </a:lnTo>
                    <a:lnTo>
                      <a:pt x="870" y="2916"/>
                    </a:lnTo>
                    <a:lnTo>
                      <a:pt x="870" y="2910"/>
                    </a:lnTo>
                    <a:lnTo>
                      <a:pt x="864" y="2910"/>
                    </a:lnTo>
                    <a:lnTo>
                      <a:pt x="864" y="2916"/>
                    </a:lnTo>
                    <a:lnTo>
                      <a:pt x="858" y="2922"/>
                    </a:lnTo>
                    <a:lnTo>
                      <a:pt x="852" y="2922"/>
                    </a:lnTo>
                    <a:lnTo>
                      <a:pt x="852" y="2928"/>
                    </a:lnTo>
                    <a:lnTo>
                      <a:pt x="858" y="2934"/>
                    </a:lnTo>
                    <a:lnTo>
                      <a:pt x="852" y="2940"/>
                    </a:lnTo>
                    <a:lnTo>
                      <a:pt x="858" y="2940"/>
                    </a:lnTo>
                    <a:lnTo>
                      <a:pt x="858" y="2946"/>
                    </a:lnTo>
                    <a:lnTo>
                      <a:pt x="864" y="2946"/>
                    </a:lnTo>
                    <a:lnTo>
                      <a:pt x="870" y="2946"/>
                    </a:lnTo>
                    <a:lnTo>
                      <a:pt x="876" y="2946"/>
                    </a:lnTo>
                    <a:lnTo>
                      <a:pt x="876" y="2940"/>
                    </a:lnTo>
                    <a:lnTo>
                      <a:pt x="882" y="2940"/>
                    </a:lnTo>
                    <a:lnTo>
                      <a:pt x="888" y="2952"/>
                    </a:lnTo>
                    <a:lnTo>
                      <a:pt x="882" y="2952"/>
                    </a:lnTo>
                    <a:lnTo>
                      <a:pt x="876" y="2952"/>
                    </a:lnTo>
                    <a:lnTo>
                      <a:pt x="870" y="2952"/>
                    </a:lnTo>
                    <a:lnTo>
                      <a:pt x="864" y="2958"/>
                    </a:lnTo>
                    <a:lnTo>
                      <a:pt x="858" y="2958"/>
                    </a:lnTo>
                    <a:lnTo>
                      <a:pt x="852" y="2958"/>
                    </a:lnTo>
                    <a:lnTo>
                      <a:pt x="846" y="2958"/>
                    </a:lnTo>
                    <a:lnTo>
                      <a:pt x="840" y="2964"/>
                    </a:lnTo>
                    <a:lnTo>
                      <a:pt x="834" y="2964"/>
                    </a:lnTo>
                    <a:lnTo>
                      <a:pt x="828" y="2964"/>
                    </a:lnTo>
                    <a:lnTo>
                      <a:pt x="828" y="2970"/>
                    </a:lnTo>
                    <a:lnTo>
                      <a:pt x="822" y="2964"/>
                    </a:lnTo>
                    <a:lnTo>
                      <a:pt x="816" y="2964"/>
                    </a:lnTo>
                    <a:lnTo>
                      <a:pt x="810" y="2958"/>
                    </a:lnTo>
                    <a:lnTo>
                      <a:pt x="804" y="2952"/>
                    </a:lnTo>
                    <a:lnTo>
                      <a:pt x="798" y="2952"/>
                    </a:lnTo>
                    <a:lnTo>
                      <a:pt x="792" y="2952"/>
                    </a:lnTo>
                    <a:lnTo>
                      <a:pt x="792" y="2958"/>
                    </a:lnTo>
                    <a:lnTo>
                      <a:pt x="786" y="2964"/>
                    </a:lnTo>
                    <a:lnTo>
                      <a:pt x="786" y="2970"/>
                    </a:lnTo>
                    <a:lnTo>
                      <a:pt x="780" y="2970"/>
                    </a:lnTo>
                    <a:lnTo>
                      <a:pt x="780" y="2964"/>
                    </a:lnTo>
                    <a:lnTo>
                      <a:pt x="774" y="2964"/>
                    </a:lnTo>
                    <a:lnTo>
                      <a:pt x="768" y="2964"/>
                    </a:lnTo>
                    <a:lnTo>
                      <a:pt x="762" y="2964"/>
                    </a:lnTo>
                    <a:lnTo>
                      <a:pt x="756" y="2958"/>
                    </a:lnTo>
                    <a:lnTo>
                      <a:pt x="750" y="2958"/>
                    </a:lnTo>
                    <a:lnTo>
                      <a:pt x="744" y="2958"/>
                    </a:lnTo>
                    <a:lnTo>
                      <a:pt x="738" y="2958"/>
                    </a:lnTo>
                    <a:lnTo>
                      <a:pt x="732" y="2958"/>
                    </a:lnTo>
                    <a:lnTo>
                      <a:pt x="726" y="2952"/>
                    </a:lnTo>
                    <a:lnTo>
                      <a:pt x="726" y="2946"/>
                    </a:lnTo>
                    <a:lnTo>
                      <a:pt x="720" y="2946"/>
                    </a:lnTo>
                    <a:lnTo>
                      <a:pt x="720" y="2940"/>
                    </a:lnTo>
                    <a:lnTo>
                      <a:pt x="714" y="2940"/>
                    </a:lnTo>
                    <a:lnTo>
                      <a:pt x="708" y="2940"/>
                    </a:lnTo>
                    <a:lnTo>
                      <a:pt x="708" y="2934"/>
                    </a:lnTo>
                    <a:lnTo>
                      <a:pt x="708" y="2928"/>
                    </a:lnTo>
                    <a:lnTo>
                      <a:pt x="708" y="2922"/>
                    </a:lnTo>
                    <a:lnTo>
                      <a:pt x="708" y="2916"/>
                    </a:lnTo>
                    <a:lnTo>
                      <a:pt x="708" y="2910"/>
                    </a:lnTo>
                    <a:lnTo>
                      <a:pt x="702" y="2910"/>
                    </a:lnTo>
                    <a:lnTo>
                      <a:pt x="702" y="2904"/>
                    </a:lnTo>
                    <a:lnTo>
                      <a:pt x="696" y="2904"/>
                    </a:lnTo>
                    <a:lnTo>
                      <a:pt x="690" y="2904"/>
                    </a:lnTo>
                    <a:lnTo>
                      <a:pt x="684" y="2904"/>
                    </a:lnTo>
                    <a:lnTo>
                      <a:pt x="678" y="2904"/>
                    </a:lnTo>
                    <a:lnTo>
                      <a:pt x="672" y="2898"/>
                    </a:lnTo>
                    <a:lnTo>
                      <a:pt x="666" y="2898"/>
                    </a:lnTo>
                    <a:lnTo>
                      <a:pt x="660" y="2904"/>
                    </a:lnTo>
                    <a:lnTo>
                      <a:pt x="654" y="2904"/>
                    </a:lnTo>
                    <a:lnTo>
                      <a:pt x="648" y="2904"/>
                    </a:lnTo>
                    <a:lnTo>
                      <a:pt x="648" y="2910"/>
                    </a:lnTo>
                    <a:lnTo>
                      <a:pt x="642" y="2910"/>
                    </a:lnTo>
                    <a:lnTo>
                      <a:pt x="642" y="2904"/>
                    </a:lnTo>
                    <a:lnTo>
                      <a:pt x="642" y="2898"/>
                    </a:lnTo>
                    <a:lnTo>
                      <a:pt x="636" y="2898"/>
                    </a:lnTo>
                    <a:lnTo>
                      <a:pt x="636" y="2892"/>
                    </a:lnTo>
                    <a:lnTo>
                      <a:pt x="630" y="2892"/>
                    </a:lnTo>
                    <a:lnTo>
                      <a:pt x="624" y="2892"/>
                    </a:lnTo>
                    <a:lnTo>
                      <a:pt x="618" y="2892"/>
                    </a:lnTo>
                    <a:lnTo>
                      <a:pt x="612" y="2898"/>
                    </a:lnTo>
                    <a:lnTo>
                      <a:pt x="606" y="2910"/>
                    </a:lnTo>
                    <a:lnTo>
                      <a:pt x="600" y="2910"/>
                    </a:lnTo>
                    <a:lnTo>
                      <a:pt x="600" y="2916"/>
                    </a:lnTo>
                    <a:lnTo>
                      <a:pt x="594" y="2916"/>
                    </a:lnTo>
                    <a:lnTo>
                      <a:pt x="588" y="2922"/>
                    </a:lnTo>
                    <a:lnTo>
                      <a:pt x="588" y="2928"/>
                    </a:lnTo>
                    <a:lnTo>
                      <a:pt x="582" y="2922"/>
                    </a:lnTo>
                    <a:lnTo>
                      <a:pt x="576" y="2922"/>
                    </a:lnTo>
                    <a:lnTo>
                      <a:pt x="570" y="2922"/>
                    </a:lnTo>
                    <a:lnTo>
                      <a:pt x="570" y="2928"/>
                    </a:lnTo>
                    <a:lnTo>
                      <a:pt x="564" y="2928"/>
                    </a:lnTo>
                    <a:lnTo>
                      <a:pt x="564" y="2934"/>
                    </a:lnTo>
                    <a:lnTo>
                      <a:pt x="558" y="2940"/>
                    </a:lnTo>
                    <a:lnTo>
                      <a:pt x="552" y="2940"/>
                    </a:lnTo>
                    <a:lnTo>
                      <a:pt x="546" y="2940"/>
                    </a:lnTo>
                    <a:lnTo>
                      <a:pt x="540" y="2940"/>
                    </a:lnTo>
                    <a:lnTo>
                      <a:pt x="534" y="2940"/>
                    </a:lnTo>
                    <a:lnTo>
                      <a:pt x="528" y="2946"/>
                    </a:lnTo>
                    <a:lnTo>
                      <a:pt x="528" y="2952"/>
                    </a:lnTo>
                    <a:lnTo>
                      <a:pt x="528" y="2958"/>
                    </a:lnTo>
                    <a:lnTo>
                      <a:pt x="528" y="2964"/>
                    </a:lnTo>
                    <a:lnTo>
                      <a:pt x="522" y="2970"/>
                    </a:lnTo>
                    <a:lnTo>
                      <a:pt x="516" y="2970"/>
                    </a:lnTo>
                    <a:lnTo>
                      <a:pt x="510" y="2970"/>
                    </a:lnTo>
                    <a:lnTo>
                      <a:pt x="504" y="2964"/>
                    </a:lnTo>
                    <a:lnTo>
                      <a:pt x="498" y="2964"/>
                    </a:lnTo>
                    <a:lnTo>
                      <a:pt x="492" y="2964"/>
                    </a:lnTo>
                    <a:lnTo>
                      <a:pt x="486" y="2970"/>
                    </a:lnTo>
                    <a:lnTo>
                      <a:pt x="480" y="2970"/>
                    </a:lnTo>
                    <a:lnTo>
                      <a:pt x="480" y="2976"/>
                    </a:lnTo>
                    <a:lnTo>
                      <a:pt x="474" y="2976"/>
                    </a:lnTo>
                    <a:lnTo>
                      <a:pt x="468" y="2976"/>
                    </a:lnTo>
                    <a:lnTo>
                      <a:pt x="462" y="2976"/>
                    </a:lnTo>
                    <a:lnTo>
                      <a:pt x="456" y="2982"/>
                    </a:lnTo>
                    <a:lnTo>
                      <a:pt x="450" y="2982"/>
                    </a:lnTo>
                    <a:lnTo>
                      <a:pt x="450" y="2976"/>
                    </a:lnTo>
                    <a:lnTo>
                      <a:pt x="444" y="2976"/>
                    </a:lnTo>
                    <a:lnTo>
                      <a:pt x="444" y="2970"/>
                    </a:lnTo>
                    <a:lnTo>
                      <a:pt x="438" y="2970"/>
                    </a:lnTo>
                    <a:lnTo>
                      <a:pt x="432" y="2970"/>
                    </a:lnTo>
                    <a:lnTo>
                      <a:pt x="420" y="2970"/>
                    </a:lnTo>
                    <a:lnTo>
                      <a:pt x="414" y="2970"/>
                    </a:lnTo>
                    <a:lnTo>
                      <a:pt x="408" y="2970"/>
                    </a:lnTo>
                    <a:lnTo>
                      <a:pt x="402" y="2970"/>
                    </a:lnTo>
                    <a:lnTo>
                      <a:pt x="396" y="2970"/>
                    </a:lnTo>
                    <a:lnTo>
                      <a:pt x="396" y="2976"/>
                    </a:lnTo>
                    <a:lnTo>
                      <a:pt x="390" y="2976"/>
                    </a:lnTo>
                    <a:lnTo>
                      <a:pt x="390" y="2982"/>
                    </a:lnTo>
                    <a:lnTo>
                      <a:pt x="390" y="2988"/>
                    </a:lnTo>
                    <a:lnTo>
                      <a:pt x="384" y="2988"/>
                    </a:lnTo>
                    <a:lnTo>
                      <a:pt x="378" y="2988"/>
                    </a:lnTo>
                    <a:lnTo>
                      <a:pt x="378" y="2982"/>
                    </a:lnTo>
                    <a:lnTo>
                      <a:pt x="372" y="2982"/>
                    </a:lnTo>
                    <a:lnTo>
                      <a:pt x="366" y="2982"/>
                    </a:lnTo>
                    <a:lnTo>
                      <a:pt x="360" y="2982"/>
                    </a:lnTo>
                    <a:lnTo>
                      <a:pt x="354" y="2976"/>
                    </a:lnTo>
                    <a:lnTo>
                      <a:pt x="354" y="2970"/>
                    </a:lnTo>
                    <a:lnTo>
                      <a:pt x="354" y="2964"/>
                    </a:lnTo>
                    <a:lnTo>
                      <a:pt x="354" y="2958"/>
                    </a:lnTo>
                    <a:lnTo>
                      <a:pt x="354" y="2952"/>
                    </a:lnTo>
                    <a:lnTo>
                      <a:pt x="354" y="2946"/>
                    </a:lnTo>
                    <a:lnTo>
                      <a:pt x="354" y="2940"/>
                    </a:lnTo>
                    <a:lnTo>
                      <a:pt x="348" y="2940"/>
                    </a:lnTo>
                    <a:lnTo>
                      <a:pt x="348" y="2934"/>
                    </a:lnTo>
                    <a:lnTo>
                      <a:pt x="342" y="2928"/>
                    </a:lnTo>
                    <a:lnTo>
                      <a:pt x="336" y="2922"/>
                    </a:lnTo>
                    <a:lnTo>
                      <a:pt x="330" y="2922"/>
                    </a:lnTo>
                    <a:lnTo>
                      <a:pt x="324" y="2928"/>
                    </a:lnTo>
                    <a:lnTo>
                      <a:pt x="318" y="2922"/>
                    </a:lnTo>
                    <a:lnTo>
                      <a:pt x="318" y="2928"/>
                    </a:lnTo>
                    <a:lnTo>
                      <a:pt x="312" y="2928"/>
                    </a:lnTo>
                    <a:lnTo>
                      <a:pt x="306" y="2928"/>
                    </a:lnTo>
                    <a:lnTo>
                      <a:pt x="300" y="2934"/>
                    </a:lnTo>
                    <a:lnTo>
                      <a:pt x="294" y="2934"/>
                    </a:lnTo>
                    <a:lnTo>
                      <a:pt x="288" y="2928"/>
                    </a:lnTo>
                    <a:lnTo>
                      <a:pt x="282" y="2928"/>
                    </a:lnTo>
                    <a:lnTo>
                      <a:pt x="276" y="2922"/>
                    </a:lnTo>
                    <a:lnTo>
                      <a:pt x="276" y="2928"/>
                    </a:lnTo>
                    <a:lnTo>
                      <a:pt x="270" y="2928"/>
                    </a:lnTo>
                    <a:lnTo>
                      <a:pt x="270" y="2934"/>
                    </a:lnTo>
                    <a:lnTo>
                      <a:pt x="270" y="2940"/>
                    </a:lnTo>
                    <a:lnTo>
                      <a:pt x="270" y="2946"/>
                    </a:lnTo>
                    <a:lnTo>
                      <a:pt x="264" y="2946"/>
                    </a:lnTo>
                    <a:lnTo>
                      <a:pt x="264" y="2952"/>
                    </a:lnTo>
                    <a:lnTo>
                      <a:pt x="258" y="2952"/>
                    </a:lnTo>
                    <a:lnTo>
                      <a:pt x="258" y="2958"/>
                    </a:lnTo>
                    <a:lnTo>
                      <a:pt x="252" y="2958"/>
                    </a:lnTo>
                    <a:lnTo>
                      <a:pt x="252" y="2964"/>
                    </a:lnTo>
                    <a:lnTo>
                      <a:pt x="246" y="2964"/>
                    </a:lnTo>
                    <a:lnTo>
                      <a:pt x="246" y="2970"/>
                    </a:lnTo>
                    <a:lnTo>
                      <a:pt x="240" y="2970"/>
                    </a:lnTo>
                    <a:lnTo>
                      <a:pt x="234" y="2970"/>
                    </a:lnTo>
                    <a:lnTo>
                      <a:pt x="228" y="2970"/>
                    </a:lnTo>
                    <a:lnTo>
                      <a:pt x="222" y="2976"/>
                    </a:lnTo>
                    <a:lnTo>
                      <a:pt x="216" y="2976"/>
                    </a:lnTo>
                    <a:lnTo>
                      <a:pt x="216" y="2982"/>
                    </a:lnTo>
                    <a:lnTo>
                      <a:pt x="210" y="2982"/>
                    </a:lnTo>
                    <a:lnTo>
                      <a:pt x="204" y="2982"/>
                    </a:lnTo>
                    <a:lnTo>
                      <a:pt x="192" y="2982"/>
                    </a:lnTo>
                    <a:lnTo>
                      <a:pt x="186" y="2982"/>
                    </a:lnTo>
                    <a:lnTo>
                      <a:pt x="180" y="2982"/>
                    </a:lnTo>
                    <a:lnTo>
                      <a:pt x="174" y="2988"/>
                    </a:lnTo>
                    <a:lnTo>
                      <a:pt x="168" y="2988"/>
                    </a:lnTo>
                    <a:lnTo>
                      <a:pt x="168" y="2994"/>
                    </a:lnTo>
                    <a:lnTo>
                      <a:pt x="162" y="2994"/>
                    </a:lnTo>
                    <a:lnTo>
                      <a:pt x="156" y="2994"/>
                    </a:lnTo>
                    <a:lnTo>
                      <a:pt x="150" y="2994"/>
                    </a:lnTo>
                    <a:lnTo>
                      <a:pt x="144" y="2994"/>
                    </a:lnTo>
                    <a:lnTo>
                      <a:pt x="138" y="2994"/>
                    </a:lnTo>
                    <a:lnTo>
                      <a:pt x="132" y="2988"/>
                    </a:lnTo>
                    <a:lnTo>
                      <a:pt x="132" y="2982"/>
                    </a:lnTo>
                    <a:lnTo>
                      <a:pt x="126" y="2976"/>
                    </a:lnTo>
                    <a:lnTo>
                      <a:pt x="120" y="2976"/>
                    </a:lnTo>
                    <a:lnTo>
                      <a:pt x="120" y="2970"/>
                    </a:lnTo>
                    <a:lnTo>
                      <a:pt x="114" y="2970"/>
                    </a:lnTo>
                    <a:lnTo>
                      <a:pt x="114" y="2964"/>
                    </a:lnTo>
                    <a:lnTo>
                      <a:pt x="108" y="2958"/>
                    </a:lnTo>
                    <a:lnTo>
                      <a:pt x="108" y="2952"/>
                    </a:lnTo>
                    <a:lnTo>
                      <a:pt x="114" y="2952"/>
                    </a:lnTo>
                    <a:lnTo>
                      <a:pt x="114" y="2958"/>
                    </a:lnTo>
                    <a:lnTo>
                      <a:pt x="120" y="2958"/>
                    </a:lnTo>
                    <a:lnTo>
                      <a:pt x="126" y="2952"/>
                    </a:lnTo>
                    <a:lnTo>
                      <a:pt x="132" y="2952"/>
                    </a:lnTo>
                    <a:lnTo>
                      <a:pt x="138" y="2952"/>
                    </a:lnTo>
                    <a:lnTo>
                      <a:pt x="144" y="2952"/>
                    </a:lnTo>
                    <a:lnTo>
                      <a:pt x="144" y="2946"/>
                    </a:lnTo>
                    <a:lnTo>
                      <a:pt x="150" y="2940"/>
                    </a:lnTo>
                    <a:lnTo>
                      <a:pt x="150" y="2946"/>
                    </a:lnTo>
                    <a:lnTo>
                      <a:pt x="150" y="2952"/>
                    </a:lnTo>
                    <a:lnTo>
                      <a:pt x="156" y="2946"/>
                    </a:lnTo>
                    <a:lnTo>
                      <a:pt x="156" y="2940"/>
                    </a:lnTo>
                    <a:lnTo>
                      <a:pt x="150" y="2940"/>
                    </a:lnTo>
                    <a:lnTo>
                      <a:pt x="150" y="2934"/>
                    </a:lnTo>
                    <a:lnTo>
                      <a:pt x="150" y="2928"/>
                    </a:lnTo>
                    <a:lnTo>
                      <a:pt x="144" y="2928"/>
                    </a:lnTo>
                    <a:lnTo>
                      <a:pt x="138" y="2922"/>
                    </a:lnTo>
                    <a:lnTo>
                      <a:pt x="144" y="2916"/>
                    </a:lnTo>
                    <a:lnTo>
                      <a:pt x="150" y="2916"/>
                    </a:lnTo>
                    <a:lnTo>
                      <a:pt x="150" y="2910"/>
                    </a:lnTo>
                    <a:lnTo>
                      <a:pt x="156" y="2910"/>
                    </a:lnTo>
                    <a:lnTo>
                      <a:pt x="162" y="2904"/>
                    </a:lnTo>
                    <a:lnTo>
                      <a:pt x="156" y="2904"/>
                    </a:lnTo>
                    <a:lnTo>
                      <a:pt x="150" y="2904"/>
                    </a:lnTo>
                    <a:lnTo>
                      <a:pt x="150" y="2910"/>
                    </a:lnTo>
                    <a:lnTo>
                      <a:pt x="144" y="2916"/>
                    </a:lnTo>
                    <a:lnTo>
                      <a:pt x="138" y="2916"/>
                    </a:lnTo>
                    <a:lnTo>
                      <a:pt x="132" y="2910"/>
                    </a:lnTo>
                    <a:lnTo>
                      <a:pt x="126" y="2910"/>
                    </a:lnTo>
                    <a:lnTo>
                      <a:pt x="120" y="2910"/>
                    </a:lnTo>
                    <a:lnTo>
                      <a:pt x="114" y="2910"/>
                    </a:lnTo>
                    <a:lnTo>
                      <a:pt x="114" y="2916"/>
                    </a:lnTo>
                    <a:lnTo>
                      <a:pt x="108" y="2916"/>
                    </a:lnTo>
                    <a:lnTo>
                      <a:pt x="108" y="2922"/>
                    </a:lnTo>
                    <a:lnTo>
                      <a:pt x="102" y="2928"/>
                    </a:lnTo>
                    <a:lnTo>
                      <a:pt x="96" y="2928"/>
                    </a:lnTo>
                    <a:lnTo>
                      <a:pt x="96" y="2934"/>
                    </a:lnTo>
                    <a:lnTo>
                      <a:pt x="90" y="2934"/>
                    </a:lnTo>
                    <a:lnTo>
                      <a:pt x="84" y="2934"/>
                    </a:lnTo>
                    <a:lnTo>
                      <a:pt x="78" y="2934"/>
                    </a:lnTo>
                    <a:lnTo>
                      <a:pt x="78" y="2928"/>
                    </a:lnTo>
                    <a:lnTo>
                      <a:pt x="78" y="2922"/>
                    </a:lnTo>
                    <a:lnTo>
                      <a:pt x="72" y="2916"/>
                    </a:lnTo>
                    <a:lnTo>
                      <a:pt x="66" y="2916"/>
                    </a:lnTo>
                    <a:lnTo>
                      <a:pt x="72" y="2910"/>
                    </a:lnTo>
                    <a:lnTo>
                      <a:pt x="72" y="2904"/>
                    </a:lnTo>
                    <a:lnTo>
                      <a:pt x="72" y="2898"/>
                    </a:lnTo>
                    <a:lnTo>
                      <a:pt x="66" y="2898"/>
                    </a:lnTo>
                    <a:lnTo>
                      <a:pt x="66" y="2892"/>
                    </a:lnTo>
                    <a:lnTo>
                      <a:pt x="60" y="2886"/>
                    </a:lnTo>
                    <a:lnTo>
                      <a:pt x="54" y="2880"/>
                    </a:lnTo>
                    <a:lnTo>
                      <a:pt x="54" y="2874"/>
                    </a:lnTo>
                    <a:lnTo>
                      <a:pt x="48" y="2862"/>
                    </a:lnTo>
                    <a:lnTo>
                      <a:pt x="48" y="2856"/>
                    </a:lnTo>
                    <a:lnTo>
                      <a:pt x="42" y="2856"/>
                    </a:lnTo>
                    <a:lnTo>
                      <a:pt x="42" y="2850"/>
                    </a:lnTo>
                    <a:lnTo>
                      <a:pt x="36" y="2844"/>
                    </a:lnTo>
                    <a:lnTo>
                      <a:pt x="30" y="2844"/>
                    </a:lnTo>
                    <a:lnTo>
                      <a:pt x="24" y="2838"/>
                    </a:lnTo>
                    <a:lnTo>
                      <a:pt x="18" y="2832"/>
                    </a:lnTo>
                    <a:lnTo>
                      <a:pt x="12" y="2826"/>
                    </a:lnTo>
                    <a:lnTo>
                      <a:pt x="12" y="2820"/>
                    </a:lnTo>
                    <a:lnTo>
                      <a:pt x="6" y="2820"/>
                    </a:lnTo>
                    <a:lnTo>
                      <a:pt x="6" y="2814"/>
                    </a:lnTo>
                    <a:lnTo>
                      <a:pt x="6" y="2808"/>
                    </a:lnTo>
                    <a:lnTo>
                      <a:pt x="6" y="2802"/>
                    </a:lnTo>
                    <a:lnTo>
                      <a:pt x="6" y="2796"/>
                    </a:lnTo>
                    <a:lnTo>
                      <a:pt x="6" y="2790"/>
                    </a:lnTo>
                    <a:lnTo>
                      <a:pt x="6" y="2784"/>
                    </a:lnTo>
                    <a:lnTo>
                      <a:pt x="0" y="2778"/>
                    </a:lnTo>
                    <a:lnTo>
                      <a:pt x="0" y="2772"/>
                    </a:lnTo>
                    <a:lnTo>
                      <a:pt x="0" y="2766"/>
                    </a:lnTo>
                    <a:lnTo>
                      <a:pt x="6" y="2760"/>
                    </a:lnTo>
                    <a:lnTo>
                      <a:pt x="12" y="2760"/>
                    </a:lnTo>
                    <a:lnTo>
                      <a:pt x="18" y="2754"/>
                    </a:lnTo>
                    <a:lnTo>
                      <a:pt x="18" y="2748"/>
                    </a:lnTo>
                    <a:lnTo>
                      <a:pt x="24" y="2748"/>
                    </a:lnTo>
                    <a:lnTo>
                      <a:pt x="24" y="2742"/>
                    </a:lnTo>
                    <a:lnTo>
                      <a:pt x="30" y="2736"/>
                    </a:lnTo>
                    <a:lnTo>
                      <a:pt x="36" y="2724"/>
                    </a:lnTo>
                    <a:lnTo>
                      <a:pt x="36" y="2718"/>
                    </a:lnTo>
                    <a:lnTo>
                      <a:pt x="36" y="2712"/>
                    </a:lnTo>
                    <a:lnTo>
                      <a:pt x="36" y="2706"/>
                    </a:lnTo>
                    <a:lnTo>
                      <a:pt x="30" y="2706"/>
                    </a:lnTo>
                    <a:lnTo>
                      <a:pt x="30" y="2700"/>
                    </a:lnTo>
                    <a:lnTo>
                      <a:pt x="30" y="2694"/>
                    </a:lnTo>
                    <a:lnTo>
                      <a:pt x="24" y="2688"/>
                    </a:lnTo>
                    <a:lnTo>
                      <a:pt x="24" y="2682"/>
                    </a:lnTo>
                    <a:lnTo>
                      <a:pt x="24" y="2676"/>
                    </a:lnTo>
                    <a:lnTo>
                      <a:pt x="18" y="2670"/>
                    </a:lnTo>
                    <a:lnTo>
                      <a:pt x="18" y="2664"/>
                    </a:lnTo>
                    <a:lnTo>
                      <a:pt x="18" y="2658"/>
                    </a:lnTo>
                    <a:lnTo>
                      <a:pt x="24" y="2646"/>
                    </a:lnTo>
                    <a:lnTo>
                      <a:pt x="24" y="2640"/>
                    </a:lnTo>
                    <a:lnTo>
                      <a:pt x="30" y="2634"/>
                    </a:lnTo>
                    <a:lnTo>
                      <a:pt x="30" y="2628"/>
                    </a:lnTo>
                    <a:lnTo>
                      <a:pt x="36" y="2622"/>
                    </a:lnTo>
                    <a:lnTo>
                      <a:pt x="36" y="2616"/>
                    </a:lnTo>
                    <a:lnTo>
                      <a:pt x="36" y="2610"/>
                    </a:lnTo>
                    <a:lnTo>
                      <a:pt x="42" y="2604"/>
                    </a:lnTo>
                    <a:lnTo>
                      <a:pt x="42" y="2598"/>
                    </a:lnTo>
                    <a:lnTo>
                      <a:pt x="48" y="2592"/>
                    </a:lnTo>
                    <a:lnTo>
                      <a:pt x="48" y="2586"/>
                    </a:lnTo>
                    <a:lnTo>
                      <a:pt x="54" y="2574"/>
                    </a:lnTo>
                    <a:lnTo>
                      <a:pt x="54" y="2568"/>
                    </a:lnTo>
                    <a:lnTo>
                      <a:pt x="54" y="2562"/>
                    </a:lnTo>
                    <a:lnTo>
                      <a:pt x="54" y="2550"/>
                    </a:lnTo>
                    <a:lnTo>
                      <a:pt x="48" y="2550"/>
                    </a:lnTo>
                    <a:lnTo>
                      <a:pt x="48" y="2544"/>
                    </a:lnTo>
                    <a:lnTo>
                      <a:pt x="48" y="2532"/>
                    </a:lnTo>
                    <a:lnTo>
                      <a:pt x="48" y="2526"/>
                    </a:lnTo>
                    <a:lnTo>
                      <a:pt x="54" y="2520"/>
                    </a:lnTo>
                    <a:lnTo>
                      <a:pt x="60" y="2514"/>
                    </a:lnTo>
                    <a:lnTo>
                      <a:pt x="66" y="2508"/>
                    </a:lnTo>
                    <a:lnTo>
                      <a:pt x="72" y="2508"/>
                    </a:lnTo>
                    <a:lnTo>
                      <a:pt x="72" y="2502"/>
                    </a:lnTo>
                    <a:lnTo>
                      <a:pt x="72" y="2496"/>
                    </a:lnTo>
                    <a:lnTo>
                      <a:pt x="72" y="2490"/>
                    </a:lnTo>
                    <a:lnTo>
                      <a:pt x="72" y="2484"/>
                    </a:lnTo>
                    <a:lnTo>
                      <a:pt x="72" y="2472"/>
                    </a:lnTo>
                    <a:lnTo>
                      <a:pt x="72" y="2466"/>
                    </a:lnTo>
                    <a:lnTo>
                      <a:pt x="72" y="2460"/>
                    </a:lnTo>
                    <a:lnTo>
                      <a:pt x="78" y="2460"/>
                    </a:lnTo>
                    <a:lnTo>
                      <a:pt x="78" y="2454"/>
                    </a:lnTo>
                    <a:lnTo>
                      <a:pt x="78" y="2448"/>
                    </a:lnTo>
                    <a:lnTo>
                      <a:pt x="84" y="2448"/>
                    </a:lnTo>
                    <a:lnTo>
                      <a:pt x="84" y="2442"/>
                    </a:lnTo>
                    <a:lnTo>
                      <a:pt x="90" y="2442"/>
                    </a:lnTo>
                    <a:lnTo>
                      <a:pt x="96" y="2436"/>
                    </a:lnTo>
                    <a:lnTo>
                      <a:pt x="96" y="2430"/>
                    </a:lnTo>
                    <a:lnTo>
                      <a:pt x="102" y="2430"/>
                    </a:lnTo>
                    <a:lnTo>
                      <a:pt x="102" y="2424"/>
                    </a:lnTo>
                    <a:lnTo>
                      <a:pt x="108" y="2418"/>
                    </a:lnTo>
                    <a:lnTo>
                      <a:pt x="108" y="2406"/>
                    </a:lnTo>
                    <a:lnTo>
                      <a:pt x="114" y="2400"/>
                    </a:lnTo>
                    <a:lnTo>
                      <a:pt x="114" y="2394"/>
                    </a:lnTo>
                    <a:lnTo>
                      <a:pt x="108" y="2388"/>
                    </a:lnTo>
                    <a:lnTo>
                      <a:pt x="108" y="2382"/>
                    </a:lnTo>
                    <a:lnTo>
                      <a:pt x="108" y="2376"/>
                    </a:lnTo>
                    <a:lnTo>
                      <a:pt x="102" y="2364"/>
                    </a:lnTo>
                    <a:lnTo>
                      <a:pt x="90" y="2346"/>
                    </a:lnTo>
                    <a:lnTo>
                      <a:pt x="84" y="2340"/>
                    </a:lnTo>
                    <a:lnTo>
                      <a:pt x="78" y="2334"/>
                    </a:lnTo>
                    <a:lnTo>
                      <a:pt x="78" y="2328"/>
                    </a:lnTo>
                    <a:lnTo>
                      <a:pt x="72" y="2328"/>
                    </a:lnTo>
                    <a:lnTo>
                      <a:pt x="66" y="2322"/>
                    </a:lnTo>
                    <a:lnTo>
                      <a:pt x="66" y="2316"/>
                    </a:lnTo>
                    <a:lnTo>
                      <a:pt x="66" y="2310"/>
                    </a:lnTo>
                    <a:lnTo>
                      <a:pt x="72" y="2304"/>
                    </a:lnTo>
                    <a:lnTo>
                      <a:pt x="72" y="2298"/>
                    </a:lnTo>
                    <a:lnTo>
                      <a:pt x="72" y="2292"/>
                    </a:lnTo>
                    <a:lnTo>
                      <a:pt x="72" y="2286"/>
                    </a:lnTo>
                    <a:lnTo>
                      <a:pt x="72" y="2280"/>
                    </a:lnTo>
                    <a:lnTo>
                      <a:pt x="72" y="2274"/>
                    </a:lnTo>
                    <a:lnTo>
                      <a:pt x="72" y="2268"/>
                    </a:lnTo>
                    <a:lnTo>
                      <a:pt x="72" y="2262"/>
                    </a:lnTo>
                    <a:lnTo>
                      <a:pt x="72" y="2256"/>
                    </a:lnTo>
                    <a:lnTo>
                      <a:pt x="72" y="2250"/>
                    </a:lnTo>
                    <a:lnTo>
                      <a:pt x="72" y="2244"/>
                    </a:lnTo>
                    <a:lnTo>
                      <a:pt x="78" y="2238"/>
                    </a:lnTo>
                    <a:lnTo>
                      <a:pt x="78" y="2232"/>
                    </a:lnTo>
                    <a:lnTo>
                      <a:pt x="78" y="2226"/>
                    </a:lnTo>
                    <a:lnTo>
                      <a:pt x="84" y="2220"/>
                    </a:lnTo>
                    <a:lnTo>
                      <a:pt x="78" y="2220"/>
                    </a:lnTo>
                    <a:lnTo>
                      <a:pt x="78" y="2214"/>
                    </a:lnTo>
                    <a:lnTo>
                      <a:pt x="78" y="2208"/>
                    </a:lnTo>
                    <a:lnTo>
                      <a:pt x="78" y="2202"/>
                    </a:lnTo>
                    <a:lnTo>
                      <a:pt x="78" y="2196"/>
                    </a:lnTo>
                    <a:lnTo>
                      <a:pt x="84" y="2196"/>
                    </a:lnTo>
                    <a:lnTo>
                      <a:pt x="90" y="2190"/>
                    </a:lnTo>
                    <a:lnTo>
                      <a:pt x="96" y="2190"/>
                    </a:lnTo>
                    <a:lnTo>
                      <a:pt x="102" y="2178"/>
                    </a:lnTo>
                    <a:lnTo>
                      <a:pt x="102" y="2172"/>
                    </a:lnTo>
                    <a:lnTo>
                      <a:pt x="102" y="2166"/>
                    </a:lnTo>
                    <a:lnTo>
                      <a:pt x="102" y="2160"/>
                    </a:lnTo>
                    <a:lnTo>
                      <a:pt x="102" y="2154"/>
                    </a:lnTo>
                    <a:lnTo>
                      <a:pt x="108" y="2148"/>
                    </a:lnTo>
                    <a:lnTo>
                      <a:pt x="114" y="2142"/>
                    </a:lnTo>
                    <a:lnTo>
                      <a:pt x="114" y="2136"/>
                    </a:lnTo>
                    <a:lnTo>
                      <a:pt x="120" y="2130"/>
                    </a:lnTo>
                    <a:lnTo>
                      <a:pt x="126" y="2130"/>
                    </a:lnTo>
                    <a:lnTo>
                      <a:pt x="126" y="2118"/>
                    </a:lnTo>
                    <a:lnTo>
                      <a:pt x="132" y="2118"/>
                    </a:lnTo>
                    <a:lnTo>
                      <a:pt x="132" y="2112"/>
                    </a:lnTo>
                    <a:lnTo>
                      <a:pt x="138" y="2106"/>
                    </a:lnTo>
                    <a:lnTo>
                      <a:pt x="138" y="2100"/>
                    </a:lnTo>
                    <a:lnTo>
                      <a:pt x="138" y="2094"/>
                    </a:lnTo>
                    <a:lnTo>
                      <a:pt x="144" y="2094"/>
                    </a:lnTo>
                    <a:lnTo>
                      <a:pt x="144" y="2088"/>
                    </a:lnTo>
                    <a:lnTo>
                      <a:pt x="150" y="2082"/>
                    </a:lnTo>
                    <a:lnTo>
                      <a:pt x="156" y="2076"/>
                    </a:lnTo>
                    <a:lnTo>
                      <a:pt x="162" y="2070"/>
                    </a:lnTo>
                    <a:lnTo>
                      <a:pt x="168" y="2058"/>
                    </a:lnTo>
                    <a:lnTo>
                      <a:pt x="168" y="2052"/>
                    </a:lnTo>
                    <a:lnTo>
                      <a:pt x="174" y="2040"/>
                    </a:lnTo>
                    <a:lnTo>
                      <a:pt x="174" y="2034"/>
                    </a:lnTo>
                    <a:lnTo>
                      <a:pt x="174" y="2028"/>
                    </a:lnTo>
                    <a:lnTo>
                      <a:pt x="180" y="2022"/>
                    </a:lnTo>
                    <a:lnTo>
                      <a:pt x="186" y="2004"/>
                    </a:lnTo>
                    <a:lnTo>
                      <a:pt x="186" y="1998"/>
                    </a:lnTo>
                    <a:lnTo>
                      <a:pt x="186" y="1992"/>
                    </a:lnTo>
                    <a:lnTo>
                      <a:pt x="186" y="1986"/>
                    </a:lnTo>
                    <a:lnTo>
                      <a:pt x="186" y="1980"/>
                    </a:lnTo>
                    <a:lnTo>
                      <a:pt x="186" y="1974"/>
                    </a:lnTo>
                    <a:lnTo>
                      <a:pt x="192" y="1968"/>
                    </a:lnTo>
                    <a:lnTo>
                      <a:pt x="192" y="1962"/>
                    </a:lnTo>
                    <a:lnTo>
                      <a:pt x="198" y="1956"/>
                    </a:lnTo>
                    <a:lnTo>
                      <a:pt x="204" y="1956"/>
                    </a:lnTo>
                    <a:lnTo>
                      <a:pt x="204" y="1950"/>
                    </a:lnTo>
                    <a:lnTo>
                      <a:pt x="210" y="1950"/>
                    </a:lnTo>
                    <a:lnTo>
                      <a:pt x="216" y="1950"/>
                    </a:lnTo>
                    <a:lnTo>
                      <a:pt x="222" y="1944"/>
                    </a:lnTo>
                    <a:lnTo>
                      <a:pt x="228" y="1944"/>
                    </a:lnTo>
                    <a:lnTo>
                      <a:pt x="234" y="1938"/>
                    </a:lnTo>
                    <a:lnTo>
                      <a:pt x="234" y="1932"/>
                    </a:lnTo>
                    <a:lnTo>
                      <a:pt x="234" y="1926"/>
                    </a:lnTo>
                    <a:lnTo>
                      <a:pt x="234" y="1920"/>
                    </a:lnTo>
                    <a:lnTo>
                      <a:pt x="234" y="1914"/>
                    </a:lnTo>
                    <a:lnTo>
                      <a:pt x="234" y="1908"/>
                    </a:lnTo>
                    <a:lnTo>
                      <a:pt x="234" y="1902"/>
                    </a:lnTo>
                    <a:lnTo>
                      <a:pt x="234" y="1890"/>
                    </a:lnTo>
                    <a:lnTo>
                      <a:pt x="228" y="1884"/>
                    </a:lnTo>
                    <a:lnTo>
                      <a:pt x="228" y="1878"/>
                    </a:lnTo>
                    <a:lnTo>
                      <a:pt x="228" y="1866"/>
                    </a:lnTo>
                    <a:lnTo>
                      <a:pt x="228" y="1860"/>
                    </a:lnTo>
                    <a:lnTo>
                      <a:pt x="228" y="1848"/>
                    </a:lnTo>
                    <a:lnTo>
                      <a:pt x="228" y="1842"/>
                    </a:lnTo>
                    <a:lnTo>
                      <a:pt x="228" y="1836"/>
                    </a:lnTo>
                    <a:lnTo>
                      <a:pt x="234" y="1830"/>
                    </a:lnTo>
                    <a:lnTo>
                      <a:pt x="234" y="1824"/>
                    </a:lnTo>
                    <a:lnTo>
                      <a:pt x="240" y="1818"/>
                    </a:lnTo>
                    <a:lnTo>
                      <a:pt x="240" y="1812"/>
                    </a:lnTo>
                    <a:lnTo>
                      <a:pt x="240" y="1806"/>
                    </a:lnTo>
                    <a:lnTo>
                      <a:pt x="246" y="1788"/>
                    </a:lnTo>
                    <a:lnTo>
                      <a:pt x="252" y="1782"/>
                    </a:lnTo>
                    <a:lnTo>
                      <a:pt x="252" y="1776"/>
                    </a:lnTo>
                    <a:lnTo>
                      <a:pt x="258" y="1770"/>
                    </a:lnTo>
                    <a:lnTo>
                      <a:pt x="258" y="1758"/>
                    </a:lnTo>
                    <a:lnTo>
                      <a:pt x="258" y="1746"/>
                    </a:lnTo>
                    <a:lnTo>
                      <a:pt x="258" y="1740"/>
                    </a:lnTo>
                    <a:lnTo>
                      <a:pt x="264" y="1734"/>
                    </a:lnTo>
                    <a:lnTo>
                      <a:pt x="264" y="1728"/>
                    </a:lnTo>
                    <a:lnTo>
                      <a:pt x="264" y="1722"/>
                    </a:lnTo>
                    <a:lnTo>
                      <a:pt x="264" y="1716"/>
                    </a:lnTo>
                    <a:lnTo>
                      <a:pt x="264" y="1710"/>
                    </a:lnTo>
                    <a:lnTo>
                      <a:pt x="270" y="1710"/>
                    </a:lnTo>
                    <a:lnTo>
                      <a:pt x="276" y="1704"/>
                    </a:lnTo>
                    <a:lnTo>
                      <a:pt x="282" y="1704"/>
                    </a:lnTo>
                    <a:lnTo>
                      <a:pt x="288" y="1698"/>
                    </a:lnTo>
                    <a:lnTo>
                      <a:pt x="294" y="1698"/>
                    </a:lnTo>
                    <a:lnTo>
                      <a:pt x="294" y="1686"/>
                    </a:lnTo>
                    <a:lnTo>
                      <a:pt x="300" y="1680"/>
                    </a:lnTo>
                    <a:lnTo>
                      <a:pt x="300" y="1674"/>
                    </a:lnTo>
                    <a:lnTo>
                      <a:pt x="300" y="1662"/>
                    </a:lnTo>
                    <a:lnTo>
                      <a:pt x="294" y="1656"/>
                    </a:lnTo>
                    <a:lnTo>
                      <a:pt x="300" y="1650"/>
                    </a:lnTo>
                    <a:lnTo>
                      <a:pt x="300" y="1638"/>
                    </a:lnTo>
                    <a:lnTo>
                      <a:pt x="300" y="1626"/>
                    </a:lnTo>
                    <a:lnTo>
                      <a:pt x="300" y="1620"/>
                    </a:lnTo>
                    <a:lnTo>
                      <a:pt x="300" y="1608"/>
                    </a:lnTo>
                    <a:lnTo>
                      <a:pt x="300" y="1602"/>
                    </a:lnTo>
                    <a:lnTo>
                      <a:pt x="300" y="1596"/>
                    </a:lnTo>
                    <a:lnTo>
                      <a:pt x="294" y="1596"/>
                    </a:lnTo>
                    <a:lnTo>
                      <a:pt x="300" y="1584"/>
                    </a:lnTo>
                    <a:lnTo>
                      <a:pt x="300" y="1578"/>
                    </a:lnTo>
                    <a:lnTo>
                      <a:pt x="306" y="1572"/>
                    </a:lnTo>
                    <a:lnTo>
                      <a:pt x="312" y="1566"/>
                    </a:lnTo>
                    <a:lnTo>
                      <a:pt x="318" y="1554"/>
                    </a:lnTo>
                    <a:lnTo>
                      <a:pt x="324" y="1548"/>
                    </a:lnTo>
                    <a:lnTo>
                      <a:pt x="330" y="1536"/>
                    </a:lnTo>
                    <a:lnTo>
                      <a:pt x="330" y="1530"/>
                    </a:lnTo>
                    <a:lnTo>
                      <a:pt x="330" y="1524"/>
                    </a:lnTo>
                    <a:lnTo>
                      <a:pt x="330" y="1518"/>
                    </a:lnTo>
                    <a:lnTo>
                      <a:pt x="336" y="1512"/>
                    </a:lnTo>
                    <a:lnTo>
                      <a:pt x="342" y="1506"/>
                    </a:lnTo>
                    <a:lnTo>
                      <a:pt x="348" y="1506"/>
                    </a:lnTo>
                    <a:lnTo>
                      <a:pt x="354" y="1500"/>
                    </a:lnTo>
                    <a:lnTo>
                      <a:pt x="360" y="1494"/>
                    </a:lnTo>
                    <a:lnTo>
                      <a:pt x="366" y="1494"/>
                    </a:lnTo>
                    <a:lnTo>
                      <a:pt x="372" y="1488"/>
                    </a:lnTo>
                    <a:lnTo>
                      <a:pt x="378" y="1488"/>
                    </a:lnTo>
                    <a:lnTo>
                      <a:pt x="384" y="1482"/>
                    </a:lnTo>
                    <a:lnTo>
                      <a:pt x="390" y="1476"/>
                    </a:lnTo>
                    <a:lnTo>
                      <a:pt x="396" y="1470"/>
                    </a:lnTo>
                    <a:lnTo>
                      <a:pt x="396" y="1464"/>
                    </a:lnTo>
                    <a:lnTo>
                      <a:pt x="402" y="1458"/>
                    </a:lnTo>
                    <a:lnTo>
                      <a:pt x="408" y="1452"/>
                    </a:lnTo>
                    <a:lnTo>
                      <a:pt x="414" y="1446"/>
                    </a:lnTo>
                    <a:lnTo>
                      <a:pt x="420" y="1446"/>
                    </a:lnTo>
                    <a:lnTo>
                      <a:pt x="420" y="1440"/>
                    </a:lnTo>
                    <a:lnTo>
                      <a:pt x="426" y="1434"/>
                    </a:lnTo>
                    <a:lnTo>
                      <a:pt x="432" y="1428"/>
                    </a:lnTo>
                    <a:lnTo>
                      <a:pt x="438" y="1416"/>
                    </a:lnTo>
                    <a:lnTo>
                      <a:pt x="444" y="1416"/>
                    </a:lnTo>
                    <a:lnTo>
                      <a:pt x="444" y="1410"/>
                    </a:lnTo>
                    <a:lnTo>
                      <a:pt x="450" y="1404"/>
                    </a:lnTo>
                    <a:lnTo>
                      <a:pt x="450" y="1398"/>
                    </a:lnTo>
                    <a:lnTo>
                      <a:pt x="450" y="1392"/>
                    </a:lnTo>
                    <a:lnTo>
                      <a:pt x="450" y="1386"/>
                    </a:lnTo>
                    <a:lnTo>
                      <a:pt x="450" y="1380"/>
                    </a:lnTo>
                    <a:lnTo>
                      <a:pt x="450" y="1374"/>
                    </a:lnTo>
                    <a:lnTo>
                      <a:pt x="450" y="1368"/>
                    </a:lnTo>
                    <a:lnTo>
                      <a:pt x="450" y="1362"/>
                    </a:lnTo>
                    <a:lnTo>
                      <a:pt x="456" y="1362"/>
                    </a:lnTo>
                    <a:lnTo>
                      <a:pt x="462" y="1356"/>
                    </a:lnTo>
                    <a:lnTo>
                      <a:pt x="468" y="1356"/>
                    </a:lnTo>
                    <a:lnTo>
                      <a:pt x="474" y="1356"/>
                    </a:lnTo>
                    <a:lnTo>
                      <a:pt x="480" y="1362"/>
                    </a:lnTo>
                    <a:lnTo>
                      <a:pt x="486" y="1362"/>
                    </a:lnTo>
                    <a:lnTo>
                      <a:pt x="492" y="1356"/>
                    </a:lnTo>
                    <a:lnTo>
                      <a:pt x="498" y="1356"/>
                    </a:lnTo>
                    <a:lnTo>
                      <a:pt x="498" y="1350"/>
                    </a:lnTo>
                    <a:lnTo>
                      <a:pt x="504" y="1344"/>
                    </a:lnTo>
                    <a:lnTo>
                      <a:pt x="504" y="1338"/>
                    </a:lnTo>
                    <a:lnTo>
                      <a:pt x="504" y="1332"/>
                    </a:lnTo>
                    <a:lnTo>
                      <a:pt x="504" y="1326"/>
                    </a:lnTo>
                    <a:lnTo>
                      <a:pt x="510" y="1320"/>
                    </a:lnTo>
                    <a:lnTo>
                      <a:pt x="516" y="1320"/>
                    </a:lnTo>
                    <a:lnTo>
                      <a:pt x="522" y="1320"/>
                    </a:lnTo>
                    <a:lnTo>
                      <a:pt x="528" y="1320"/>
                    </a:lnTo>
                    <a:lnTo>
                      <a:pt x="534" y="1320"/>
                    </a:lnTo>
                    <a:lnTo>
                      <a:pt x="540" y="1320"/>
                    </a:lnTo>
                    <a:lnTo>
                      <a:pt x="546" y="1314"/>
                    </a:lnTo>
                    <a:lnTo>
                      <a:pt x="552" y="1308"/>
                    </a:lnTo>
                    <a:lnTo>
                      <a:pt x="558" y="1308"/>
                    </a:lnTo>
                    <a:lnTo>
                      <a:pt x="558" y="1302"/>
                    </a:lnTo>
                    <a:lnTo>
                      <a:pt x="564" y="1296"/>
                    </a:lnTo>
                    <a:lnTo>
                      <a:pt x="570" y="1290"/>
                    </a:lnTo>
                    <a:lnTo>
                      <a:pt x="570" y="1284"/>
                    </a:lnTo>
                    <a:lnTo>
                      <a:pt x="576" y="1278"/>
                    </a:lnTo>
                    <a:lnTo>
                      <a:pt x="576" y="1272"/>
                    </a:lnTo>
                    <a:lnTo>
                      <a:pt x="576" y="1266"/>
                    </a:lnTo>
                    <a:lnTo>
                      <a:pt x="582" y="1260"/>
                    </a:lnTo>
                    <a:lnTo>
                      <a:pt x="582" y="1254"/>
                    </a:lnTo>
                    <a:lnTo>
                      <a:pt x="582" y="1248"/>
                    </a:lnTo>
                    <a:lnTo>
                      <a:pt x="588" y="1242"/>
                    </a:lnTo>
                    <a:lnTo>
                      <a:pt x="588" y="1236"/>
                    </a:lnTo>
                    <a:lnTo>
                      <a:pt x="588" y="1230"/>
                    </a:lnTo>
                    <a:lnTo>
                      <a:pt x="594" y="1218"/>
                    </a:lnTo>
                    <a:lnTo>
                      <a:pt x="594" y="1212"/>
                    </a:lnTo>
                    <a:lnTo>
                      <a:pt x="594" y="1206"/>
                    </a:lnTo>
                    <a:lnTo>
                      <a:pt x="600" y="1200"/>
                    </a:lnTo>
                    <a:lnTo>
                      <a:pt x="600" y="1194"/>
                    </a:lnTo>
                    <a:lnTo>
                      <a:pt x="606" y="1188"/>
                    </a:lnTo>
                    <a:lnTo>
                      <a:pt x="612" y="1182"/>
                    </a:lnTo>
                    <a:lnTo>
                      <a:pt x="612" y="1176"/>
                    </a:lnTo>
                    <a:lnTo>
                      <a:pt x="612" y="1170"/>
                    </a:lnTo>
                    <a:lnTo>
                      <a:pt x="618" y="1164"/>
                    </a:lnTo>
                    <a:lnTo>
                      <a:pt x="624" y="1158"/>
                    </a:lnTo>
                    <a:lnTo>
                      <a:pt x="624" y="1152"/>
                    </a:lnTo>
                    <a:lnTo>
                      <a:pt x="630" y="1146"/>
                    </a:lnTo>
                    <a:lnTo>
                      <a:pt x="636" y="1140"/>
                    </a:lnTo>
                    <a:lnTo>
                      <a:pt x="642" y="1134"/>
                    </a:lnTo>
                    <a:lnTo>
                      <a:pt x="642" y="1128"/>
                    </a:lnTo>
                    <a:lnTo>
                      <a:pt x="648" y="1128"/>
                    </a:lnTo>
                    <a:lnTo>
                      <a:pt x="648" y="1122"/>
                    </a:lnTo>
                    <a:lnTo>
                      <a:pt x="654" y="1116"/>
                    </a:lnTo>
                    <a:lnTo>
                      <a:pt x="654" y="1110"/>
                    </a:lnTo>
                    <a:lnTo>
                      <a:pt x="660" y="1104"/>
                    </a:lnTo>
                    <a:lnTo>
                      <a:pt x="666" y="1098"/>
                    </a:lnTo>
                    <a:lnTo>
                      <a:pt x="666" y="1092"/>
                    </a:lnTo>
                    <a:lnTo>
                      <a:pt x="672" y="1092"/>
                    </a:lnTo>
                    <a:lnTo>
                      <a:pt x="678" y="1092"/>
                    </a:lnTo>
                    <a:lnTo>
                      <a:pt x="684" y="1092"/>
                    </a:lnTo>
                    <a:lnTo>
                      <a:pt x="690" y="1086"/>
                    </a:lnTo>
                    <a:lnTo>
                      <a:pt x="696" y="1086"/>
                    </a:lnTo>
                    <a:lnTo>
                      <a:pt x="708" y="1074"/>
                    </a:lnTo>
                    <a:lnTo>
                      <a:pt x="720" y="1068"/>
                    </a:lnTo>
                    <a:lnTo>
                      <a:pt x="732" y="1056"/>
                    </a:lnTo>
                    <a:lnTo>
                      <a:pt x="738" y="1050"/>
                    </a:lnTo>
                    <a:lnTo>
                      <a:pt x="744" y="1044"/>
                    </a:lnTo>
                    <a:lnTo>
                      <a:pt x="744" y="1038"/>
                    </a:lnTo>
                    <a:lnTo>
                      <a:pt x="750" y="1026"/>
                    </a:lnTo>
                    <a:lnTo>
                      <a:pt x="756" y="1020"/>
                    </a:lnTo>
                    <a:lnTo>
                      <a:pt x="756" y="1014"/>
                    </a:lnTo>
                    <a:lnTo>
                      <a:pt x="756" y="1008"/>
                    </a:lnTo>
                    <a:lnTo>
                      <a:pt x="756" y="1002"/>
                    </a:lnTo>
                    <a:lnTo>
                      <a:pt x="756" y="996"/>
                    </a:lnTo>
                    <a:lnTo>
                      <a:pt x="756" y="990"/>
                    </a:lnTo>
                    <a:lnTo>
                      <a:pt x="762" y="978"/>
                    </a:lnTo>
                    <a:lnTo>
                      <a:pt x="768" y="966"/>
                    </a:lnTo>
                    <a:lnTo>
                      <a:pt x="774" y="954"/>
                    </a:lnTo>
                    <a:lnTo>
                      <a:pt x="780" y="948"/>
                    </a:lnTo>
                    <a:lnTo>
                      <a:pt x="786" y="942"/>
                    </a:lnTo>
                    <a:lnTo>
                      <a:pt x="792" y="936"/>
                    </a:lnTo>
                    <a:lnTo>
                      <a:pt x="804" y="924"/>
                    </a:lnTo>
                    <a:lnTo>
                      <a:pt x="804" y="918"/>
                    </a:lnTo>
                    <a:lnTo>
                      <a:pt x="810" y="912"/>
                    </a:lnTo>
                    <a:lnTo>
                      <a:pt x="810" y="906"/>
                    </a:lnTo>
                    <a:lnTo>
                      <a:pt x="816" y="870"/>
                    </a:lnTo>
                    <a:lnTo>
                      <a:pt x="822" y="852"/>
                    </a:lnTo>
                    <a:lnTo>
                      <a:pt x="822" y="840"/>
                    </a:lnTo>
                    <a:lnTo>
                      <a:pt x="822" y="834"/>
                    </a:lnTo>
                    <a:lnTo>
                      <a:pt x="822" y="828"/>
                    </a:lnTo>
                    <a:lnTo>
                      <a:pt x="816" y="822"/>
                    </a:lnTo>
                    <a:lnTo>
                      <a:pt x="822" y="816"/>
                    </a:lnTo>
                    <a:lnTo>
                      <a:pt x="822" y="810"/>
                    </a:lnTo>
                    <a:lnTo>
                      <a:pt x="828" y="804"/>
                    </a:lnTo>
                    <a:lnTo>
                      <a:pt x="834" y="792"/>
                    </a:lnTo>
                    <a:lnTo>
                      <a:pt x="834" y="780"/>
                    </a:lnTo>
                    <a:lnTo>
                      <a:pt x="834" y="774"/>
                    </a:lnTo>
                    <a:lnTo>
                      <a:pt x="840" y="774"/>
                    </a:lnTo>
                    <a:lnTo>
                      <a:pt x="846" y="768"/>
                    </a:lnTo>
                    <a:lnTo>
                      <a:pt x="846" y="762"/>
                    </a:lnTo>
                    <a:lnTo>
                      <a:pt x="852" y="756"/>
                    </a:lnTo>
                    <a:lnTo>
                      <a:pt x="852" y="750"/>
                    </a:lnTo>
                    <a:lnTo>
                      <a:pt x="852" y="744"/>
                    </a:lnTo>
                    <a:lnTo>
                      <a:pt x="846" y="744"/>
                    </a:lnTo>
                    <a:lnTo>
                      <a:pt x="840" y="744"/>
                    </a:lnTo>
                    <a:lnTo>
                      <a:pt x="840" y="750"/>
                    </a:lnTo>
                    <a:lnTo>
                      <a:pt x="834" y="750"/>
                    </a:lnTo>
                    <a:lnTo>
                      <a:pt x="834" y="744"/>
                    </a:lnTo>
                    <a:lnTo>
                      <a:pt x="834" y="738"/>
                    </a:lnTo>
                    <a:lnTo>
                      <a:pt x="840" y="732"/>
                    </a:lnTo>
                    <a:lnTo>
                      <a:pt x="840" y="726"/>
                    </a:lnTo>
                    <a:lnTo>
                      <a:pt x="846" y="726"/>
                    </a:lnTo>
                    <a:lnTo>
                      <a:pt x="846" y="720"/>
                    </a:lnTo>
                    <a:lnTo>
                      <a:pt x="852" y="714"/>
                    </a:lnTo>
                    <a:lnTo>
                      <a:pt x="858" y="714"/>
                    </a:lnTo>
                    <a:lnTo>
                      <a:pt x="858" y="708"/>
                    </a:lnTo>
                    <a:lnTo>
                      <a:pt x="870" y="702"/>
                    </a:lnTo>
                    <a:lnTo>
                      <a:pt x="876" y="696"/>
                    </a:lnTo>
                    <a:lnTo>
                      <a:pt x="882" y="696"/>
                    </a:lnTo>
                    <a:lnTo>
                      <a:pt x="888" y="690"/>
                    </a:lnTo>
                    <a:lnTo>
                      <a:pt x="888" y="684"/>
                    </a:lnTo>
                    <a:lnTo>
                      <a:pt x="894" y="678"/>
                    </a:lnTo>
                    <a:lnTo>
                      <a:pt x="900" y="672"/>
                    </a:lnTo>
                    <a:lnTo>
                      <a:pt x="906" y="666"/>
                    </a:lnTo>
                    <a:lnTo>
                      <a:pt x="912" y="666"/>
                    </a:lnTo>
                    <a:lnTo>
                      <a:pt x="918" y="666"/>
                    </a:lnTo>
                    <a:lnTo>
                      <a:pt x="918" y="660"/>
                    </a:lnTo>
                    <a:lnTo>
                      <a:pt x="924" y="660"/>
                    </a:lnTo>
                    <a:lnTo>
                      <a:pt x="924" y="654"/>
                    </a:lnTo>
                    <a:lnTo>
                      <a:pt x="930" y="654"/>
                    </a:lnTo>
                    <a:lnTo>
                      <a:pt x="930" y="648"/>
                    </a:lnTo>
                    <a:lnTo>
                      <a:pt x="930" y="642"/>
                    </a:lnTo>
                    <a:lnTo>
                      <a:pt x="924" y="636"/>
                    </a:lnTo>
                    <a:lnTo>
                      <a:pt x="918" y="630"/>
                    </a:lnTo>
                    <a:lnTo>
                      <a:pt x="912" y="630"/>
                    </a:lnTo>
                    <a:lnTo>
                      <a:pt x="906" y="630"/>
                    </a:lnTo>
                    <a:lnTo>
                      <a:pt x="900" y="624"/>
                    </a:lnTo>
                    <a:lnTo>
                      <a:pt x="900" y="618"/>
                    </a:lnTo>
                    <a:lnTo>
                      <a:pt x="894" y="618"/>
                    </a:lnTo>
                    <a:lnTo>
                      <a:pt x="894" y="612"/>
                    </a:lnTo>
                    <a:lnTo>
                      <a:pt x="894" y="606"/>
                    </a:lnTo>
                    <a:lnTo>
                      <a:pt x="900" y="600"/>
                    </a:lnTo>
                    <a:lnTo>
                      <a:pt x="906" y="594"/>
                    </a:lnTo>
                    <a:lnTo>
                      <a:pt x="912" y="588"/>
                    </a:lnTo>
                    <a:lnTo>
                      <a:pt x="918" y="588"/>
                    </a:lnTo>
                    <a:lnTo>
                      <a:pt x="918" y="582"/>
                    </a:lnTo>
                    <a:lnTo>
                      <a:pt x="924" y="582"/>
                    </a:lnTo>
                    <a:lnTo>
                      <a:pt x="930" y="576"/>
                    </a:lnTo>
                    <a:lnTo>
                      <a:pt x="930" y="570"/>
                    </a:lnTo>
                    <a:lnTo>
                      <a:pt x="930" y="564"/>
                    </a:lnTo>
                    <a:lnTo>
                      <a:pt x="936" y="564"/>
                    </a:lnTo>
                    <a:lnTo>
                      <a:pt x="936" y="558"/>
                    </a:lnTo>
                    <a:lnTo>
                      <a:pt x="936" y="552"/>
                    </a:lnTo>
                    <a:lnTo>
                      <a:pt x="942" y="546"/>
                    </a:lnTo>
                    <a:lnTo>
                      <a:pt x="942" y="534"/>
                    </a:lnTo>
                    <a:lnTo>
                      <a:pt x="942" y="522"/>
                    </a:lnTo>
                    <a:lnTo>
                      <a:pt x="936" y="528"/>
                    </a:lnTo>
                    <a:lnTo>
                      <a:pt x="930" y="528"/>
                    </a:lnTo>
                    <a:lnTo>
                      <a:pt x="930" y="534"/>
                    </a:lnTo>
                    <a:lnTo>
                      <a:pt x="924" y="540"/>
                    </a:lnTo>
                    <a:lnTo>
                      <a:pt x="918" y="546"/>
                    </a:lnTo>
                    <a:lnTo>
                      <a:pt x="912" y="546"/>
                    </a:lnTo>
                    <a:lnTo>
                      <a:pt x="912" y="540"/>
                    </a:lnTo>
                    <a:lnTo>
                      <a:pt x="906" y="540"/>
                    </a:lnTo>
                    <a:lnTo>
                      <a:pt x="906" y="534"/>
                    </a:lnTo>
                    <a:lnTo>
                      <a:pt x="906" y="528"/>
                    </a:lnTo>
                    <a:lnTo>
                      <a:pt x="912" y="528"/>
                    </a:lnTo>
                    <a:lnTo>
                      <a:pt x="912" y="522"/>
                    </a:lnTo>
                    <a:lnTo>
                      <a:pt x="918" y="522"/>
                    </a:lnTo>
                    <a:lnTo>
                      <a:pt x="924" y="522"/>
                    </a:lnTo>
                    <a:lnTo>
                      <a:pt x="936" y="510"/>
                    </a:lnTo>
                    <a:lnTo>
                      <a:pt x="936" y="504"/>
                    </a:lnTo>
                    <a:lnTo>
                      <a:pt x="936" y="498"/>
                    </a:lnTo>
                    <a:lnTo>
                      <a:pt x="942" y="492"/>
                    </a:lnTo>
                    <a:lnTo>
                      <a:pt x="942" y="486"/>
                    </a:lnTo>
                    <a:lnTo>
                      <a:pt x="942" y="480"/>
                    </a:lnTo>
                    <a:lnTo>
                      <a:pt x="948" y="474"/>
                    </a:lnTo>
                    <a:lnTo>
                      <a:pt x="948" y="468"/>
                    </a:lnTo>
                    <a:lnTo>
                      <a:pt x="948" y="462"/>
                    </a:lnTo>
                    <a:lnTo>
                      <a:pt x="948" y="456"/>
                    </a:lnTo>
                    <a:lnTo>
                      <a:pt x="942" y="456"/>
                    </a:lnTo>
                    <a:lnTo>
                      <a:pt x="942" y="450"/>
                    </a:lnTo>
                    <a:lnTo>
                      <a:pt x="930" y="450"/>
                    </a:lnTo>
                    <a:lnTo>
                      <a:pt x="924" y="450"/>
                    </a:lnTo>
                    <a:lnTo>
                      <a:pt x="918" y="450"/>
                    </a:lnTo>
                    <a:lnTo>
                      <a:pt x="912" y="450"/>
                    </a:lnTo>
                    <a:lnTo>
                      <a:pt x="906" y="450"/>
                    </a:lnTo>
                    <a:lnTo>
                      <a:pt x="900" y="450"/>
                    </a:lnTo>
                    <a:lnTo>
                      <a:pt x="894" y="444"/>
                    </a:lnTo>
                    <a:lnTo>
                      <a:pt x="894" y="438"/>
                    </a:lnTo>
                    <a:lnTo>
                      <a:pt x="894" y="432"/>
                    </a:lnTo>
                    <a:lnTo>
                      <a:pt x="894" y="426"/>
                    </a:lnTo>
                    <a:lnTo>
                      <a:pt x="900" y="426"/>
                    </a:lnTo>
                    <a:lnTo>
                      <a:pt x="906" y="426"/>
                    </a:lnTo>
                    <a:lnTo>
                      <a:pt x="906" y="420"/>
                    </a:lnTo>
                    <a:lnTo>
                      <a:pt x="912" y="420"/>
                    </a:lnTo>
                    <a:lnTo>
                      <a:pt x="912" y="414"/>
                    </a:lnTo>
                    <a:lnTo>
                      <a:pt x="912" y="408"/>
                    </a:lnTo>
                    <a:lnTo>
                      <a:pt x="906" y="408"/>
                    </a:lnTo>
                    <a:lnTo>
                      <a:pt x="906" y="402"/>
                    </a:lnTo>
                    <a:lnTo>
                      <a:pt x="900" y="396"/>
                    </a:lnTo>
                    <a:lnTo>
                      <a:pt x="894" y="390"/>
                    </a:lnTo>
                    <a:lnTo>
                      <a:pt x="894" y="384"/>
                    </a:lnTo>
                    <a:lnTo>
                      <a:pt x="894" y="378"/>
                    </a:lnTo>
                    <a:lnTo>
                      <a:pt x="894" y="372"/>
                    </a:lnTo>
                    <a:lnTo>
                      <a:pt x="888" y="366"/>
                    </a:lnTo>
                    <a:lnTo>
                      <a:pt x="888" y="360"/>
                    </a:lnTo>
                    <a:lnTo>
                      <a:pt x="882" y="336"/>
                    </a:lnTo>
                    <a:lnTo>
                      <a:pt x="876" y="318"/>
                    </a:lnTo>
                    <a:lnTo>
                      <a:pt x="876" y="312"/>
                    </a:lnTo>
                    <a:lnTo>
                      <a:pt x="876" y="306"/>
                    </a:lnTo>
                    <a:lnTo>
                      <a:pt x="870" y="300"/>
                    </a:lnTo>
                    <a:lnTo>
                      <a:pt x="870" y="294"/>
                    </a:lnTo>
                    <a:lnTo>
                      <a:pt x="870" y="288"/>
                    </a:lnTo>
                    <a:lnTo>
                      <a:pt x="876" y="282"/>
                    </a:lnTo>
                    <a:lnTo>
                      <a:pt x="876" y="276"/>
                    </a:lnTo>
                    <a:lnTo>
                      <a:pt x="882" y="270"/>
                    </a:lnTo>
                    <a:lnTo>
                      <a:pt x="882" y="264"/>
                    </a:lnTo>
                    <a:lnTo>
                      <a:pt x="876" y="264"/>
                    </a:lnTo>
                    <a:lnTo>
                      <a:pt x="882" y="264"/>
                    </a:lnTo>
                    <a:lnTo>
                      <a:pt x="888" y="258"/>
                    </a:lnTo>
                    <a:lnTo>
                      <a:pt x="894" y="264"/>
                    </a:lnTo>
                    <a:lnTo>
                      <a:pt x="894" y="258"/>
                    </a:lnTo>
                    <a:lnTo>
                      <a:pt x="894" y="252"/>
                    </a:lnTo>
                    <a:lnTo>
                      <a:pt x="900" y="252"/>
                    </a:lnTo>
                    <a:lnTo>
                      <a:pt x="906" y="252"/>
                    </a:lnTo>
                    <a:lnTo>
                      <a:pt x="912" y="252"/>
                    </a:lnTo>
                    <a:lnTo>
                      <a:pt x="918" y="258"/>
                    </a:lnTo>
                    <a:lnTo>
                      <a:pt x="924" y="264"/>
                    </a:lnTo>
                    <a:lnTo>
                      <a:pt x="930" y="270"/>
                    </a:lnTo>
                    <a:lnTo>
                      <a:pt x="930" y="276"/>
                    </a:lnTo>
                    <a:lnTo>
                      <a:pt x="942" y="276"/>
                    </a:lnTo>
                    <a:lnTo>
                      <a:pt x="942" y="282"/>
                    </a:lnTo>
                    <a:lnTo>
                      <a:pt x="948" y="282"/>
                    </a:lnTo>
                    <a:lnTo>
                      <a:pt x="960" y="300"/>
                    </a:lnTo>
                    <a:lnTo>
                      <a:pt x="966" y="312"/>
                    </a:lnTo>
                    <a:lnTo>
                      <a:pt x="972" y="330"/>
                    </a:lnTo>
                    <a:lnTo>
                      <a:pt x="978" y="336"/>
                    </a:lnTo>
                    <a:lnTo>
                      <a:pt x="990" y="342"/>
                    </a:lnTo>
                    <a:lnTo>
                      <a:pt x="990" y="348"/>
                    </a:lnTo>
                    <a:lnTo>
                      <a:pt x="996" y="348"/>
                    </a:lnTo>
                    <a:lnTo>
                      <a:pt x="1002" y="348"/>
                    </a:lnTo>
                    <a:lnTo>
                      <a:pt x="1002" y="354"/>
                    </a:lnTo>
                    <a:lnTo>
                      <a:pt x="1008" y="348"/>
                    </a:lnTo>
                    <a:lnTo>
                      <a:pt x="1014" y="348"/>
                    </a:lnTo>
                    <a:lnTo>
                      <a:pt x="1020" y="348"/>
                    </a:lnTo>
                    <a:lnTo>
                      <a:pt x="1026" y="348"/>
                    </a:lnTo>
                    <a:lnTo>
                      <a:pt x="1026" y="342"/>
                    </a:lnTo>
                    <a:lnTo>
                      <a:pt x="1026" y="336"/>
                    </a:lnTo>
                    <a:lnTo>
                      <a:pt x="1032" y="336"/>
                    </a:lnTo>
                    <a:lnTo>
                      <a:pt x="1038" y="336"/>
                    </a:lnTo>
                    <a:lnTo>
                      <a:pt x="1038" y="342"/>
                    </a:lnTo>
                    <a:lnTo>
                      <a:pt x="1038" y="336"/>
                    </a:lnTo>
                    <a:lnTo>
                      <a:pt x="1038" y="330"/>
                    </a:lnTo>
                    <a:lnTo>
                      <a:pt x="1044" y="324"/>
                    </a:lnTo>
                    <a:lnTo>
                      <a:pt x="1044" y="318"/>
                    </a:lnTo>
                    <a:lnTo>
                      <a:pt x="1050" y="318"/>
                    </a:lnTo>
                    <a:lnTo>
                      <a:pt x="1050" y="312"/>
                    </a:lnTo>
                    <a:lnTo>
                      <a:pt x="1050" y="306"/>
                    </a:lnTo>
                    <a:lnTo>
                      <a:pt x="1044" y="294"/>
                    </a:lnTo>
                    <a:lnTo>
                      <a:pt x="1038" y="282"/>
                    </a:lnTo>
                    <a:lnTo>
                      <a:pt x="1038" y="276"/>
                    </a:lnTo>
                    <a:lnTo>
                      <a:pt x="1038" y="252"/>
                    </a:lnTo>
                    <a:lnTo>
                      <a:pt x="1032" y="252"/>
                    </a:lnTo>
                    <a:lnTo>
                      <a:pt x="1026" y="252"/>
                    </a:lnTo>
                    <a:lnTo>
                      <a:pt x="1026" y="246"/>
                    </a:lnTo>
                    <a:lnTo>
                      <a:pt x="1020" y="246"/>
                    </a:lnTo>
                    <a:lnTo>
                      <a:pt x="1020" y="240"/>
                    </a:lnTo>
                    <a:lnTo>
                      <a:pt x="1032" y="234"/>
                    </a:lnTo>
                    <a:lnTo>
                      <a:pt x="1026" y="228"/>
                    </a:lnTo>
                    <a:lnTo>
                      <a:pt x="1032" y="228"/>
                    </a:lnTo>
                    <a:lnTo>
                      <a:pt x="1050" y="222"/>
                    </a:lnTo>
                    <a:lnTo>
                      <a:pt x="1056" y="222"/>
                    </a:lnTo>
                    <a:lnTo>
                      <a:pt x="1074" y="216"/>
                    </a:lnTo>
                    <a:lnTo>
                      <a:pt x="1080" y="222"/>
                    </a:lnTo>
                    <a:lnTo>
                      <a:pt x="1080" y="216"/>
                    </a:lnTo>
                    <a:lnTo>
                      <a:pt x="1080" y="222"/>
                    </a:lnTo>
                    <a:lnTo>
                      <a:pt x="1080" y="216"/>
                    </a:lnTo>
                    <a:lnTo>
                      <a:pt x="1086" y="216"/>
                    </a:lnTo>
                    <a:lnTo>
                      <a:pt x="1092" y="216"/>
                    </a:lnTo>
                    <a:lnTo>
                      <a:pt x="1098" y="210"/>
                    </a:lnTo>
                    <a:lnTo>
                      <a:pt x="1104" y="210"/>
                    </a:lnTo>
                    <a:lnTo>
                      <a:pt x="1110" y="216"/>
                    </a:lnTo>
                    <a:lnTo>
                      <a:pt x="1116" y="216"/>
                    </a:lnTo>
                    <a:lnTo>
                      <a:pt x="1110" y="216"/>
                    </a:lnTo>
                    <a:lnTo>
                      <a:pt x="1116" y="216"/>
                    </a:lnTo>
                    <a:lnTo>
                      <a:pt x="1116" y="222"/>
                    </a:lnTo>
                    <a:lnTo>
                      <a:pt x="1116" y="216"/>
                    </a:lnTo>
                    <a:lnTo>
                      <a:pt x="1110" y="222"/>
                    </a:lnTo>
                    <a:lnTo>
                      <a:pt x="1110" y="228"/>
                    </a:lnTo>
                    <a:lnTo>
                      <a:pt x="1104" y="222"/>
                    </a:lnTo>
                    <a:lnTo>
                      <a:pt x="1110" y="222"/>
                    </a:lnTo>
                    <a:lnTo>
                      <a:pt x="1104" y="222"/>
                    </a:lnTo>
                    <a:lnTo>
                      <a:pt x="1104" y="228"/>
                    </a:lnTo>
                    <a:lnTo>
                      <a:pt x="1104" y="234"/>
                    </a:lnTo>
                    <a:lnTo>
                      <a:pt x="1110" y="228"/>
                    </a:lnTo>
                    <a:lnTo>
                      <a:pt x="1104" y="228"/>
                    </a:lnTo>
                    <a:lnTo>
                      <a:pt x="1110" y="228"/>
                    </a:lnTo>
                    <a:lnTo>
                      <a:pt x="1110" y="234"/>
                    </a:lnTo>
                    <a:lnTo>
                      <a:pt x="1104" y="234"/>
                    </a:lnTo>
                    <a:lnTo>
                      <a:pt x="1104" y="228"/>
                    </a:lnTo>
                    <a:lnTo>
                      <a:pt x="1104" y="222"/>
                    </a:lnTo>
                    <a:lnTo>
                      <a:pt x="1110" y="222"/>
                    </a:lnTo>
                    <a:lnTo>
                      <a:pt x="1110" y="216"/>
                    </a:lnTo>
                    <a:lnTo>
                      <a:pt x="1104" y="216"/>
                    </a:lnTo>
                    <a:lnTo>
                      <a:pt x="1098" y="216"/>
                    </a:lnTo>
                    <a:lnTo>
                      <a:pt x="1098" y="222"/>
                    </a:lnTo>
                    <a:lnTo>
                      <a:pt x="1092" y="228"/>
                    </a:lnTo>
                    <a:lnTo>
                      <a:pt x="1098" y="228"/>
                    </a:lnTo>
                    <a:lnTo>
                      <a:pt x="1098" y="234"/>
                    </a:lnTo>
                    <a:lnTo>
                      <a:pt x="1104" y="234"/>
                    </a:lnTo>
                    <a:lnTo>
                      <a:pt x="1104" y="240"/>
                    </a:lnTo>
                    <a:lnTo>
                      <a:pt x="1110" y="240"/>
                    </a:lnTo>
                    <a:lnTo>
                      <a:pt x="1110" y="234"/>
                    </a:lnTo>
                    <a:lnTo>
                      <a:pt x="1116" y="240"/>
                    </a:lnTo>
                    <a:lnTo>
                      <a:pt x="1116" y="246"/>
                    </a:lnTo>
                    <a:lnTo>
                      <a:pt x="1116" y="252"/>
                    </a:lnTo>
                    <a:lnTo>
                      <a:pt x="1116" y="258"/>
                    </a:lnTo>
                    <a:lnTo>
                      <a:pt x="1110" y="258"/>
                    </a:lnTo>
                    <a:lnTo>
                      <a:pt x="1104" y="258"/>
                    </a:lnTo>
                    <a:lnTo>
                      <a:pt x="1104" y="264"/>
                    </a:lnTo>
                    <a:lnTo>
                      <a:pt x="1104" y="270"/>
                    </a:lnTo>
                    <a:lnTo>
                      <a:pt x="1104" y="276"/>
                    </a:lnTo>
                    <a:lnTo>
                      <a:pt x="1104" y="282"/>
                    </a:lnTo>
                    <a:lnTo>
                      <a:pt x="1110" y="282"/>
                    </a:lnTo>
                    <a:lnTo>
                      <a:pt x="1104" y="282"/>
                    </a:lnTo>
                    <a:lnTo>
                      <a:pt x="1104" y="288"/>
                    </a:lnTo>
                    <a:lnTo>
                      <a:pt x="1110" y="288"/>
                    </a:lnTo>
                    <a:lnTo>
                      <a:pt x="1110" y="294"/>
                    </a:lnTo>
                    <a:lnTo>
                      <a:pt x="1110" y="300"/>
                    </a:lnTo>
                    <a:lnTo>
                      <a:pt x="1110" y="306"/>
                    </a:lnTo>
                    <a:lnTo>
                      <a:pt x="1116" y="306"/>
                    </a:lnTo>
                    <a:lnTo>
                      <a:pt x="1116" y="312"/>
                    </a:lnTo>
                    <a:lnTo>
                      <a:pt x="1122" y="312"/>
                    </a:lnTo>
                    <a:lnTo>
                      <a:pt x="1122" y="318"/>
                    </a:lnTo>
                    <a:lnTo>
                      <a:pt x="1122" y="324"/>
                    </a:lnTo>
                    <a:lnTo>
                      <a:pt x="1122" y="330"/>
                    </a:lnTo>
                    <a:lnTo>
                      <a:pt x="1128" y="330"/>
                    </a:lnTo>
                    <a:lnTo>
                      <a:pt x="1128" y="336"/>
                    </a:lnTo>
                    <a:lnTo>
                      <a:pt x="1134" y="336"/>
                    </a:lnTo>
                    <a:lnTo>
                      <a:pt x="1134" y="342"/>
                    </a:lnTo>
                    <a:lnTo>
                      <a:pt x="1134" y="336"/>
                    </a:lnTo>
                    <a:lnTo>
                      <a:pt x="1140" y="336"/>
                    </a:lnTo>
                    <a:lnTo>
                      <a:pt x="1140" y="342"/>
                    </a:lnTo>
                    <a:lnTo>
                      <a:pt x="1134" y="342"/>
                    </a:lnTo>
                    <a:lnTo>
                      <a:pt x="1140" y="342"/>
                    </a:lnTo>
                    <a:lnTo>
                      <a:pt x="1140" y="348"/>
                    </a:lnTo>
                    <a:lnTo>
                      <a:pt x="1146" y="348"/>
                    </a:lnTo>
                    <a:lnTo>
                      <a:pt x="1146" y="342"/>
                    </a:lnTo>
                    <a:lnTo>
                      <a:pt x="1146" y="348"/>
                    </a:lnTo>
                    <a:lnTo>
                      <a:pt x="1146" y="354"/>
                    </a:lnTo>
                    <a:lnTo>
                      <a:pt x="1146" y="348"/>
                    </a:lnTo>
                    <a:lnTo>
                      <a:pt x="1140" y="348"/>
                    </a:lnTo>
                    <a:lnTo>
                      <a:pt x="1140" y="354"/>
                    </a:lnTo>
                    <a:lnTo>
                      <a:pt x="1146" y="354"/>
                    </a:lnTo>
                    <a:lnTo>
                      <a:pt x="1152" y="354"/>
                    </a:lnTo>
                    <a:lnTo>
                      <a:pt x="1152" y="348"/>
                    </a:lnTo>
                    <a:lnTo>
                      <a:pt x="1158" y="348"/>
                    </a:lnTo>
                    <a:lnTo>
                      <a:pt x="1164" y="348"/>
                    </a:lnTo>
                    <a:lnTo>
                      <a:pt x="1164" y="354"/>
                    </a:lnTo>
                    <a:lnTo>
                      <a:pt x="1170" y="360"/>
                    </a:lnTo>
                    <a:lnTo>
                      <a:pt x="1176" y="360"/>
                    </a:lnTo>
                    <a:lnTo>
                      <a:pt x="1182" y="360"/>
                    </a:lnTo>
                    <a:lnTo>
                      <a:pt x="1182" y="354"/>
                    </a:lnTo>
                    <a:lnTo>
                      <a:pt x="1188" y="354"/>
                    </a:lnTo>
                    <a:lnTo>
                      <a:pt x="1188" y="360"/>
                    </a:lnTo>
                    <a:lnTo>
                      <a:pt x="1194" y="360"/>
                    </a:lnTo>
                    <a:lnTo>
                      <a:pt x="1200" y="360"/>
                    </a:lnTo>
                    <a:lnTo>
                      <a:pt x="1200" y="366"/>
                    </a:lnTo>
                    <a:lnTo>
                      <a:pt x="1206" y="366"/>
                    </a:lnTo>
                    <a:lnTo>
                      <a:pt x="1200" y="366"/>
                    </a:lnTo>
                    <a:lnTo>
                      <a:pt x="1200" y="360"/>
                    </a:lnTo>
                    <a:lnTo>
                      <a:pt x="1206" y="354"/>
                    </a:lnTo>
                    <a:lnTo>
                      <a:pt x="1206" y="348"/>
                    </a:lnTo>
                    <a:lnTo>
                      <a:pt x="1212" y="348"/>
                    </a:lnTo>
                    <a:lnTo>
                      <a:pt x="1218" y="342"/>
                    </a:lnTo>
                    <a:lnTo>
                      <a:pt x="1218" y="348"/>
                    </a:lnTo>
                    <a:lnTo>
                      <a:pt x="1224" y="348"/>
                    </a:lnTo>
                    <a:lnTo>
                      <a:pt x="1224" y="354"/>
                    </a:lnTo>
                    <a:lnTo>
                      <a:pt x="1224" y="360"/>
                    </a:lnTo>
                    <a:lnTo>
                      <a:pt x="1224" y="366"/>
                    </a:lnTo>
                    <a:lnTo>
                      <a:pt x="1218" y="366"/>
                    </a:lnTo>
                    <a:lnTo>
                      <a:pt x="1224" y="372"/>
                    </a:lnTo>
                    <a:lnTo>
                      <a:pt x="1218" y="372"/>
                    </a:lnTo>
                    <a:lnTo>
                      <a:pt x="1224" y="378"/>
                    </a:lnTo>
                    <a:lnTo>
                      <a:pt x="1230" y="384"/>
                    </a:lnTo>
                    <a:lnTo>
                      <a:pt x="1230" y="390"/>
                    </a:lnTo>
                    <a:lnTo>
                      <a:pt x="1236" y="390"/>
                    </a:lnTo>
                    <a:lnTo>
                      <a:pt x="1236" y="384"/>
                    </a:lnTo>
                    <a:lnTo>
                      <a:pt x="1242" y="384"/>
                    </a:lnTo>
                    <a:lnTo>
                      <a:pt x="1242" y="378"/>
                    </a:lnTo>
                    <a:lnTo>
                      <a:pt x="1248" y="378"/>
                    </a:lnTo>
                    <a:lnTo>
                      <a:pt x="1254" y="378"/>
                    </a:lnTo>
                    <a:lnTo>
                      <a:pt x="1260" y="378"/>
                    </a:lnTo>
                    <a:lnTo>
                      <a:pt x="1266" y="378"/>
                    </a:lnTo>
                    <a:lnTo>
                      <a:pt x="1272" y="372"/>
                    </a:lnTo>
                    <a:lnTo>
                      <a:pt x="1278" y="372"/>
                    </a:lnTo>
                    <a:lnTo>
                      <a:pt x="1284" y="378"/>
                    </a:lnTo>
                    <a:lnTo>
                      <a:pt x="1290" y="378"/>
                    </a:lnTo>
                    <a:lnTo>
                      <a:pt x="1290" y="384"/>
                    </a:lnTo>
                    <a:lnTo>
                      <a:pt x="1290" y="390"/>
                    </a:lnTo>
                    <a:lnTo>
                      <a:pt x="1290" y="396"/>
                    </a:lnTo>
                    <a:lnTo>
                      <a:pt x="1290" y="402"/>
                    </a:lnTo>
                    <a:lnTo>
                      <a:pt x="1290" y="408"/>
                    </a:lnTo>
                    <a:lnTo>
                      <a:pt x="1284" y="408"/>
                    </a:lnTo>
                    <a:lnTo>
                      <a:pt x="1284" y="414"/>
                    </a:lnTo>
                    <a:lnTo>
                      <a:pt x="1278" y="414"/>
                    </a:lnTo>
                    <a:lnTo>
                      <a:pt x="1278" y="420"/>
                    </a:lnTo>
                    <a:lnTo>
                      <a:pt x="1272" y="426"/>
                    </a:lnTo>
                    <a:lnTo>
                      <a:pt x="1266" y="426"/>
                    </a:lnTo>
                    <a:lnTo>
                      <a:pt x="1260" y="426"/>
                    </a:lnTo>
                    <a:lnTo>
                      <a:pt x="1260" y="432"/>
                    </a:lnTo>
                    <a:lnTo>
                      <a:pt x="1260" y="426"/>
                    </a:lnTo>
                    <a:lnTo>
                      <a:pt x="1260" y="420"/>
                    </a:lnTo>
                    <a:lnTo>
                      <a:pt x="1260" y="414"/>
                    </a:lnTo>
                    <a:lnTo>
                      <a:pt x="1260" y="408"/>
                    </a:lnTo>
                    <a:lnTo>
                      <a:pt x="1254" y="408"/>
                    </a:lnTo>
                    <a:lnTo>
                      <a:pt x="1254" y="402"/>
                    </a:lnTo>
                    <a:lnTo>
                      <a:pt x="1248" y="402"/>
                    </a:lnTo>
                    <a:lnTo>
                      <a:pt x="1248" y="408"/>
                    </a:lnTo>
                    <a:lnTo>
                      <a:pt x="1242" y="408"/>
                    </a:lnTo>
                    <a:lnTo>
                      <a:pt x="1242" y="414"/>
                    </a:lnTo>
                    <a:lnTo>
                      <a:pt x="1236" y="414"/>
                    </a:lnTo>
                    <a:lnTo>
                      <a:pt x="1230" y="420"/>
                    </a:lnTo>
                    <a:lnTo>
                      <a:pt x="1224" y="426"/>
                    </a:lnTo>
                    <a:lnTo>
                      <a:pt x="1224" y="432"/>
                    </a:lnTo>
                    <a:lnTo>
                      <a:pt x="1230" y="432"/>
                    </a:lnTo>
                    <a:lnTo>
                      <a:pt x="1230" y="438"/>
                    </a:lnTo>
                    <a:lnTo>
                      <a:pt x="1230" y="444"/>
                    </a:lnTo>
                    <a:lnTo>
                      <a:pt x="1236" y="444"/>
                    </a:lnTo>
                    <a:lnTo>
                      <a:pt x="1236" y="450"/>
                    </a:lnTo>
                    <a:lnTo>
                      <a:pt x="1230" y="450"/>
                    </a:lnTo>
                    <a:lnTo>
                      <a:pt x="1230" y="456"/>
                    </a:lnTo>
                    <a:lnTo>
                      <a:pt x="1230" y="462"/>
                    </a:lnTo>
                    <a:lnTo>
                      <a:pt x="1230" y="468"/>
                    </a:lnTo>
                    <a:lnTo>
                      <a:pt x="1236" y="468"/>
                    </a:lnTo>
                    <a:lnTo>
                      <a:pt x="1236" y="474"/>
                    </a:lnTo>
                    <a:lnTo>
                      <a:pt x="1236" y="480"/>
                    </a:lnTo>
                    <a:lnTo>
                      <a:pt x="1230" y="480"/>
                    </a:lnTo>
                    <a:lnTo>
                      <a:pt x="1230" y="486"/>
                    </a:lnTo>
                    <a:lnTo>
                      <a:pt x="1224" y="486"/>
                    </a:lnTo>
                    <a:lnTo>
                      <a:pt x="1218" y="486"/>
                    </a:lnTo>
                    <a:lnTo>
                      <a:pt x="1212" y="486"/>
                    </a:lnTo>
                    <a:lnTo>
                      <a:pt x="1206" y="492"/>
                    </a:lnTo>
                    <a:lnTo>
                      <a:pt x="1206" y="498"/>
                    </a:lnTo>
                    <a:lnTo>
                      <a:pt x="1212" y="498"/>
                    </a:lnTo>
                    <a:lnTo>
                      <a:pt x="1206" y="498"/>
                    </a:lnTo>
                    <a:lnTo>
                      <a:pt x="1206" y="504"/>
                    </a:lnTo>
                    <a:lnTo>
                      <a:pt x="1212" y="504"/>
                    </a:lnTo>
                    <a:lnTo>
                      <a:pt x="1212" y="510"/>
                    </a:lnTo>
                    <a:lnTo>
                      <a:pt x="1206" y="510"/>
                    </a:lnTo>
                    <a:lnTo>
                      <a:pt x="1212" y="510"/>
                    </a:lnTo>
                    <a:lnTo>
                      <a:pt x="1212" y="516"/>
                    </a:lnTo>
                    <a:lnTo>
                      <a:pt x="1218" y="516"/>
                    </a:lnTo>
                    <a:lnTo>
                      <a:pt x="1218" y="522"/>
                    </a:lnTo>
                    <a:lnTo>
                      <a:pt x="1224" y="522"/>
                    </a:lnTo>
                    <a:lnTo>
                      <a:pt x="1224" y="510"/>
                    </a:lnTo>
                    <a:lnTo>
                      <a:pt x="1230" y="504"/>
                    </a:lnTo>
                    <a:lnTo>
                      <a:pt x="1236" y="504"/>
                    </a:lnTo>
                    <a:lnTo>
                      <a:pt x="1236" y="510"/>
                    </a:lnTo>
                    <a:lnTo>
                      <a:pt x="1236" y="516"/>
                    </a:lnTo>
                    <a:lnTo>
                      <a:pt x="1242" y="516"/>
                    </a:lnTo>
                    <a:lnTo>
                      <a:pt x="1242" y="522"/>
                    </a:lnTo>
                    <a:lnTo>
                      <a:pt x="1248" y="522"/>
                    </a:lnTo>
                    <a:lnTo>
                      <a:pt x="1254" y="516"/>
                    </a:lnTo>
                    <a:lnTo>
                      <a:pt x="1260" y="510"/>
                    </a:lnTo>
                    <a:lnTo>
                      <a:pt x="1266" y="504"/>
                    </a:lnTo>
                    <a:lnTo>
                      <a:pt x="1266" y="498"/>
                    </a:lnTo>
                    <a:lnTo>
                      <a:pt x="1278" y="492"/>
                    </a:lnTo>
                    <a:lnTo>
                      <a:pt x="1284" y="492"/>
                    </a:lnTo>
                    <a:lnTo>
                      <a:pt x="1284" y="486"/>
                    </a:lnTo>
                    <a:lnTo>
                      <a:pt x="1284" y="480"/>
                    </a:lnTo>
                    <a:lnTo>
                      <a:pt x="1290" y="474"/>
                    </a:lnTo>
                    <a:lnTo>
                      <a:pt x="1290" y="462"/>
                    </a:lnTo>
                    <a:lnTo>
                      <a:pt x="1290" y="456"/>
                    </a:lnTo>
                    <a:lnTo>
                      <a:pt x="1296" y="456"/>
                    </a:lnTo>
                    <a:lnTo>
                      <a:pt x="1296" y="462"/>
                    </a:lnTo>
                    <a:lnTo>
                      <a:pt x="1296" y="468"/>
                    </a:lnTo>
                    <a:lnTo>
                      <a:pt x="1302" y="468"/>
                    </a:lnTo>
                    <a:lnTo>
                      <a:pt x="1302" y="462"/>
                    </a:lnTo>
                    <a:lnTo>
                      <a:pt x="1308" y="462"/>
                    </a:lnTo>
                    <a:lnTo>
                      <a:pt x="1314" y="462"/>
                    </a:lnTo>
                    <a:lnTo>
                      <a:pt x="1314" y="456"/>
                    </a:lnTo>
                    <a:lnTo>
                      <a:pt x="1314" y="450"/>
                    </a:lnTo>
                    <a:lnTo>
                      <a:pt x="1326" y="450"/>
                    </a:lnTo>
                    <a:lnTo>
                      <a:pt x="1332" y="444"/>
                    </a:lnTo>
                    <a:lnTo>
                      <a:pt x="1338" y="444"/>
                    </a:lnTo>
                    <a:lnTo>
                      <a:pt x="1338" y="438"/>
                    </a:lnTo>
                    <a:lnTo>
                      <a:pt x="1332" y="438"/>
                    </a:lnTo>
                    <a:lnTo>
                      <a:pt x="1332" y="432"/>
                    </a:lnTo>
                    <a:lnTo>
                      <a:pt x="1326" y="432"/>
                    </a:lnTo>
                    <a:lnTo>
                      <a:pt x="1320" y="426"/>
                    </a:lnTo>
                    <a:lnTo>
                      <a:pt x="1320" y="420"/>
                    </a:lnTo>
                    <a:lnTo>
                      <a:pt x="1320" y="414"/>
                    </a:lnTo>
                    <a:lnTo>
                      <a:pt x="1326" y="408"/>
                    </a:lnTo>
                    <a:lnTo>
                      <a:pt x="1326" y="402"/>
                    </a:lnTo>
                    <a:lnTo>
                      <a:pt x="1332" y="402"/>
                    </a:lnTo>
                    <a:lnTo>
                      <a:pt x="1338" y="402"/>
                    </a:lnTo>
                    <a:lnTo>
                      <a:pt x="1338" y="408"/>
                    </a:lnTo>
                    <a:lnTo>
                      <a:pt x="1338" y="402"/>
                    </a:lnTo>
                    <a:lnTo>
                      <a:pt x="1338" y="396"/>
                    </a:lnTo>
                    <a:lnTo>
                      <a:pt x="1338" y="390"/>
                    </a:lnTo>
                    <a:lnTo>
                      <a:pt x="1344" y="390"/>
                    </a:lnTo>
                    <a:lnTo>
                      <a:pt x="1344" y="384"/>
                    </a:lnTo>
                    <a:lnTo>
                      <a:pt x="1338" y="384"/>
                    </a:lnTo>
                    <a:lnTo>
                      <a:pt x="1338" y="378"/>
                    </a:lnTo>
                    <a:lnTo>
                      <a:pt x="1344" y="378"/>
                    </a:lnTo>
                    <a:lnTo>
                      <a:pt x="1350" y="378"/>
                    </a:lnTo>
                    <a:lnTo>
                      <a:pt x="1356" y="378"/>
                    </a:lnTo>
                    <a:lnTo>
                      <a:pt x="1362" y="378"/>
                    </a:lnTo>
                    <a:lnTo>
                      <a:pt x="1356" y="378"/>
                    </a:lnTo>
                    <a:lnTo>
                      <a:pt x="1362" y="372"/>
                    </a:lnTo>
                    <a:lnTo>
                      <a:pt x="1368" y="366"/>
                    </a:lnTo>
                    <a:lnTo>
                      <a:pt x="1368" y="372"/>
                    </a:lnTo>
                    <a:lnTo>
                      <a:pt x="1368" y="378"/>
                    </a:lnTo>
                    <a:lnTo>
                      <a:pt x="1374" y="378"/>
                    </a:lnTo>
                    <a:lnTo>
                      <a:pt x="1380" y="378"/>
                    </a:lnTo>
                    <a:lnTo>
                      <a:pt x="1386" y="378"/>
                    </a:lnTo>
                    <a:lnTo>
                      <a:pt x="1392" y="384"/>
                    </a:lnTo>
                    <a:lnTo>
                      <a:pt x="1386" y="384"/>
                    </a:lnTo>
                    <a:lnTo>
                      <a:pt x="1392" y="384"/>
                    </a:lnTo>
                    <a:lnTo>
                      <a:pt x="1404" y="384"/>
                    </a:lnTo>
                    <a:lnTo>
                      <a:pt x="1410" y="384"/>
                    </a:lnTo>
                    <a:lnTo>
                      <a:pt x="1416" y="384"/>
                    </a:lnTo>
                    <a:lnTo>
                      <a:pt x="1416" y="378"/>
                    </a:lnTo>
                    <a:lnTo>
                      <a:pt x="1416" y="372"/>
                    </a:lnTo>
                    <a:lnTo>
                      <a:pt x="1422" y="372"/>
                    </a:lnTo>
                    <a:lnTo>
                      <a:pt x="1422" y="366"/>
                    </a:lnTo>
                    <a:lnTo>
                      <a:pt x="1422" y="360"/>
                    </a:lnTo>
                    <a:lnTo>
                      <a:pt x="1428" y="354"/>
                    </a:lnTo>
                    <a:lnTo>
                      <a:pt x="1428" y="348"/>
                    </a:lnTo>
                    <a:lnTo>
                      <a:pt x="1434" y="348"/>
                    </a:lnTo>
                    <a:lnTo>
                      <a:pt x="1434" y="342"/>
                    </a:lnTo>
                    <a:lnTo>
                      <a:pt x="1440" y="348"/>
                    </a:lnTo>
                    <a:lnTo>
                      <a:pt x="1446" y="348"/>
                    </a:lnTo>
                    <a:lnTo>
                      <a:pt x="1452" y="348"/>
                    </a:lnTo>
                    <a:lnTo>
                      <a:pt x="1458" y="348"/>
                    </a:lnTo>
                    <a:lnTo>
                      <a:pt x="1464" y="348"/>
                    </a:lnTo>
                    <a:lnTo>
                      <a:pt x="1470" y="354"/>
                    </a:lnTo>
                    <a:lnTo>
                      <a:pt x="1470" y="360"/>
                    </a:lnTo>
                    <a:lnTo>
                      <a:pt x="1470" y="366"/>
                    </a:lnTo>
                    <a:lnTo>
                      <a:pt x="1470" y="372"/>
                    </a:lnTo>
                    <a:lnTo>
                      <a:pt x="1482" y="366"/>
                    </a:lnTo>
                    <a:lnTo>
                      <a:pt x="1488" y="360"/>
                    </a:lnTo>
                    <a:lnTo>
                      <a:pt x="1488" y="354"/>
                    </a:lnTo>
                    <a:lnTo>
                      <a:pt x="1482" y="348"/>
                    </a:lnTo>
                    <a:lnTo>
                      <a:pt x="1482" y="342"/>
                    </a:lnTo>
                    <a:lnTo>
                      <a:pt x="1476" y="336"/>
                    </a:lnTo>
                    <a:lnTo>
                      <a:pt x="1470" y="336"/>
                    </a:lnTo>
                    <a:lnTo>
                      <a:pt x="1464" y="336"/>
                    </a:lnTo>
                    <a:lnTo>
                      <a:pt x="1464" y="330"/>
                    </a:lnTo>
                    <a:lnTo>
                      <a:pt x="1458" y="330"/>
                    </a:lnTo>
                    <a:lnTo>
                      <a:pt x="1452" y="330"/>
                    </a:lnTo>
                    <a:lnTo>
                      <a:pt x="1452" y="324"/>
                    </a:lnTo>
                    <a:lnTo>
                      <a:pt x="1458" y="318"/>
                    </a:lnTo>
                    <a:lnTo>
                      <a:pt x="1452" y="318"/>
                    </a:lnTo>
                    <a:lnTo>
                      <a:pt x="1452" y="312"/>
                    </a:lnTo>
                    <a:lnTo>
                      <a:pt x="1452" y="306"/>
                    </a:lnTo>
                    <a:lnTo>
                      <a:pt x="1446" y="306"/>
                    </a:lnTo>
                    <a:lnTo>
                      <a:pt x="1446" y="300"/>
                    </a:lnTo>
                    <a:lnTo>
                      <a:pt x="1440" y="300"/>
                    </a:lnTo>
                    <a:lnTo>
                      <a:pt x="1440" y="294"/>
                    </a:lnTo>
                    <a:lnTo>
                      <a:pt x="1446" y="294"/>
                    </a:lnTo>
                    <a:lnTo>
                      <a:pt x="1446" y="288"/>
                    </a:lnTo>
                    <a:lnTo>
                      <a:pt x="1446" y="282"/>
                    </a:lnTo>
                    <a:lnTo>
                      <a:pt x="1452" y="288"/>
                    </a:lnTo>
                    <a:lnTo>
                      <a:pt x="1452" y="294"/>
                    </a:lnTo>
                    <a:lnTo>
                      <a:pt x="1452" y="300"/>
                    </a:lnTo>
                    <a:lnTo>
                      <a:pt x="1458" y="300"/>
                    </a:lnTo>
                    <a:lnTo>
                      <a:pt x="1464" y="300"/>
                    </a:lnTo>
                    <a:lnTo>
                      <a:pt x="1464" y="306"/>
                    </a:lnTo>
                    <a:lnTo>
                      <a:pt x="1464" y="300"/>
                    </a:lnTo>
                    <a:lnTo>
                      <a:pt x="1470" y="300"/>
                    </a:lnTo>
                    <a:lnTo>
                      <a:pt x="1464" y="300"/>
                    </a:lnTo>
                    <a:lnTo>
                      <a:pt x="1470" y="288"/>
                    </a:lnTo>
                    <a:lnTo>
                      <a:pt x="1470" y="282"/>
                    </a:lnTo>
                    <a:lnTo>
                      <a:pt x="1470" y="276"/>
                    </a:lnTo>
                    <a:lnTo>
                      <a:pt x="1476" y="276"/>
                    </a:lnTo>
                    <a:lnTo>
                      <a:pt x="1476" y="282"/>
                    </a:lnTo>
                    <a:lnTo>
                      <a:pt x="1482" y="282"/>
                    </a:lnTo>
                    <a:lnTo>
                      <a:pt x="1482" y="288"/>
                    </a:lnTo>
                    <a:lnTo>
                      <a:pt x="1488" y="288"/>
                    </a:lnTo>
                    <a:lnTo>
                      <a:pt x="1488" y="282"/>
                    </a:lnTo>
                    <a:lnTo>
                      <a:pt x="1494" y="282"/>
                    </a:lnTo>
                    <a:lnTo>
                      <a:pt x="1500" y="282"/>
                    </a:lnTo>
                    <a:lnTo>
                      <a:pt x="1506" y="282"/>
                    </a:lnTo>
                    <a:lnTo>
                      <a:pt x="1512" y="282"/>
                    </a:lnTo>
                    <a:lnTo>
                      <a:pt x="1512" y="276"/>
                    </a:lnTo>
                    <a:lnTo>
                      <a:pt x="1518" y="276"/>
                    </a:lnTo>
                    <a:lnTo>
                      <a:pt x="1524" y="282"/>
                    </a:lnTo>
                    <a:lnTo>
                      <a:pt x="1530" y="282"/>
                    </a:lnTo>
                    <a:lnTo>
                      <a:pt x="1536" y="282"/>
                    </a:lnTo>
                    <a:lnTo>
                      <a:pt x="1536" y="288"/>
                    </a:lnTo>
                    <a:lnTo>
                      <a:pt x="1542" y="282"/>
                    </a:lnTo>
                    <a:lnTo>
                      <a:pt x="1548" y="282"/>
                    </a:lnTo>
                    <a:lnTo>
                      <a:pt x="1548" y="288"/>
                    </a:lnTo>
                    <a:lnTo>
                      <a:pt x="1554" y="282"/>
                    </a:lnTo>
                    <a:lnTo>
                      <a:pt x="1560" y="282"/>
                    </a:lnTo>
                    <a:lnTo>
                      <a:pt x="1566" y="282"/>
                    </a:lnTo>
                    <a:lnTo>
                      <a:pt x="1572" y="282"/>
                    </a:lnTo>
                    <a:lnTo>
                      <a:pt x="1578" y="282"/>
                    </a:lnTo>
                    <a:lnTo>
                      <a:pt x="1578" y="276"/>
                    </a:lnTo>
                    <a:lnTo>
                      <a:pt x="1584" y="276"/>
                    </a:lnTo>
                    <a:lnTo>
                      <a:pt x="1590" y="276"/>
                    </a:lnTo>
                    <a:lnTo>
                      <a:pt x="1596" y="270"/>
                    </a:lnTo>
                    <a:lnTo>
                      <a:pt x="1596" y="264"/>
                    </a:lnTo>
                    <a:lnTo>
                      <a:pt x="1596" y="258"/>
                    </a:lnTo>
                    <a:lnTo>
                      <a:pt x="1602" y="258"/>
                    </a:lnTo>
                    <a:lnTo>
                      <a:pt x="1608" y="258"/>
                    </a:lnTo>
                    <a:lnTo>
                      <a:pt x="1608" y="252"/>
                    </a:lnTo>
                    <a:lnTo>
                      <a:pt x="1608" y="246"/>
                    </a:lnTo>
                    <a:lnTo>
                      <a:pt x="1614" y="240"/>
                    </a:lnTo>
                    <a:lnTo>
                      <a:pt x="1626" y="234"/>
                    </a:lnTo>
                    <a:lnTo>
                      <a:pt x="1626" y="228"/>
                    </a:lnTo>
                    <a:lnTo>
                      <a:pt x="1620" y="228"/>
                    </a:lnTo>
                    <a:lnTo>
                      <a:pt x="1620" y="222"/>
                    </a:lnTo>
                    <a:lnTo>
                      <a:pt x="1620" y="216"/>
                    </a:lnTo>
                    <a:lnTo>
                      <a:pt x="1614" y="216"/>
                    </a:lnTo>
                    <a:lnTo>
                      <a:pt x="1620" y="216"/>
                    </a:lnTo>
                    <a:lnTo>
                      <a:pt x="1620" y="210"/>
                    </a:lnTo>
                    <a:lnTo>
                      <a:pt x="1620" y="204"/>
                    </a:lnTo>
                    <a:lnTo>
                      <a:pt x="1614" y="204"/>
                    </a:lnTo>
                    <a:lnTo>
                      <a:pt x="1620" y="204"/>
                    </a:lnTo>
                    <a:lnTo>
                      <a:pt x="1626" y="204"/>
                    </a:lnTo>
                    <a:lnTo>
                      <a:pt x="1632" y="204"/>
                    </a:lnTo>
                    <a:lnTo>
                      <a:pt x="1632" y="198"/>
                    </a:lnTo>
                    <a:lnTo>
                      <a:pt x="1632" y="192"/>
                    </a:lnTo>
                    <a:lnTo>
                      <a:pt x="1638" y="192"/>
                    </a:lnTo>
                    <a:lnTo>
                      <a:pt x="1644" y="186"/>
                    </a:lnTo>
                    <a:lnTo>
                      <a:pt x="1650" y="186"/>
                    </a:lnTo>
                    <a:lnTo>
                      <a:pt x="1644" y="180"/>
                    </a:lnTo>
                    <a:lnTo>
                      <a:pt x="1650" y="180"/>
                    </a:lnTo>
                    <a:lnTo>
                      <a:pt x="1656" y="180"/>
                    </a:lnTo>
                    <a:lnTo>
                      <a:pt x="1656" y="186"/>
                    </a:lnTo>
                    <a:lnTo>
                      <a:pt x="1662" y="186"/>
                    </a:lnTo>
                    <a:lnTo>
                      <a:pt x="1668" y="192"/>
                    </a:lnTo>
                    <a:lnTo>
                      <a:pt x="1674" y="192"/>
                    </a:lnTo>
                    <a:lnTo>
                      <a:pt x="1680" y="192"/>
                    </a:lnTo>
                    <a:lnTo>
                      <a:pt x="1686" y="186"/>
                    </a:lnTo>
                    <a:lnTo>
                      <a:pt x="1692" y="186"/>
                    </a:lnTo>
                    <a:lnTo>
                      <a:pt x="1692" y="180"/>
                    </a:lnTo>
                    <a:lnTo>
                      <a:pt x="1698" y="180"/>
                    </a:lnTo>
                    <a:lnTo>
                      <a:pt x="1698" y="174"/>
                    </a:lnTo>
                    <a:lnTo>
                      <a:pt x="1698" y="180"/>
                    </a:lnTo>
                    <a:lnTo>
                      <a:pt x="1704" y="180"/>
                    </a:lnTo>
                    <a:lnTo>
                      <a:pt x="1704" y="186"/>
                    </a:lnTo>
                    <a:lnTo>
                      <a:pt x="1710" y="186"/>
                    </a:lnTo>
                    <a:lnTo>
                      <a:pt x="1710" y="192"/>
                    </a:lnTo>
                    <a:lnTo>
                      <a:pt x="1716" y="198"/>
                    </a:lnTo>
                    <a:lnTo>
                      <a:pt x="1716" y="192"/>
                    </a:lnTo>
                    <a:lnTo>
                      <a:pt x="1722" y="192"/>
                    </a:lnTo>
                    <a:lnTo>
                      <a:pt x="1728" y="192"/>
                    </a:lnTo>
                    <a:lnTo>
                      <a:pt x="1734" y="192"/>
                    </a:lnTo>
                    <a:lnTo>
                      <a:pt x="1734" y="186"/>
                    </a:lnTo>
                    <a:lnTo>
                      <a:pt x="1740" y="186"/>
                    </a:lnTo>
                    <a:lnTo>
                      <a:pt x="1740" y="180"/>
                    </a:lnTo>
                    <a:lnTo>
                      <a:pt x="1746" y="180"/>
                    </a:lnTo>
                    <a:lnTo>
                      <a:pt x="1746" y="174"/>
                    </a:lnTo>
                    <a:lnTo>
                      <a:pt x="1740" y="174"/>
                    </a:lnTo>
                    <a:lnTo>
                      <a:pt x="1740" y="168"/>
                    </a:lnTo>
                    <a:lnTo>
                      <a:pt x="1734" y="168"/>
                    </a:lnTo>
                    <a:lnTo>
                      <a:pt x="1734" y="162"/>
                    </a:lnTo>
                    <a:lnTo>
                      <a:pt x="1728" y="162"/>
                    </a:lnTo>
                    <a:lnTo>
                      <a:pt x="1728" y="156"/>
                    </a:lnTo>
                    <a:lnTo>
                      <a:pt x="1734" y="150"/>
                    </a:lnTo>
                    <a:lnTo>
                      <a:pt x="1740" y="150"/>
                    </a:lnTo>
                    <a:lnTo>
                      <a:pt x="1734" y="150"/>
                    </a:lnTo>
                    <a:lnTo>
                      <a:pt x="1734" y="144"/>
                    </a:lnTo>
                    <a:lnTo>
                      <a:pt x="1740" y="144"/>
                    </a:lnTo>
                    <a:lnTo>
                      <a:pt x="1740" y="138"/>
                    </a:lnTo>
                    <a:lnTo>
                      <a:pt x="1746" y="138"/>
                    </a:lnTo>
                    <a:lnTo>
                      <a:pt x="1746" y="132"/>
                    </a:lnTo>
                    <a:lnTo>
                      <a:pt x="1746" y="126"/>
                    </a:lnTo>
                    <a:lnTo>
                      <a:pt x="1746" y="120"/>
                    </a:lnTo>
                    <a:lnTo>
                      <a:pt x="1746" y="114"/>
                    </a:lnTo>
                    <a:lnTo>
                      <a:pt x="1746" y="108"/>
                    </a:lnTo>
                    <a:lnTo>
                      <a:pt x="1746" y="102"/>
                    </a:lnTo>
                    <a:lnTo>
                      <a:pt x="1740" y="102"/>
                    </a:lnTo>
                    <a:lnTo>
                      <a:pt x="1740" y="96"/>
                    </a:lnTo>
                    <a:lnTo>
                      <a:pt x="1734" y="90"/>
                    </a:lnTo>
                    <a:lnTo>
                      <a:pt x="1728" y="90"/>
                    </a:lnTo>
                    <a:lnTo>
                      <a:pt x="1728" y="84"/>
                    </a:lnTo>
                    <a:lnTo>
                      <a:pt x="1728" y="78"/>
                    </a:lnTo>
                    <a:lnTo>
                      <a:pt x="1722" y="78"/>
                    </a:lnTo>
                    <a:lnTo>
                      <a:pt x="1716" y="78"/>
                    </a:lnTo>
                    <a:lnTo>
                      <a:pt x="1716" y="84"/>
                    </a:lnTo>
                    <a:lnTo>
                      <a:pt x="1710" y="84"/>
                    </a:lnTo>
                    <a:lnTo>
                      <a:pt x="1716" y="90"/>
                    </a:lnTo>
                    <a:lnTo>
                      <a:pt x="1716" y="96"/>
                    </a:lnTo>
                    <a:lnTo>
                      <a:pt x="1716" y="102"/>
                    </a:lnTo>
                    <a:lnTo>
                      <a:pt x="1716" y="108"/>
                    </a:lnTo>
                    <a:lnTo>
                      <a:pt x="1710" y="108"/>
                    </a:lnTo>
                    <a:lnTo>
                      <a:pt x="1710" y="114"/>
                    </a:lnTo>
                    <a:lnTo>
                      <a:pt x="1716" y="114"/>
                    </a:lnTo>
                    <a:lnTo>
                      <a:pt x="1710" y="114"/>
                    </a:lnTo>
                    <a:lnTo>
                      <a:pt x="1698" y="114"/>
                    </a:lnTo>
                    <a:lnTo>
                      <a:pt x="1692" y="114"/>
                    </a:lnTo>
                    <a:lnTo>
                      <a:pt x="1692" y="108"/>
                    </a:lnTo>
                    <a:lnTo>
                      <a:pt x="1686" y="108"/>
                    </a:lnTo>
                    <a:lnTo>
                      <a:pt x="1686" y="102"/>
                    </a:lnTo>
                    <a:lnTo>
                      <a:pt x="1686" y="96"/>
                    </a:lnTo>
                    <a:lnTo>
                      <a:pt x="1680" y="96"/>
                    </a:lnTo>
                    <a:lnTo>
                      <a:pt x="1680" y="90"/>
                    </a:lnTo>
                    <a:lnTo>
                      <a:pt x="1686" y="90"/>
                    </a:lnTo>
                    <a:lnTo>
                      <a:pt x="1692" y="90"/>
                    </a:lnTo>
                    <a:lnTo>
                      <a:pt x="1698" y="84"/>
                    </a:lnTo>
                    <a:lnTo>
                      <a:pt x="1704" y="84"/>
                    </a:lnTo>
                    <a:lnTo>
                      <a:pt x="1704" y="78"/>
                    </a:lnTo>
                    <a:lnTo>
                      <a:pt x="1698" y="78"/>
                    </a:lnTo>
                    <a:lnTo>
                      <a:pt x="1692" y="78"/>
                    </a:lnTo>
                    <a:lnTo>
                      <a:pt x="1686" y="78"/>
                    </a:lnTo>
                    <a:lnTo>
                      <a:pt x="1680" y="72"/>
                    </a:lnTo>
                    <a:lnTo>
                      <a:pt x="1674" y="72"/>
                    </a:lnTo>
                    <a:lnTo>
                      <a:pt x="1668" y="72"/>
                    </a:lnTo>
                    <a:lnTo>
                      <a:pt x="1668" y="78"/>
                    </a:lnTo>
                    <a:lnTo>
                      <a:pt x="1662" y="78"/>
                    </a:lnTo>
                    <a:lnTo>
                      <a:pt x="1656" y="72"/>
                    </a:lnTo>
                    <a:lnTo>
                      <a:pt x="1650" y="72"/>
                    </a:lnTo>
                    <a:lnTo>
                      <a:pt x="1644" y="66"/>
                    </a:lnTo>
                    <a:lnTo>
                      <a:pt x="1638" y="66"/>
                    </a:lnTo>
                    <a:lnTo>
                      <a:pt x="1644" y="66"/>
                    </a:lnTo>
                    <a:lnTo>
                      <a:pt x="1656" y="66"/>
                    </a:lnTo>
                    <a:lnTo>
                      <a:pt x="1662" y="60"/>
                    </a:lnTo>
                    <a:lnTo>
                      <a:pt x="1662" y="54"/>
                    </a:lnTo>
                    <a:lnTo>
                      <a:pt x="1662" y="48"/>
                    </a:lnTo>
                    <a:lnTo>
                      <a:pt x="1662" y="42"/>
                    </a:lnTo>
                    <a:lnTo>
                      <a:pt x="1656" y="42"/>
                    </a:lnTo>
                    <a:lnTo>
                      <a:pt x="1656" y="36"/>
                    </a:lnTo>
                    <a:lnTo>
                      <a:pt x="1656" y="30"/>
                    </a:lnTo>
                    <a:lnTo>
                      <a:pt x="1656" y="24"/>
                    </a:lnTo>
                    <a:lnTo>
                      <a:pt x="1662" y="24"/>
                    </a:lnTo>
                    <a:lnTo>
                      <a:pt x="1674" y="24"/>
                    </a:lnTo>
                    <a:lnTo>
                      <a:pt x="1680" y="24"/>
                    </a:lnTo>
                    <a:lnTo>
                      <a:pt x="1686" y="24"/>
                    </a:lnTo>
                    <a:lnTo>
                      <a:pt x="1692" y="24"/>
                    </a:lnTo>
                    <a:lnTo>
                      <a:pt x="1698" y="18"/>
                    </a:lnTo>
                    <a:lnTo>
                      <a:pt x="1698" y="12"/>
                    </a:lnTo>
                    <a:lnTo>
                      <a:pt x="1704" y="12"/>
                    </a:lnTo>
                    <a:lnTo>
                      <a:pt x="1710" y="12"/>
                    </a:lnTo>
                    <a:lnTo>
                      <a:pt x="1710" y="18"/>
                    </a:lnTo>
                    <a:lnTo>
                      <a:pt x="1716" y="18"/>
                    </a:lnTo>
                    <a:lnTo>
                      <a:pt x="1716" y="24"/>
                    </a:lnTo>
                    <a:lnTo>
                      <a:pt x="1722" y="24"/>
                    </a:lnTo>
                    <a:lnTo>
                      <a:pt x="1728" y="18"/>
                    </a:lnTo>
                    <a:lnTo>
                      <a:pt x="1734" y="18"/>
                    </a:lnTo>
                    <a:lnTo>
                      <a:pt x="1734" y="12"/>
                    </a:lnTo>
                    <a:lnTo>
                      <a:pt x="1740" y="12"/>
                    </a:lnTo>
                    <a:lnTo>
                      <a:pt x="1740" y="6"/>
                    </a:lnTo>
                    <a:lnTo>
                      <a:pt x="1746" y="0"/>
                    </a:lnTo>
                    <a:lnTo>
                      <a:pt x="1752" y="0"/>
                    </a:lnTo>
                    <a:lnTo>
                      <a:pt x="1758" y="0"/>
                    </a:lnTo>
                    <a:lnTo>
                      <a:pt x="1764" y="6"/>
                    </a:lnTo>
                    <a:lnTo>
                      <a:pt x="1764" y="12"/>
                    </a:lnTo>
                    <a:lnTo>
                      <a:pt x="1770" y="18"/>
                    </a:lnTo>
                    <a:lnTo>
                      <a:pt x="1770" y="24"/>
                    </a:lnTo>
                    <a:lnTo>
                      <a:pt x="1776" y="24"/>
                    </a:lnTo>
                    <a:lnTo>
                      <a:pt x="1782" y="24"/>
                    </a:lnTo>
                    <a:lnTo>
                      <a:pt x="1788" y="24"/>
                    </a:lnTo>
                    <a:lnTo>
                      <a:pt x="1794" y="18"/>
                    </a:lnTo>
                    <a:lnTo>
                      <a:pt x="1794" y="12"/>
                    </a:lnTo>
                    <a:lnTo>
                      <a:pt x="1794" y="6"/>
                    </a:lnTo>
                    <a:lnTo>
                      <a:pt x="1800" y="0"/>
                    </a:lnTo>
                    <a:lnTo>
                      <a:pt x="1806" y="0"/>
                    </a:lnTo>
                    <a:lnTo>
                      <a:pt x="1812" y="0"/>
                    </a:lnTo>
                    <a:lnTo>
                      <a:pt x="1818" y="0"/>
                    </a:lnTo>
                    <a:lnTo>
                      <a:pt x="1824" y="0"/>
                    </a:lnTo>
                    <a:lnTo>
                      <a:pt x="1824" y="6"/>
                    </a:lnTo>
                    <a:lnTo>
                      <a:pt x="1830" y="12"/>
                    </a:lnTo>
                    <a:lnTo>
                      <a:pt x="1824" y="18"/>
                    </a:lnTo>
                    <a:lnTo>
                      <a:pt x="1824" y="24"/>
                    </a:lnTo>
                    <a:lnTo>
                      <a:pt x="1824" y="30"/>
                    </a:lnTo>
                    <a:lnTo>
                      <a:pt x="1830" y="30"/>
                    </a:lnTo>
                    <a:lnTo>
                      <a:pt x="1830" y="36"/>
                    </a:lnTo>
                    <a:lnTo>
                      <a:pt x="1836" y="36"/>
                    </a:lnTo>
                    <a:lnTo>
                      <a:pt x="1842" y="36"/>
                    </a:lnTo>
                    <a:lnTo>
                      <a:pt x="1842" y="30"/>
                    </a:lnTo>
                    <a:lnTo>
                      <a:pt x="1848" y="30"/>
                    </a:lnTo>
                    <a:lnTo>
                      <a:pt x="1854" y="30"/>
                    </a:lnTo>
                    <a:lnTo>
                      <a:pt x="1860" y="30"/>
                    </a:lnTo>
                    <a:lnTo>
                      <a:pt x="1860" y="36"/>
                    </a:lnTo>
                    <a:lnTo>
                      <a:pt x="1860" y="42"/>
                    </a:lnTo>
                    <a:lnTo>
                      <a:pt x="1860" y="48"/>
                    </a:lnTo>
                    <a:lnTo>
                      <a:pt x="1866" y="54"/>
                    </a:lnTo>
                    <a:lnTo>
                      <a:pt x="1866" y="60"/>
                    </a:lnTo>
                    <a:lnTo>
                      <a:pt x="1872" y="60"/>
                    </a:lnTo>
                    <a:lnTo>
                      <a:pt x="1878" y="54"/>
                    </a:lnTo>
                    <a:lnTo>
                      <a:pt x="1872" y="48"/>
                    </a:lnTo>
                    <a:lnTo>
                      <a:pt x="1872" y="42"/>
                    </a:lnTo>
                    <a:lnTo>
                      <a:pt x="1866" y="42"/>
                    </a:lnTo>
                    <a:lnTo>
                      <a:pt x="1866" y="36"/>
                    </a:lnTo>
                    <a:lnTo>
                      <a:pt x="1866" y="30"/>
                    </a:lnTo>
                    <a:lnTo>
                      <a:pt x="1866" y="24"/>
                    </a:lnTo>
                    <a:lnTo>
                      <a:pt x="1866" y="18"/>
                    </a:lnTo>
                    <a:lnTo>
                      <a:pt x="1866" y="12"/>
                    </a:lnTo>
                    <a:lnTo>
                      <a:pt x="1872" y="12"/>
                    </a:lnTo>
                    <a:lnTo>
                      <a:pt x="1878" y="12"/>
                    </a:lnTo>
                    <a:lnTo>
                      <a:pt x="1878" y="6"/>
                    </a:lnTo>
                    <a:lnTo>
                      <a:pt x="1884" y="6"/>
                    </a:lnTo>
                    <a:lnTo>
                      <a:pt x="1884" y="12"/>
                    </a:lnTo>
                    <a:lnTo>
                      <a:pt x="1884" y="18"/>
                    </a:lnTo>
                    <a:lnTo>
                      <a:pt x="1890" y="12"/>
                    </a:lnTo>
                    <a:lnTo>
                      <a:pt x="1896" y="12"/>
                    </a:lnTo>
                    <a:lnTo>
                      <a:pt x="1902" y="12"/>
                    </a:lnTo>
                    <a:lnTo>
                      <a:pt x="1908" y="12"/>
                    </a:lnTo>
                    <a:lnTo>
                      <a:pt x="1920" y="6"/>
                    </a:lnTo>
                    <a:lnTo>
                      <a:pt x="1932" y="6"/>
                    </a:lnTo>
                    <a:lnTo>
                      <a:pt x="1938" y="0"/>
                    </a:lnTo>
                    <a:lnTo>
                      <a:pt x="1944" y="0"/>
                    </a:lnTo>
                    <a:lnTo>
                      <a:pt x="1950" y="6"/>
                    </a:lnTo>
                    <a:lnTo>
                      <a:pt x="1944" y="6"/>
                    </a:lnTo>
                    <a:lnTo>
                      <a:pt x="1944" y="12"/>
                    </a:lnTo>
                    <a:lnTo>
                      <a:pt x="1950" y="12"/>
                    </a:lnTo>
                    <a:lnTo>
                      <a:pt x="1944" y="18"/>
                    </a:lnTo>
                    <a:lnTo>
                      <a:pt x="1944" y="24"/>
                    </a:lnTo>
                    <a:lnTo>
                      <a:pt x="1944" y="30"/>
                    </a:lnTo>
                    <a:lnTo>
                      <a:pt x="1944" y="36"/>
                    </a:lnTo>
                    <a:lnTo>
                      <a:pt x="1944" y="42"/>
                    </a:lnTo>
                    <a:lnTo>
                      <a:pt x="1938" y="42"/>
                    </a:lnTo>
                    <a:lnTo>
                      <a:pt x="1938" y="48"/>
                    </a:lnTo>
                    <a:lnTo>
                      <a:pt x="1938" y="54"/>
                    </a:lnTo>
                    <a:lnTo>
                      <a:pt x="1938" y="48"/>
                    </a:lnTo>
                    <a:lnTo>
                      <a:pt x="1938" y="54"/>
                    </a:lnTo>
                    <a:lnTo>
                      <a:pt x="1944" y="54"/>
                    </a:lnTo>
                    <a:lnTo>
                      <a:pt x="1944" y="60"/>
                    </a:lnTo>
                    <a:lnTo>
                      <a:pt x="1938" y="66"/>
                    </a:lnTo>
                    <a:lnTo>
                      <a:pt x="1944" y="66"/>
                    </a:lnTo>
                    <a:lnTo>
                      <a:pt x="1944" y="72"/>
                    </a:lnTo>
                    <a:lnTo>
                      <a:pt x="1938" y="72"/>
                    </a:lnTo>
                    <a:lnTo>
                      <a:pt x="1932" y="78"/>
                    </a:lnTo>
                    <a:lnTo>
                      <a:pt x="1926" y="78"/>
                    </a:lnTo>
                    <a:lnTo>
                      <a:pt x="1932" y="84"/>
                    </a:lnTo>
                    <a:lnTo>
                      <a:pt x="1938" y="84"/>
                    </a:lnTo>
                    <a:lnTo>
                      <a:pt x="1938" y="90"/>
                    </a:lnTo>
                    <a:lnTo>
                      <a:pt x="1938" y="96"/>
                    </a:lnTo>
                    <a:lnTo>
                      <a:pt x="1932" y="96"/>
                    </a:lnTo>
                    <a:lnTo>
                      <a:pt x="1932" y="102"/>
                    </a:lnTo>
                    <a:lnTo>
                      <a:pt x="1926" y="102"/>
                    </a:lnTo>
                    <a:lnTo>
                      <a:pt x="1926" y="108"/>
                    </a:lnTo>
                    <a:lnTo>
                      <a:pt x="1932" y="108"/>
                    </a:lnTo>
                    <a:lnTo>
                      <a:pt x="1926" y="108"/>
                    </a:lnTo>
                    <a:lnTo>
                      <a:pt x="1926" y="114"/>
                    </a:lnTo>
                    <a:lnTo>
                      <a:pt x="1926" y="120"/>
                    </a:lnTo>
                    <a:lnTo>
                      <a:pt x="1932" y="120"/>
                    </a:lnTo>
                    <a:lnTo>
                      <a:pt x="1932" y="126"/>
                    </a:lnTo>
                    <a:lnTo>
                      <a:pt x="1932" y="132"/>
                    </a:lnTo>
                    <a:lnTo>
                      <a:pt x="1938" y="132"/>
                    </a:lnTo>
                    <a:lnTo>
                      <a:pt x="1944" y="132"/>
                    </a:lnTo>
                    <a:lnTo>
                      <a:pt x="1944" y="138"/>
                    </a:lnTo>
                    <a:lnTo>
                      <a:pt x="1950" y="138"/>
                    </a:lnTo>
                    <a:lnTo>
                      <a:pt x="1956" y="138"/>
                    </a:lnTo>
                    <a:lnTo>
                      <a:pt x="1962" y="132"/>
                    </a:lnTo>
                    <a:lnTo>
                      <a:pt x="1968" y="132"/>
                    </a:lnTo>
                    <a:lnTo>
                      <a:pt x="1968" y="126"/>
                    </a:lnTo>
                    <a:lnTo>
                      <a:pt x="1968" y="120"/>
                    </a:lnTo>
                    <a:lnTo>
                      <a:pt x="1968" y="114"/>
                    </a:lnTo>
                    <a:lnTo>
                      <a:pt x="1968" y="108"/>
                    </a:lnTo>
                    <a:lnTo>
                      <a:pt x="1968" y="102"/>
                    </a:lnTo>
                    <a:lnTo>
                      <a:pt x="1968" y="96"/>
                    </a:lnTo>
                    <a:lnTo>
                      <a:pt x="1974" y="96"/>
                    </a:lnTo>
                    <a:lnTo>
                      <a:pt x="1980" y="96"/>
                    </a:lnTo>
                    <a:lnTo>
                      <a:pt x="1986" y="96"/>
                    </a:lnTo>
                    <a:lnTo>
                      <a:pt x="1992" y="96"/>
                    </a:lnTo>
                    <a:lnTo>
                      <a:pt x="1992" y="90"/>
                    </a:lnTo>
                    <a:lnTo>
                      <a:pt x="1992" y="84"/>
                    </a:lnTo>
                    <a:lnTo>
                      <a:pt x="1998" y="90"/>
                    </a:lnTo>
                    <a:lnTo>
                      <a:pt x="1998" y="84"/>
                    </a:lnTo>
                    <a:lnTo>
                      <a:pt x="1998" y="90"/>
                    </a:lnTo>
                    <a:lnTo>
                      <a:pt x="2004" y="90"/>
                    </a:lnTo>
                    <a:lnTo>
                      <a:pt x="2004" y="102"/>
                    </a:lnTo>
                    <a:lnTo>
                      <a:pt x="2004" y="108"/>
                    </a:lnTo>
                    <a:lnTo>
                      <a:pt x="2004" y="114"/>
                    </a:lnTo>
                    <a:lnTo>
                      <a:pt x="2004" y="120"/>
                    </a:lnTo>
                    <a:lnTo>
                      <a:pt x="2010" y="120"/>
                    </a:lnTo>
                    <a:lnTo>
                      <a:pt x="2016" y="126"/>
                    </a:lnTo>
                    <a:lnTo>
                      <a:pt x="2016" y="132"/>
                    </a:lnTo>
                    <a:lnTo>
                      <a:pt x="2010" y="138"/>
                    </a:lnTo>
                    <a:lnTo>
                      <a:pt x="2016" y="138"/>
                    </a:lnTo>
                    <a:lnTo>
                      <a:pt x="2022" y="138"/>
                    </a:lnTo>
                    <a:lnTo>
                      <a:pt x="2028" y="132"/>
                    </a:lnTo>
                    <a:lnTo>
                      <a:pt x="2034" y="126"/>
                    </a:lnTo>
                    <a:lnTo>
                      <a:pt x="2034" y="120"/>
                    </a:lnTo>
                    <a:lnTo>
                      <a:pt x="2034" y="114"/>
                    </a:lnTo>
                    <a:lnTo>
                      <a:pt x="2034" y="108"/>
                    </a:lnTo>
                    <a:lnTo>
                      <a:pt x="2040" y="102"/>
                    </a:lnTo>
                    <a:lnTo>
                      <a:pt x="2046" y="102"/>
                    </a:lnTo>
                    <a:lnTo>
                      <a:pt x="2046" y="96"/>
                    </a:lnTo>
                    <a:lnTo>
                      <a:pt x="2052" y="90"/>
                    </a:lnTo>
                    <a:lnTo>
                      <a:pt x="2058" y="90"/>
                    </a:lnTo>
                    <a:lnTo>
                      <a:pt x="2064" y="90"/>
                    </a:lnTo>
                    <a:lnTo>
                      <a:pt x="2064" y="84"/>
                    </a:lnTo>
                    <a:lnTo>
                      <a:pt x="2070" y="84"/>
                    </a:lnTo>
                    <a:lnTo>
                      <a:pt x="2070" y="78"/>
                    </a:lnTo>
                    <a:lnTo>
                      <a:pt x="2076" y="78"/>
                    </a:lnTo>
                    <a:lnTo>
                      <a:pt x="2076" y="84"/>
                    </a:lnTo>
                    <a:lnTo>
                      <a:pt x="2070" y="84"/>
                    </a:lnTo>
                    <a:lnTo>
                      <a:pt x="2070" y="90"/>
                    </a:lnTo>
                    <a:lnTo>
                      <a:pt x="2076" y="96"/>
                    </a:lnTo>
                    <a:lnTo>
                      <a:pt x="2082" y="96"/>
                    </a:lnTo>
                    <a:lnTo>
                      <a:pt x="2082" y="102"/>
                    </a:lnTo>
                    <a:lnTo>
                      <a:pt x="2088" y="102"/>
                    </a:lnTo>
                    <a:lnTo>
                      <a:pt x="2088" y="108"/>
                    </a:lnTo>
                    <a:lnTo>
                      <a:pt x="2094" y="108"/>
                    </a:lnTo>
                    <a:lnTo>
                      <a:pt x="2094" y="114"/>
                    </a:lnTo>
                    <a:lnTo>
                      <a:pt x="2100" y="114"/>
                    </a:lnTo>
                    <a:lnTo>
                      <a:pt x="2106" y="114"/>
                    </a:lnTo>
                    <a:lnTo>
                      <a:pt x="2106" y="120"/>
                    </a:lnTo>
                    <a:lnTo>
                      <a:pt x="2100" y="120"/>
                    </a:lnTo>
                    <a:lnTo>
                      <a:pt x="2106" y="120"/>
                    </a:lnTo>
                    <a:lnTo>
                      <a:pt x="2106" y="126"/>
                    </a:lnTo>
                    <a:lnTo>
                      <a:pt x="2106" y="132"/>
                    </a:lnTo>
                    <a:lnTo>
                      <a:pt x="2100" y="138"/>
                    </a:lnTo>
                    <a:lnTo>
                      <a:pt x="2106" y="138"/>
                    </a:lnTo>
                    <a:lnTo>
                      <a:pt x="2106" y="144"/>
                    </a:lnTo>
                    <a:lnTo>
                      <a:pt x="2112" y="144"/>
                    </a:lnTo>
                    <a:lnTo>
                      <a:pt x="2112" y="150"/>
                    </a:lnTo>
                    <a:lnTo>
                      <a:pt x="2106" y="150"/>
                    </a:lnTo>
                    <a:lnTo>
                      <a:pt x="2106" y="144"/>
                    </a:lnTo>
                    <a:lnTo>
                      <a:pt x="2100" y="144"/>
                    </a:lnTo>
                    <a:lnTo>
                      <a:pt x="2100" y="150"/>
                    </a:lnTo>
                    <a:lnTo>
                      <a:pt x="2100" y="156"/>
                    </a:lnTo>
                    <a:lnTo>
                      <a:pt x="2094" y="156"/>
                    </a:lnTo>
                    <a:lnTo>
                      <a:pt x="2094" y="162"/>
                    </a:lnTo>
                    <a:lnTo>
                      <a:pt x="2100" y="162"/>
                    </a:lnTo>
                    <a:lnTo>
                      <a:pt x="2094" y="168"/>
                    </a:lnTo>
                    <a:lnTo>
                      <a:pt x="2100" y="168"/>
                    </a:lnTo>
                    <a:lnTo>
                      <a:pt x="2100" y="174"/>
                    </a:lnTo>
                    <a:lnTo>
                      <a:pt x="2106" y="174"/>
                    </a:lnTo>
                    <a:lnTo>
                      <a:pt x="2100" y="174"/>
                    </a:lnTo>
                    <a:lnTo>
                      <a:pt x="2106" y="180"/>
                    </a:lnTo>
                    <a:lnTo>
                      <a:pt x="2100" y="180"/>
                    </a:lnTo>
                    <a:lnTo>
                      <a:pt x="2100" y="186"/>
                    </a:lnTo>
                    <a:lnTo>
                      <a:pt x="2106" y="186"/>
                    </a:lnTo>
                    <a:lnTo>
                      <a:pt x="2106" y="192"/>
                    </a:lnTo>
                    <a:lnTo>
                      <a:pt x="2112" y="192"/>
                    </a:lnTo>
                    <a:lnTo>
                      <a:pt x="2112" y="198"/>
                    </a:lnTo>
                    <a:lnTo>
                      <a:pt x="2112" y="192"/>
                    </a:lnTo>
                    <a:lnTo>
                      <a:pt x="2112" y="198"/>
                    </a:lnTo>
                    <a:lnTo>
                      <a:pt x="2118" y="198"/>
                    </a:lnTo>
                    <a:lnTo>
                      <a:pt x="2124" y="198"/>
                    </a:lnTo>
                    <a:lnTo>
                      <a:pt x="2124" y="204"/>
                    </a:lnTo>
                    <a:lnTo>
                      <a:pt x="2124" y="210"/>
                    </a:lnTo>
                    <a:lnTo>
                      <a:pt x="2130" y="210"/>
                    </a:lnTo>
                    <a:lnTo>
                      <a:pt x="2130" y="216"/>
                    </a:lnTo>
                    <a:lnTo>
                      <a:pt x="2130" y="222"/>
                    </a:lnTo>
                    <a:lnTo>
                      <a:pt x="2130" y="228"/>
                    </a:lnTo>
                    <a:lnTo>
                      <a:pt x="2136" y="228"/>
                    </a:lnTo>
                    <a:lnTo>
                      <a:pt x="2136" y="234"/>
                    </a:lnTo>
                    <a:lnTo>
                      <a:pt x="2136" y="240"/>
                    </a:lnTo>
                    <a:lnTo>
                      <a:pt x="2136" y="246"/>
                    </a:lnTo>
                    <a:lnTo>
                      <a:pt x="2130" y="246"/>
                    </a:lnTo>
                    <a:lnTo>
                      <a:pt x="2124" y="246"/>
                    </a:lnTo>
                    <a:lnTo>
                      <a:pt x="2130" y="252"/>
                    </a:lnTo>
                    <a:lnTo>
                      <a:pt x="2124" y="252"/>
                    </a:lnTo>
                    <a:lnTo>
                      <a:pt x="2118" y="258"/>
                    </a:lnTo>
                    <a:lnTo>
                      <a:pt x="2112" y="258"/>
                    </a:lnTo>
                    <a:lnTo>
                      <a:pt x="2112" y="264"/>
                    </a:lnTo>
                    <a:lnTo>
                      <a:pt x="2118" y="264"/>
                    </a:lnTo>
                    <a:lnTo>
                      <a:pt x="2112" y="264"/>
                    </a:lnTo>
                    <a:lnTo>
                      <a:pt x="2112" y="270"/>
                    </a:lnTo>
                    <a:lnTo>
                      <a:pt x="2112" y="276"/>
                    </a:lnTo>
                    <a:lnTo>
                      <a:pt x="2118" y="276"/>
                    </a:lnTo>
                    <a:lnTo>
                      <a:pt x="2118" y="282"/>
                    </a:lnTo>
                    <a:lnTo>
                      <a:pt x="2118" y="288"/>
                    </a:lnTo>
                    <a:lnTo>
                      <a:pt x="2112" y="288"/>
                    </a:lnTo>
                    <a:lnTo>
                      <a:pt x="2112" y="294"/>
                    </a:lnTo>
                    <a:lnTo>
                      <a:pt x="2106" y="294"/>
                    </a:lnTo>
                    <a:lnTo>
                      <a:pt x="2106" y="300"/>
                    </a:lnTo>
                    <a:lnTo>
                      <a:pt x="2100" y="300"/>
                    </a:lnTo>
                    <a:lnTo>
                      <a:pt x="2094" y="306"/>
                    </a:lnTo>
                    <a:lnTo>
                      <a:pt x="2088" y="306"/>
                    </a:lnTo>
                    <a:lnTo>
                      <a:pt x="2088" y="312"/>
                    </a:lnTo>
                    <a:lnTo>
                      <a:pt x="2082" y="312"/>
                    </a:lnTo>
                    <a:lnTo>
                      <a:pt x="2088" y="312"/>
                    </a:lnTo>
                    <a:lnTo>
                      <a:pt x="2094" y="312"/>
                    </a:lnTo>
                    <a:lnTo>
                      <a:pt x="2100" y="318"/>
                    </a:lnTo>
                    <a:lnTo>
                      <a:pt x="2106" y="318"/>
                    </a:lnTo>
                    <a:lnTo>
                      <a:pt x="2112" y="324"/>
                    </a:lnTo>
                    <a:lnTo>
                      <a:pt x="2118" y="324"/>
                    </a:lnTo>
                    <a:lnTo>
                      <a:pt x="2118" y="330"/>
                    </a:lnTo>
                    <a:lnTo>
                      <a:pt x="2124" y="330"/>
                    </a:lnTo>
                    <a:lnTo>
                      <a:pt x="2130" y="324"/>
                    </a:lnTo>
                    <a:lnTo>
                      <a:pt x="2130" y="318"/>
                    </a:lnTo>
                    <a:lnTo>
                      <a:pt x="2130" y="312"/>
                    </a:lnTo>
                    <a:lnTo>
                      <a:pt x="2136" y="312"/>
                    </a:lnTo>
                    <a:lnTo>
                      <a:pt x="2130" y="300"/>
                    </a:lnTo>
                    <a:lnTo>
                      <a:pt x="2136" y="294"/>
                    </a:lnTo>
                    <a:lnTo>
                      <a:pt x="2142" y="294"/>
                    </a:lnTo>
                    <a:lnTo>
                      <a:pt x="2142" y="288"/>
                    </a:lnTo>
                    <a:lnTo>
                      <a:pt x="2142" y="282"/>
                    </a:lnTo>
                    <a:lnTo>
                      <a:pt x="2148" y="282"/>
                    </a:lnTo>
                    <a:lnTo>
                      <a:pt x="2148" y="276"/>
                    </a:lnTo>
                    <a:lnTo>
                      <a:pt x="2154" y="276"/>
                    </a:lnTo>
                    <a:lnTo>
                      <a:pt x="2160" y="276"/>
                    </a:lnTo>
                    <a:lnTo>
                      <a:pt x="2160" y="270"/>
                    </a:lnTo>
                    <a:lnTo>
                      <a:pt x="2166" y="276"/>
                    </a:lnTo>
                    <a:lnTo>
                      <a:pt x="2172" y="276"/>
                    </a:lnTo>
                    <a:lnTo>
                      <a:pt x="2172" y="282"/>
                    </a:lnTo>
                    <a:lnTo>
                      <a:pt x="2166" y="282"/>
                    </a:lnTo>
                    <a:lnTo>
                      <a:pt x="2166" y="288"/>
                    </a:lnTo>
                    <a:lnTo>
                      <a:pt x="2166" y="294"/>
                    </a:lnTo>
                    <a:lnTo>
                      <a:pt x="2160" y="294"/>
                    </a:lnTo>
                    <a:lnTo>
                      <a:pt x="2166" y="294"/>
                    </a:lnTo>
                    <a:lnTo>
                      <a:pt x="2160" y="300"/>
                    </a:lnTo>
                    <a:lnTo>
                      <a:pt x="2160" y="306"/>
                    </a:lnTo>
                    <a:lnTo>
                      <a:pt x="2166" y="306"/>
                    </a:lnTo>
                    <a:lnTo>
                      <a:pt x="2172" y="306"/>
                    </a:lnTo>
                    <a:lnTo>
                      <a:pt x="2178" y="306"/>
                    </a:lnTo>
                    <a:lnTo>
                      <a:pt x="2184" y="306"/>
                    </a:lnTo>
                    <a:lnTo>
                      <a:pt x="2184" y="312"/>
                    </a:lnTo>
                    <a:lnTo>
                      <a:pt x="2178" y="318"/>
                    </a:lnTo>
                    <a:lnTo>
                      <a:pt x="2184" y="318"/>
                    </a:lnTo>
                    <a:lnTo>
                      <a:pt x="2184" y="324"/>
                    </a:lnTo>
                    <a:lnTo>
                      <a:pt x="2178" y="318"/>
                    </a:lnTo>
                    <a:lnTo>
                      <a:pt x="2184" y="324"/>
                    </a:lnTo>
                    <a:lnTo>
                      <a:pt x="2178" y="324"/>
                    </a:lnTo>
                    <a:lnTo>
                      <a:pt x="2184" y="330"/>
                    </a:lnTo>
                    <a:lnTo>
                      <a:pt x="2178" y="330"/>
                    </a:lnTo>
                    <a:lnTo>
                      <a:pt x="2184" y="330"/>
                    </a:lnTo>
                    <a:lnTo>
                      <a:pt x="2178" y="336"/>
                    </a:lnTo>
                    <a:lnTo>
                      <a:pt x="2184" y="336"/>
                    </a:lnTo>
                    <a:lnTo>
                      <a:pt x="2184" y="342"/>
                    </a:lnTo>
                    <a:lnTo>
                      <a:pt x="2184" y="348"/>
                    </a:lnTo>
                    <a:lnTo>
                      <a:pt x="2184" y="354"/>
                    </a:lnTo>
                    <a:lnTo>
                      <a:pt x="2178" y="360"/>
                    </a:lnTo>
                    <a:lnTo>
                      <a:pt x="2178" y="366"/>
                    </a:lnTo>
                    <a:lnTo>
                      <a:pt x="2178" y="372"/>
                    </a:lnTo>
                    <a:lnTo>
                      <a:pt x="2184" y="372"/>
                    </a:lnTo>
                    <a:lnTo>
                      <a:pt x="2184" y="378"/>
                    </a:lnTo>
                    <a:lnTo>
                      <a:pt x="2184" y="384"/>
                    </a:lnTo>
                    <a:lnTo>
                      <a:pt x="2178" y="384"/>
                    </a:lnTo>
                    <a:lnTo>
                      <a:pt x="2178" y="390"/>
                    </a:lnTo>
                    <a:lnTo>
                      <a:pt x="2178" y="396"/>
                    </a:lnTo>
                    <a:lnTo>
                      <a:pt x="2172" y="396"/>
                    </a:lnTo>
                    <a:lnTo>
                      <a:pt x="2178" y="402"/>
                    </a:lnTo>
                    <a:lnTo>
                      <a:pt x="2184" y="408"/>
                    </a:lnTo>
                    <a:lnTo>
                      <a:pt x="2190" y="408"/>
                    </a:lnTo>
                    <a:lnTo>
                      <a:pt x="2196" y="414"/>
                    </a:lnTo>
                    <a:lnTo>
                      <a:pt x="2202" y="414"/>
                    </a:lnTo>
                    <a:lnTo>
                      <a:pt x="2208" y="414"/>
                    </a:lnTo>
                    <a:lnTo>
                      <a:pt x="2214" y="408"/>
                    </a:lnTo>
                    <a:lnTo>
                      <a:pt x="2214" y="414"/>
                    </a:lnTo>
                    <a:lnTo>
                      <a:pt x="2220" y="408"/>
                    </a:lnTo>
                    <a:lnTo>
                      <a:pt x="2226" y="408"/>
                    </a:lnTo>
                    <a:lnTo>
                      <a:pt x="2226" y="414"/>
                    </a:lnTo>
                    <a:lnTo>
                      <a:pt x="2232" y="408"/>
                    </a:lnTo>
                    <a:lnTo>
                      <a:pt x="2244" y="408"/>
                    </a:lnTo>
                    <a:lnTo>
                      <a:pt x="2250" y="408"/>
                    </a:lnTo>
                    <a:lnTo>
                      <a:pt x="2256" y="414"/>
                    </a:lnTo>
                    <a:lnTo>
                      <a:pt x="2262" y="414"/>
                    </a:lnTo>
                    <a:lnTo>
                      <a:pt x="2262" y="408"/>
                    </a:lnTo>
                    <a:lnTo>
                      <a:pt x="2268" y="408"/>
                    </a:lnTo>
                    <a:lnTo>
                      <a:pt x="2268" y="402"/>
                    </a:lnTo>
                    <a:lnTo>
                      <a:pt x="2274" y="390"/>
                    </a:lnTo>
                    <a:lnTo>
                      <a:pt x="2274" y="384"/>
                    </a:lnTo>
                    <a:lnTo>
                      <a:pt x="2280" y="384"/>
                    </a:lnTo>
                    <a:lnTo>
                      <a:pt x="2286" y="384"/>
                    </a:lnTo>
                    <a:lnTo>
                      <a:pt x="2286" y="378"/>
                    </a:lnTo>
                    <a:lnTo>
                      <a:pt x="2286" y="384"/>
                    </a:lnTo>
                    <a:lnTo>
                      <a:pt x="2286" y="378"/>
                    </a:lnTo>
                    <a:lnTo>
                      <a:pt x="2292" y="378"/>
                    </a:lnTo>
                    <a:lnTo>
                      <a:pt x="2298" y="378"/>
                    </a:lnTo>
                    <a:lnTo>
                      <a:pt x="2292" y="372"/>
                    </a:lnTo>
                    <a:lnTo>
                      <a:pt x="2298" y="366"/>
                    </a:lnTo>
                    <a:lnTo>
                      <a:pt x="2304" y="366"/>
                    </a:lnTo>
                    <a:lnTo>
                      <a:pt x="2292" y="360"/>
                    </a:lnTo>
                    <a:lnTo>
                      <a:pt x="2286" y="354"/>
                    </a:lnTo>
                    <a:lnTo>
                      <a:pt x="2280" y="354"/>
                    </a:lnTo>
                    <a:lnTo>
                      <a:pt x="2280" y="348"/>
                    </a:lnTo>
                    <a:lnTo>
                      <a:pt x="2286" y="348"/>
                    </a:lnTo>
                    <a:lnTo>
                      <a:pt x="2292" y="342"/>
                    </a:lnTo>
                    <a:lnTo>
                      <a:pt x="2298" y="342"/>
                    </a:lnTo>
                    <a:lnTo>
                      <a:pt x="2304" y="336"/>
                    </a:lnTo>
                    <a:lnTo>
                      <a:pt x="2304" y="330"/>
                    </a:lnTo>
                    <a:lnTo>
                      <a:pt x="2304" y="324"/>
                    </a:lnTo>
                    <a:lnTo>
                      <a:pt x="2304" y="330"/>
                    </a:lnTo>
                    <a:lnTo>
                      <a:pt x="2310" y="330"/>
                    </a:lnTo>
                    <a:lnTo>
                      <a:pt x="2316" y="330"/>
                    </a:lnTo>
                    <a:lnTo>
                      <a:pt x="2322" y="330"/>
                    </a:lnTo>
                    <a:lnTo>
                      <a:pt x="2322" y="336"/>
                    </a:lnTo>
                    <a:lnTo>
                      <a:pt x="2328" y="336"/>
                    </a:lnTo>
                    <a:lnTo>
                      <a:pt x="2328" y="342"/>
                    </a:lnTo>
                    <a:lnTo>
                      <a:pt x="2328" y="348"/>
                    </a:lnTo>
                    <a:lnTo>
                      <a:pt x="2322" y="348"/>
                    </a:lnTo>
                    <a:lnTo>
                      <a:pt x="2322" y="354"/>
                    </a:lnTo>
                    <a:lnTo>
                      <a:pt x="2316" y="354"/>
                    </a:lnTo>
                    <a:lnTo>
                      <a:pt x="2322" y="354"/>
                    </a:lnTo>
                    <a:lnTo>
                      <a:pt x="2316" y="354"/>
                    </a:lnTo>
                    <a:lnTo>
                      <a:pt x="2322" y="360"/>
                    </a:lnTo>
                    <a:lnTo>
                      <a:pt x="2316" y="366"/>
                    </a:lnTo>
                    <a:lnTo>
                      <a:pt x="2322" y="366"/>
                    </a:lnTo>
                    <a:lnTo>
                      <a:pt x="2322" y="372"/>
                    </a:lnTo>
                    <a:lnTo>
                      <a:pt x="2328" y="372"/>
                    </a:lnTo>
                    <a:lnTo>
                      <a:pt x="2334" y="372"/>
                    </a:lnTo>
                    <a:lnTo>
                      <a:pt x="2340" y="366"/>
                    </a:lnTo>
                    <a:lnTo>
                      <a:pt x="2340" y="372"/>
                    </a:lnTo>
                    <a:lnTo>
                      <a:pt x="2346" y="372"/>
                    </a:lnTo>
                    <a:lnTo>
                      <a:pt x="2352" y="372"/>
                    </a:lnTo>
                    <a:lnTo>
                      <a:pt x="2352" y="378"/>
                    </a:lnTo>
                    <a:lnTo>
                      <a:pt x="2352" y="372"/>
                    </a:lnTo>
                    <a:lnTo>
                      <a:pt x="2352" y="378"/>
                    </a:lnTo>
                    <a:lnTo>
                      <a:pt x="2352" y="384"/>
                    </a:lnTo>
                    <a:lnTo>
                      <a:pt x="2346" y="384"/>
                    </a:lnTo>
                    <a:lnTo>
                      <a:pt x="2346" y="390"/>
                    </a:lnTo>
                    <a:lnTo>
                      <a:pt x="2340" y="390"/>
                    </a:lnTo>
                    <a:lnTo>
                      <a:pt x="2340" y="396"/>
                    </a:lnTo>
                    <a:lnTo>
                      <a:pt x="2334" y="396"/>
                    </a:lnTo>
                    <a:lnTo>
                      <a:pt x="2334" y="402"/>
                    </a:lnTo>
                    <a:lnTo>
                      <a:pt x="2340" y="402"/>
                    </a:lnTo>
                    <a:lnTo>
                      <a:pt x="2340" y="408"/>
                    </a:lnTo>
                    <a:lnTo>
                      <a:pt x="2334" y="408"/>
                    </a:lnTo>
                    <a:lnTo>
                      <a:pt x="2340" y="408"/>
                    </a:lnTo>
                    <a:lnTo>
                      <a:pt x="2340" y="414"/>
                    </a:lnTo>
                    <a:lnTo>
                      <a:pt x="2346" y="414"/>
                    </a:lnTo>
                    <a:lnTo>
                      <a:pt x="2346" y="420"/>
                    </a:lnTo>
                    <a:lnTo>
                      <a:pt x="2352" y="420"/>
                    </a:lnTo>
                    <a:lnTo>
                      <a:pt x="2352" y="426"/>
                    </a:lnTo>
                    <a:lnTo>
                      <a:pt x="2352" y="432"/>
                    </a:lnTo>
                    <a:lnTo>
                      <a:pt x="2352" y="438"/>
                    </a:lnTo>
                    <a:lnTo>
                      <a:pt x="2358" y="438"/>
                    </a:lnTo>
                    <a:lnTo>
                      <a:pt x="2352" y="438"/>
                    </a:lnTo>
                    <a:lnTo>
                      <a:pt x="2346" y="438"/>
                    </a:lnTo>
                    <a:lnTo>
                      <a:pt x="2340" y="438"/>
                    </a:lnTo>
                    <a:lnTo>
                      <a:pt x="2340" y="444"/>
                    </a:lnTo>
                    <a:lnTo>
                      <a:pt x="2340" y="450"/>
                    </a:lnTo>
                    <a:lnTo>
                      <a:pt x="2334" y="450"/>
                    </a:lnTo>
                    <a:lnTo>
                      <a:pt x="2334" y="444"/>
                    </a:lnTo>
                    <a:lnTo>
                      <a:pt x="2334" y="450"/>
                    </a:lnTo>
                    <a:lnTo>
                      <a:pt x="2334" y="456"/>
                    </a:lnTo>
                    <a:lnTo>
                      <a:pt x="2334" y="462"/>
                    </a:lnTo>
                    <a:lnTo>
                      <a:pt x="2340" y="462"/>
                    </a:lnTo>
                    <a:lnTo>
                      <a:pt x="2340" y="468"/>
                    </a:lnTo>
                    <a:lnTo>
                      <a:pt x="2346" y="468"/>
                    </a:lnTo>
                    <a:lnTo>
                      <a:pt x="2346" y="474"/>
                    </a:lnTo>
                    <a:lnTo>
                      <a:pt x="2346" y="468"/>
                    </a:lnTo>
                    <a:lnTo>
                      <a:pt x="2346" y="462"/>
                    </a:lnTo>
                    <a:lnTo>
                      <a:pt x="2352" y="462"/>
                    </a:lnTo>
                    <a:lnTo>
                      <a:pt x="2352" y="468"/>
                    </a:lnTo>
                    <a:lnTo>
                      <a:pt x="2352" y="462"/>
                    </a:lnTo>
                    <a:lnTo>
                      <a:pt x="2352" y="468"/>
                    </a:lnTo>
                    <a:lnTo>
                      <a:pt x="2358" y="468"/>
                    </a:lnTo>
                    <a:lnTo>
                      <a:pt x="2358" y="474"/>
                    </a:lnTo>
                    <a:lnTo>
                      <a:pt x="2364" y="474"/>
                    </a:lnTo>
                    <a:lnTo>
                      <a:pt x="2370" y="480"/>
                    </a:lnTo>
                    <a:lnTo>
                      <a:pt x="2364" y="480"/>
                    </a:lnTo>
                    <a:lnTo>
                      <a:pt x="2370" y="480"/>
                    </a:lnTo>
                    <a:lnTo>
                      <a:pt x="2370" y="486"/>
                    </a:lnTo>
                    <a:lnTo>
                      <a:pt x="2370" y="492"/>
                    </a:lnTo>
                    <a:lnTo>
                      <a:pt x="2376" y="492"/>
                    </a:lnTo>
                    <a:lnTo>
                      <a:pt x="2376" y="498"/>
                    </a:lnTo>
                    <a:lnTo>
                      <a:pt x="2376" y="504"/>
                    </a:lnTo>
                    <a:lnTo>
                      <a:pt x="2382" y="504"/>
                    </a:lnTo>
                    <a:lnTo>
                      <a:pt x="2382" y="510"/>
                    </a:lnTo>
                    <a:lnTo>
                      <a:pt x="2376" y="504"/>
                    </a:lnTo>
                    <a:lnTo>
                      <a:pt x="2376" y="510"/>
                    </a:lnTo>
                    <a:lnTo>
                      <a:pt x="2382" y="510"/>
                    </a:lnTo>
                    <a:lnTo>
                      <a:pt x="2382" y="516"/>
                    </a:lnTo>
                    <a:lnTo>
                      <a:pt x="2382" y="522"/>
                    </a:lnTo>
                    <a:lnTo>
                      <a:pt x="2376" y="522"/>
                    </a:lnTo>
                    <a:lnTo>
                      <a:pt x="2376" y="516"/>
                    </a:lnTo>
                    <a:lnTo>
                      <a:pt x="2370" y="516"/>
                    </a:lnTo>
                    <a:lnTo>
                      <a:pt x="2376" y="516"/>
                    </a:lnTo>
                    <a:lnTo>
                      <a:pt x="2376" y="522"/>
                    </a:lnTo>
                    <a:lnTo>
                      <a:pt x="2382" y="522"/>
                    </a:lnTo>
                    <a:lnTo>
                      <a:pt x="2382" y="528"/>
                    </a:lnTo>
                    <a:lnTo>
                      <a:pt x="2388" y="528"/>
                    </a:lnTo>
                    <a:lnTo>
                      <a:pt x="2388" y="534"/>
                    </a:lnTo>
                    <a:lnTo>
                      <a:pt x="2388" y="540"/>
                    </a:lnTo>
                    <a:lnTo>
                      <a:pt x="2382" y="540"/>
                    </a:lnTo>
                    <a:lnTo>
                      <a:pt x="2376" y="540"/>
                    </a:lnTo>
                    <a:lnTo>
                      <a:pt x="2376" y="546"/>
                    </a:lnTo>
                    <a:lnTo>
                      <a:pt x="2370" y="546"/>
                    </a:lnTo>
                    <a:lnTo>
                      <a:pt x="2370" y="540"/>
                    </a:lnTo>
                    <a:lnTo>
                      <a:pt x="2364" y="540"/>
                    </a:lnTo>
                    <a:lnTo>
                      <a:pt x="2358" y="540"/>
                    </a:lnTo>
                    <a:lnTo>
                      <a:pt x="2352" y="540"/>
                    </a:lnTo>
                    <a:lnTo>
                      <a:pt x="2346" y="546"/>
                    </a:lnTo>
                    <a:lnTo>
                      <a:pt x="2340" y="552"/>
                    </a:lnTo>
                    <a:lnTo>
                      <a:pt x="2346" y="558"/>
                    </a:lnTo>
                    <a:lnTo>
                      <a:pt x="2352" y="564"/>
                    </a:lnTo>
                    <a:lnTo>
                      <a:pt x="2352" y="570"/>
                    </a:lnTo>
                    <a:lnTo>
                      <a:pt x="2346" y="570"/>
                    </a:lnTo>
                    <a:lnTo>
                      <a:pt x="2346" y="576"/>
                    </a:lnTo>
                    <a:lnTo>
                      <a:pt x="2352" y="576"/>
                    </a:lnTo>
                    <a:lnTo>
                      <a:pt x="2352" y="582"/>
                    </a:lnTo>
                    <a:lnTo>
                      <a:pt x="2358" y="582"/>
                    </a:lnTo>
                    <a:lnTo>
                      <a:pt x="2358" y="588"/>
                    </a:lnTo>
                    <a:lnTo>
                      <a:pt x="2352" y="588"/>
                    </a:lnTo>
                    <a:lnTo>
                      <a:pt x="2346" y="588"/>
                    </a:lnTo>
                    <a:lnTo>
                      <a:pt x="2340" y="588"/>
                    </a:lnTo>
                    <a:lnTo>
                      <a:pt x="2346" y="594"/>
                    </a:lnTo>
                    <a:lnTo>
                      <a:pt x="2340" y="594"/>
                    </a:lnTo>
                    <a:lnTo>
                      <a:pt x="2340" y="600"/>
                    </a:lnTo>
                    <a:lnTo>
                      <a:pt x="2340" y="606"/>
                    </a:lnTo>
                    <a:lnTo>
                      <a:pt x="2346" y="606"/>
                    </a:lnTo>
                    <a:lnTo>
                      <a:pt x="2346" y="612"/>
                    </a:lnTo>
                    <a:lnTo>
                      <a:pt x="2340" y="612"/>
                    </a:lnTo>
                    <a:lnTo>
                      <a:pt x="2346" y="612"/>
                    </a:lnTo>
                    <a:lnTo>
                      <a:pt x="2346" y="618"/>
                    </a:lnTo>
                    <a:lnTo>
                      <a:pt x="2352" y="618"/>
                    </a:lnTo>
                    <a:lnTo>
                      <a:pt x="2352" y="624"/>
                    </a:lnTo>
                    <a:lnTo>
                      <a:pt x="2358" y="624"/>
                    </a:lnTo>
                    <a:lnTo>
                      <a:pt x="2364" y="624"/>
                    </a:lnTo>
                    <a:lnTo>
                      <a:pt x="2364" y="618"/>
                    </a:lnTo>
                    <a:lnTo>
                      <a:pt x="2364" y="624"/>
                    </a:lnTo>
                    <a:lnTo>
                      <a:pt x="2370" y="618"/>
                    </a:lnTo>
                    <a:lnTo>
                      <a:pt x="2370" y="624"/>
                    </a:lnTo>
                    <a:lnTo>
                      <a:pt x="2376" y="624"/>
                    </a:lnTo>
                    <a:lnTo>
                      <a:pt x="2376" y="630"/>
                    </a:lnTo>
                    <a:lnTo>
                      <a:pt x="2376" y="636"/>
                    </a:lnTo>
                    <a:lnTo>
                      <a:pt x="2370" y="642"/>
                    </a:lnTo>
                    <a:lnTo>
                      <a:pt x="2370" y="648"/>
                    </a:lnTo>
                    <a:lnTo>
                      <a:pt x="2364" y="648"/>
                    </a:lnTo>
                    <a:lnTo>
                      <a:pt x="2364" y="654"/>
                    </a:lnTo>
                    <a:lnTo>
                      <a:pt x="2364" y="660"/>
                    </a:lnTo>
                    <a:lnTo>
                      <a:pt x="2370" y="666"/>
                    </a:lnTo>
                    <a:lnTo>
                      <a:pt x="2376" y="666"/>
                    </a:lnTo>
                    <a:lnTo>
                      <a:pt x="2376" y="672"/>
                    </a:lnTo>
                    <a:lnTo>
                      <a:pt x="2370" y="672"/>
                    </a:lnTo>
                    <a:lnTo>
                      <a:pt x="2376" y="672"/>
                    </a:lnTo>
                    <a:lnTo>
                      <a:pt x="2382" y="672"/>
                    </a:lnTo>
                    <a:lnTo>
                      <a:pt x="2382" y="678"/>
                    </a:lnTo>
                    <a:lnTo>
                      <a:pt x="2388" y="684"/>
                    </a:lnTo>
                    <a:lnTo>
                      <a:pt x="2382" y="684"/>
                    </a:lnTo>
                    <a:lnTo>
                      <a:pt x="2376" y="690"/>
                    </a:lnTo>
                    <a:lnTo>
                      <a:pt x="2376" y="696"/>
                    </a:lnTo>
                    <a:lnTo>
                      <a:pt x="2382" y="702"/>
                    </a:lnTo>
                    <a:lnTo>
                      <a:pt x="2376" y="702"/>
                    </a:lnTo>
                    <a:lnTo>
                      <a:pt x="2370" y="702"/>
                    </a:lnTo>
                    <a:lnTo>
                      <a:pt x="2370" y="708"/>
                    </a:lnTo>
                    <a:lnTo>
                      <a:pt x="2364" y="708"/>
                    </a:lnTo>
                    <a:lnTo>
                      <a:pt x="2358" y="708"/>
                    </a:lnTo>
                    <a:lnTo>
                      <a:pt x="2358" y="702"/>
                    </a:lnTo>
                    <a:lnTo>
                      <a:pt x="2358" y="696"/>
                    </a:lnTo>
                    <a:lnTo>
                      <a:pt x="2358" y="690"/>
                    </a:lnTo>
                    <a:lnTo>
                      <a:pt x="2364" y="690"/>
                    </a:lnTo>
                    <a:lnTo>
                      <a:pt x="2358" y="690"/>
                    </a:lnTo>
                    <a:lnTo>
                      <a:pt x="2358" y="696"/>
                    </a:lnTo>
                    <a:lnTo>
                      <a:pt x="2352" y="696"/>
                    </a:lnTo>
                    <a:lnTo>
                      <a:pt x="2352" y="702"/>
                    </a:lnTo>
                    <a:lnTo>
                      <a:pt x="2352" y="708"/>
                    </a:lnTo>
                    <a:lnTo>
                      <a:pt x="2352" y="714"/>
                    </a:lnTo>
                    <a:lnTo>
                      <a:pt x="2346" y="714"/>
                    </a:lnTo>
                    <a:lnTo>
                      <a:pt x="2352" y="714"/>
                    </a:lnTo>
                    <a:lnTo>
                      <a:pt x="2358" y="720"/>
                    </a:lnTo>
                    <a:lnTo>
                      <a:pt x="2358" y="714"/>
                    </a:lnTo>
                    <a:lnTo>
                      <a:pt x="2358" y="720"/>
                    </a:lnTo>
                    <a:lnTo>
                      <a:pt x="2364" y="720"/>
                    </a:lnTo>
                    <a:lnTo>
                      <a:pt x="2364" y="714"/>
                    </a:lnTo>
                    <a:lnTo>
                      <a:pt x="2364" y="720"/>
                    </a:lnTo>
                    <a:lnTo>
                      <a:pt x="2364" y="726"/>
                    </a:lnTo>
                    <a:lnTo>
                      <a:pt x="2358" y="726"/>
                    </a:lnTo>
                    <a:lnTo>
                      <a:pt x="2352" y="726"/>
                    </a:lnTo>
                    <a:lnTo>
                      <a:pt x="2358" y="726"/>
                    </a:lnTo>
                    <a:lnTo>
                      <a:pt x="2358" y="732"/>
                    </a:lnTo>
                    <a:lnTo>
                      <a:pt x="2358" y="738"/>
                    </a:lnTo>
                    <a:lnTo>
                      <a:pt x="2358" y="744"/>
                    </a:lnTo>
                    <a:lnTo>
                      <a:pt x="2358" y="750"/>
                    </a:lnTo>
                    <a:lnTo>
                      <a:pt x="2364" y="756"/>
                    </a:lnTo>
                    <a:lnTo>
                      <a:pt x="2358" y="756"/>
                    </a:lnTo>
                    <a:lnTo>
                      <a:pt x="2358" y="762"/>
                    </a:lnTo>
                    <a:lnTo>
                      <a:pt x="2364" y="762"/>
                    </a:lnTo>
                    <a:lnTo>
                      <a:pt x="2364" y="768"/>
                    </a:lnTo>
                    <a:lnTo>
                      <a:pt x="2370" y="768"/>
                    </a:lnTo>
                    <a:lnTo>
                      <a:pt x="2370" y="774"/>
                    </a:lnTo>
                    <a:lnTo>
                      <a:pt x="2370" y="780"/>
                    </a:lnTo>
                    <a:lnTo>
                      <a:pt x="2364" y="780"/>
                    </a:lnTo>
                    <a:lnTo>
                      <a:pt x="2364" y="774"/>
                    </a:lnTo>
                    <a:lnTo>
                      <a:pt x="2358" y="774"/>
                    </a:lnTo>
                    <a:lnTo>
                      <a:pt x="2358" y="780"/>
                    </a:lnTo>
                    <a:lnTo>
                      <a:pt x="2358" y="786"/>
                    </a:lnTo>
                    <a:lnTo>
                      <a:pt x="2364" y="786"/>
                    </a:lnTo>
                    <a:lnTo>
                      <a:pt x="2364" y="792"/>
                    </a:lnTo>
                    <a:lnTo>
                      <a:pt x="2358" y="792"/>
                    </a:lnTo>
                    <a:lnTo>
                      <a:pt x="2364" y="792"/>
                    </a:lnTo>
                    <a:lnTo>
                      <a:pt x="2358" y="792"/>
                    </a:lnTo>
                    <a:lnTo>
                      <a:pt x="2364" y="798"/>
                    </a:lnTo>
                    <a:lnTo>
                      <a:pt x="2364" y="792"/>
                    </a:lnTo>
                    <a:lnTo>
                      <a:pt x="2370" y="792"/>
                    </a:lnTo>
                    <a:lnTo>
                      <a:pt x="2376" y="792"/>
                    </a:lnTo>
                    <a:lnTo>
                      <a:pt x="2376" y="798"/>
                    </a:lnTo>
                    <a:lnTo>
                      <a:pt x="2382" y="798"/>
                    </a:lnTo>
                    <a:lnTo>
                      <a:pt x="2388" y="804"/>
                    </a:lnTo>
                    <a:lnTo>
                      <a:pt x="2382" y="804"/>
                    </a:lnTo>
                    <a:lnTo>
                      <a:pt x="2388" y="804"/>
                    </a:lnTo>
                    <a:lnTo>
                      <a:pt x="2388" y="810"/>
                    </a:lnTo>
                    <a:lnTo>
                      <a:pt x="2388" y="816"/>
                    </a:lnTo>
                    <a:lnTo>
                      <a:pt x="2394" y="816"/>
                    </a:lnTo>
                    <a:lnTo>
                      <a:pt x="2394" y="822"/>
                    </a:lnTo>
                    <a:lnTo>
                      <a:pt x="2400" y="822"/>
                    </a:lnTo>
                    <a:lnTo>
                      <a:pt x="2406" y="816"/>
                    </a:lnTo>
                    <a:lnTo>
                      <a:pt x="2406" y="822"/>
                    </a:lnTo>
                    <a:lnTo>
                      <a:pt x="2406" y="828"/>
                    </a:lnTo>
                    <a:lnTo>
                      <a:pt x="2412" y="828"/>
                    </a:lnTo>
                    <a:lnTo>
                      <a:pt x="2418" y="828"/>
                    </a:lnTo>
                    <a:lnTo>
                      <a:pt x="2412" y="828"/>
                    </a:lnTo>
                    <a:lnTo>
                      <a:pt x="2418" y="828"/>
                    </a:lnTo>
                    <a:lnTo>
                      <a:pt x="2412" y="828"/>
                    </a:lnTo>
                    <a:lnTo>
                      <a:pt x="2412" y="834"/>
                    </a:lnTo>
                    <a:lnTo>
                      <a:pt x="2418" y="828"/>
                    </a:lnTo>
                    <a:lnTo>
                      <a:pt x="2418" y="834"/>
                    </a:lnTo>
                    <a:lnTo>
                      <a:pt x="2424" y="840"/>
                    </a:lnTo>
                    <a:lnTo>
                      <a:pt x="2424" y="846"/>
                    </a:lnTo>
                    <a:lnTo>
                      <a:pt x="2424" y="852"/>
                    </a:lnTo>
                    <a:lnTo>
                      <a:pt x="2430" y="852"/>
                    </a:lnTo>
                    <a:lnTo>
                      <a:pt x="2430" y="846"/>
                    </a:lnTo>
                    <a:lnTo>
                      <a:pt x="2436" y="846"/>
                    </a:lnTo>
                    <a:lnTo>
                      <a:pt x="2436" y="840"/>
                    </a:lnTo>
                    <a:lnTo>
                      <a:pt x="2442" y="840"/>
                    </a:lnTo>
                    <a:lnTo>
                      <a:pt x="2442" y="846"/>
                    </a:lnTo>
                    <a:lnTo>
                      <a:pt x="2448" y="840"/>
                    </a:lnTo>
                    <a:lnTo>
                      <a:pt x="2448" y="846"/>
                    </a:lnTo>
                    <a:lnTo>
                      <a:pt x="2454" y="846"/>
                    </a:lnTo>
                    <a:lnTo>
                      <a:pt x="2454" y="852"/>
                    </a:lnTo>
                    <a:lnTo>
                      <a:pt x="2460" y="858"/>
                    </a:lnTo>
                    <a:lnTo>
                      <a:pt x="2466" y="858"/>
                    </a:lnTo>
                    <a:lnTo>
                      <a:pt x="2466" y="864"/>
                    </a:lnTo>
                    <a:lnTo>
                      <a:pt x="2472" y="864"/>
                    </a:lnTo>
                    <a:lnTo>
                      <a:pt x="2472" y="870"/>
                    </a:lnTo>
                    <a:lnTo>
                      <a:pt x="2472" y="876"/>
                    </a:lnTo>
                    <a:lnTo>
                      <a:pt x="2472" y="882"/>
                    </a:lnTo>
                    <a:lnTo>
                      <a:pt x="2472" y="888"/>
                    </a:lnTo>
                    <a:lnTo>
                      <a:pt x="2466" y="888"/>
                    </a:lnTo>
                    <a:lnTo>
                      <a:pt x="2460" y="894"/>
                    </a:lnTo>
                    <a:lnTo>
                      <a:pt x="2460" y="900"/>
                    </a:lnTo>
                    <a:lnTo>
                      <a:pt x="2454" y="900"/>
                    </a:lnTo>
                    <a:lnTo>
                      <a:pt x="2460" y="900"/>
                    </a:lnTo>
                    <a:lnTo>
                      <a:pt x="2454" y="900"/>
                    </a:lnTo>
                    <a:lnTo>
                      <a:pt x="2448" y="900"/>
                    </a:lnTo>
                    <a:lnTo>
                      <a:pt x="2448" y="906"/>
                    </a:lnTo>
                    <a:lnTo>
                      <a:pt x="2448" y="912"/>
                    </a:lnTo>
                    <a:lnTo>
                      <a:pt x="2454" y="912"/>
                    </a:lnTo>
                    <a:lnTo>
                      <a:pt x="2448" y="912"/>
                    </a:lnTo>
                    <a:lnTo>
                      <a:pt x="2448" y="906"/>
                    </a:lnTo>
                    <a:lnTo>
                      <a:pt x="2442" y="906"/>
                    </a:lnTo>
                    <a:lnTo>
                      <a:pt x="2436" y="906"/>
                    </a:lnTo>
                    <a:lnTo>
                      <a:pt x="2436" y="912"/>
                    </a:lnTo>
                    <a:lnTo>
                      <a:pt x="2436" y="918"/>
                    </a:lnTo>
                    <a:lnTo>
                      <a:pt x="2436" y="924"/>
                    </a:lnTo>
                    <a:lnTo>
                      <a:pt x="2430" y="924"/>
                    </a:lnTo>
                    <a:lnTo>
                      <a:pt x="2436" y="924"/>
                    </a:lnTo>
                    <a:lnTo>
                      <a:pt x="2436" y="930"/>
                    </a:lnTo>
                    <a:lnTo>
                      <a:pt x="2430" y="930"/>
                    </a:lnTo>
                    <a:lnTo>
                      <a:pt x="2430" y="924"/>
                    </a:lnTo>
                    <a:lnTo>
                      <a:pt x="2430" y="930"/>
                    </a:lnTo>
                    <a:lnTo>
                      <a:pt x="2436" y="930"/>
                    </a:lnTo>
                    <a:lnTo>
                      <a:pt x="2442" y="930"/>
                    </a:lnTo>
                    <a:lnTo>
                      <a:pt x="2448" y="930"/>
                    </a:lnTo>
                    <a:lnTo>
                      <a:pt x="2448" y="936"/>
                    </a:lnTo>
                    <a:lnTo>
                      <a:pt x="2448" y="942"/>
                    </a:lnTo>
                    <a:lnTo>
                      <a:pt x="2454" y="936"/>
                    </a:lnTo>
                    <a:lnTo>
                      <a:pt x="2460" y="936"/>
                    </a:lnTo>
                    <a:lnTo>
                      <a:pt x="2466" y="936"/>
                    </a:lnTo>
                    <a:lnTo>
                      <a:pt x="2460" y="936"/>
                    </a:lnTo>
                    <a:lnTo>
                      <a:pt x="2466" y="936"/>
                    </a:lnTo>
                    <a:lnTo>
                      <a:pt x="2472" y="942"/>
                    </a:lnTo>
                    <a:lnTo>
                      <a:pt x="2466" y="942"/>
                    </a:lnTo>
                    <a:lnTo>
                      <a:pt x="2466" y="948"/>
                    </a:lnTo>
                    <a:lnTo>
                      <a:pt x="2466" y="954"/>
                    </a:lnTo>
                    <a:lnTo>
                      <a:pt x="2460" y="954"/>
                    </a:lnTo>
                    <a:lnTo>
                      <a:pt x="2466" y="948"/>
                    </a:lnTo>
                    <a:lnTo>
                      <a:pt x="2460" y="948"/>
                    </a:lnTo>
                    <a:lnTo>
                      <a:pt x="2460" y="954"/>
                    </a:lnTo>
                    <a:lnTo>
                      <a:pt x="2454" y="954"/>
                    </a:lnTo>
                    <a:lnTo>
                      <a:pt x="2454" y="960"/>
                    </a:lnTo>
                    <a:lnTo>
                      <a:pt x="2460" y="960"/>
                    </a:lnTo>
                    <a:lnTo>
                      <a:pt x="2466" y="960"/>
                    </a:lnTo>
                    <a:lnTo>
                      <a:pt x="2460" y="960"/>
                    </a:lnTo>
                    <a:lnTo>
                      <a:pt x="2466" y="960"/>
                    </a:lnTo>
                    <a:lnTo>
                      <a:pt x="2472" y="960"/>
                    </a:lnTo>
                    <a:lnTo>
                      <a:pt x="2472" y="966"/>
                    </a:lnTo>
                    <a:lnTo>
                      <a:pt x="2478" y="966"/>
                    </a:lnTo>
                    <a:lnTo>
                      <a:pt x="2478" y="972"/>
                    </a:lnTo>
                    <a:lnTo>
                      <a:pt x="2484" y="978"/>
                    </a:lnTo>
                    <a:lnTo>
                      <a:pt x="2478" y="978"/>
                    </a:lnTo>
                    <a:lnTo>
                      <a:pt x="2472" y="978"/>
                    </a:lnTo>
                    <a:lnTo>
                      <a:pt x="2478" y="984"/>
                    </a:lnTo>
                    <a:lnTo>
                      <a:pt x="2472" y="990"/>
                    </a:lnTo>
                    <a:lnTo>
                      <a:pt x="2472" y="996"/>
                    </a:lnTo>
                    <a:lnTo>
                      <a:pt x="2472" y="1002"/>
                    </a:lnTo>
                    <a:lnTo>
                      <a:pt x="2466" y="1002"/>
                    </a:lnTo>
                    <a:lnTo>
                      <a:pt x="2472" y="1008"/>
                    </a:lnTo>
                    <a:lnTo>
                      <a:pt x="2478" y="1002"/>
                    </a:lnTo>
                    <a:lnTo>
                      <a:pt x="2478" y="996"/>
                    </a:lnTo>
                    <a:lnTo>
                      <a:pt x="2484" y="996"/>
                    </a:lnTo>
                    <a:lnTo>
                      <a:pt x="2484" y="1002"/>
                    </a:lnTo>
                    <a:lnTo>
                      <a:pt x="2490" y="1002"/>
                    </a:lnTo>
                    <a:lnTo>
                      <a:pt x="2490" y="1008"/>
                    </a:lnTo>
                    <a:lnTo>
                      <a:pt x="2496" y="1008"/>
                    </a:lnTo>
                    <a:lnTo>
                      <a:pt x="2502" y="1008"/>
                    </a:lnTo>
                    <a:lnTo>
                      <a:pt x="2502" y="1002"/>
                    </a:lnTo>
                    <a:lnTo>
                      <a:pt x="2508" y="1002"/>
                    </a:lnTo>
                    <a:lnTo>
                      <a:pt x="2514" y="1002"/>
                    </a:lnTo>
                    <a:lnTo>
                      <a:pt x="2514" y="1008"/>
                    </a:lnTo>
                    <a:lnTo>
                      <a:pt x="2514" y="1014"/>
                    </a:lnTo>
                    <a:lnTo>
                      <a:pt x="2520" y="1014"/>
                    </a:lnTo>
                    <a:lnTo>
                      <a:pt x="2526" y="1020"/>
                    </a:lnTo>
                    <a:lnTo>
                      <a:pt x="2532" y="1020"/>
                    </a:lnTo>
                    <a:lnTo>
                      <a:pt x="2532" y="1026"/>
                    </a:lnTo>
                    <a:lnTo>
                      <a:pt x="2538" y="1026"/>
                    </a:lnTo>
                    <a:lnTo>
                      <a:pt x="2538" y="1020"/>
                    </a:lnTo>
                    <a:lnTo>
                      <a:pt x="2538" y="1026"/>
                    </a:lnTo>
                    <a:lnTo>
                      <a:pt x="2544" y="1020"/>
                    </a:lnTo>
                    <a:lnTo>
                      <a:pt x="2538" y="1020"/>
                    </a:lnTo>
                    <a:lnTo>
                      <a:pt x="2544" y="1014"/>
                    </a:lnTo>
                    <a:lnTo>
                      <a:pt x="2544" y="1020"/>
                    </a:lnTo>
                    <a:lnTo>
                      <a:pt x="2550" y="1020"/>
                    </a:lnTo>
                    <a:lnTo>
                      <a:pt x="2556" y="1020"/>
                    </a:lnTo>
                    <a:lnTo>
                      <a:pt x="2556" y="1026"/>
                    </a:lnTo>
                    <a:lnTo>
                      <a:pt x="2556" y="1032"/>
                    </a:lnTo>
                    <a:lnTo>
                      <a:pt x="2550" y="1038"/>
                    </a:lnTo>
                    <a:lnTo>
                      <a:pt x="2556" y="1038"/>
                    </a:lnTo>
                    <a:lnTo>
                      <a:pt x="2562" y="1038"/>
                    </a:lnTo>
                    <a:lnTo>
                      <a:pt x="2562" y="1044"/>
                    </a:lnTo>
                    <a:lnTo>
                      <a:pt x="2562" y="1050"/>
                    </a:lnTo>
                    <a:lnTo>
                      <a:pt x="2562" y="1056"/>
                    </a:lnTo>
                    <a:lnTo>
                      <a:pt x="2568" y="1056"/>
                    </a:lnTo>
                    <a:lnTo>
                      <a:pt x="2574" y="1056"/>
                    </a:lnTo>
                    <a:lnTo>
                      <a:pt x="2580" y="1056"/>
                    </a:lnTo>
                    <a:lnTo>
                      <a:pt x="2580" y="1062"/>
                    </a:lnTo>
                    <a:lnTo>
                      <a:pt x="2580" y="1056"/>
                    </a:lnTo>
                    <a:lnTo>
                      <a:pt x="2580" y="1062"/>
                    </a:lnTo>
                    <a:lnTo>
                      <a:pt x="2580" y="1056"/>
                    </a:lnTo>
                    <a:lnTo>
                      <a:pt x="2586" y="1062"/>
                    </a:lnTo>
                    <a:lnTo>
                      <a:pt x="2586" y="1068"/>
                    </a:lnTo>
                    <a:lnTo>
                      <a:pt x="2580" y="1074"/>
                    </a:lnTo>
                    <a:lnTo>
                      <a:pt x="2586" y="1074"/>
                    </a:lnTo>
                    <a:lnTo>
                      <a:pt x="2592" y="1074"/>
                    </a:lnTo>
                    <a:lnTo>
                      <a:pt x="2598" y="1074"/>
                    </a:lnTo>
                    <a:lnTo>
                      <a:pt x="2604" y="1080"/>
                    </a:lnTo>
                    <a:lnTo>
                      <a:pt x="2604" y="1086"/>
                    </a:lnTo>
                    <a:lnTo>
                      <a:pt x="2610" y="1086"/>
                    </a:lnTo>
                    <a:lnTo>
                      <a:pt x="2610" y="1092"/>
                    </a:lnTo>
                    <a:lnTo>
                      <a:pt x="2610" y="1086"/>
                    </a:lnTo>
                    <a:lnTo>
                      <a:pt x="2610" y="1092"/>
                    </a:lnTo>
                    <a:lnTo>
                      <a:pt x="2604" y="1092"/>
                    </a:lnTo>
                    <a:lnTo>
                      <a:pt x="2604" y="1098"/>
                    </a:lnTo>
                    <a:lnTo>
                      <a:pt x="2604" y="1104"/>
                    </a:lnTo>
                    <a:lnTo>
                      <a:pt x="2610" y="1104"/>
                    </a:lnTo>
                    <a:lnTo>
                      <a:pt x="2610" y="1098"/>
                    </a:lnTo>
                    <a:lnTo>
                      <a:pt x="2616" y="1098"/>
                    </a:lnTo>
                    <a:lnTo>
                      <a:pt x="2622" y="1098"/>
                    </a:lnTo>
                    <a:lnTo>
                      <a:pt x="2616" y="1104"/>
                    </a:lnTo>
                    <a:lnTo>
                      <a:pt x="2622" y="1104"/>
                    </a:lnTo>
                    <a:lnTo>
                      <a:pt x="2622" y="1110"/>
                    </a:lnTo>
                    <a:lnTo>
                      <a:pt x="2616" y="1110"/>
                    </a:lnTo>
                    <a:lnTo>
                      <a:pt x="2616" y="1116"/>
                    </a:lnTo>
                    <a:lnTo>
                      <a:pt x="2622" y="1116"/>
                    </a:lnTo>
                    <a:lnTo>
                      <a:pt x="2628" y="1116"/>
                    </a:lnTo>
                    <a:lnTo>
                      <a:pt x="2628" y="1122"/>
                    </a:lnTo>
                    <a:lnTo>
                      <a:pt x="2628" y="1128"/>
                    </a:lnTo>
                    <a:lnTo>
                      <a:pt x="2634" y="1134"/>
                    </a:lnTo>
                    <a:lnTo>
                      <a:pt x="2640" y="1128"/>
                    </a:lnTo>
                    <a:lnTo>
                      <a:pt x="2640" y="1134"/>
                    </a:lnTo>
                    <a:lnTo>
                      <a:pt x="2640" y="1140"/>
                    </a:lnTo>
                    <a:lnTo>
                      <a:pt x="2646" y="1140"/>
                    </a:lnTo>
                    <a:lnTo>
                      <a:pt x="2646" y="1146"/>
                    </a:lnTo>
                    <a:lnTo>
                      <a:pt x="2634" y="1146"/>
                    </a:lnTo>
                    <a:lnTo>
                      <a:pt x="2640" y="1152"/>
                    </a:lnTo>
                    <a:lnTo>
                      <a:pt x="2646" y="1158"/>
                    </a:lnTo>
                    <a:lnTo>
                      <a:pt x="2652" y="1164"/>
                    </a:lnTo>
                    <a:lnTo>
                      <a:pt x="2652" y="1170"/>
                    </a:lnTo>
                    <a:lnTo>
                      <a:pt x="2646" y="1170"/>
                    </a:lnTo>
                    <a:lnTo>
                      <a:pt x="2646" y="1176"/>
                    </a:lnTo>
                    <a:lnTo>
                      <a:pt x="2640" y="1176"/>
                    </a:lnTo>
                    <a:lnTo>
                      <a:pt x="2640" y="1182"/>
                    </a:lnTo>
                    <a:lnTo>
                      <a:pt x="2634" y="1182"/>
                    </a:lnTo>
                    <a:lnTo>
                      <a:pt x="2628" y="1182"/>
                    </a:lnTo>
                    <a:lnTo>
                      <a:pt x="2622" y="1182"/>
                    </a:lnTo>
                    <a:lnTo>
                      <a:pt x="2622" y="1188"/>
                    </a:lnTo>
                    <a:lnTo>
                      <a:pt x="2628" y="1194"/>
                    </a:lnTo>
                    <a:lnTo>
                      <a:pt x="2640" y="1194"/>
                    </a:lnTo>
                    <a:lnTo>
                      <a:pt x="2640" y="1200"/>
                    </a:lnTo>
                    <a:lnTo>
                      <a:pt x="2646" y="1200"/>
                    </a:lnTo>
                    <a:lnTo>
                      <a:pt x="2646" y="1206"/>
                    </a:lnTo>
                    <a:lnTo>
                      <a:pt x="2652" y="1206"/>
                    </a:lnTo>
                    <a:lnTo>
                      <a:pt x="2646" y="1212"/>
                    </a:lnTo>
                    <a:lnTo>
                      <a:pt x="2646" y="1218"/>
                    </a:lnTo>
                    <a:lnTo>
                      <a:pt x="2640" y="1218"/>
                    </a:lnTo>
                    <a:lnTo>
                      <a:pt x="2646" y="1218"/>
                    </a:lnTo>
                    <a:lnTo>
                      <a:pt x="2646" y="1224"/>
                    </a:lnTo>
                    <a:lnTo>
                      <a:pt x="2646" y="1230"/>
                    </a:lnTo>
                    <a:lnTo>
                      <a:pt x="2646" y="1236"/>
                    </a:lnTo>
                    <a:lnTo>
                      <a:pt x="2646" y="1242"/>
                    </a:lnTo>
                    <a:lnTo>
                      <a:pt x="2652" y="1248"/>
                    </a:lnTo>
                    <a:lnTo>
                      <a:pt x="2646" y="1248"/>
                    </a:lnTo>
                    <a:lnTo>
                      <a:pt x="2646" y="1254"/>
                    </a:lnTo>
                    <a:lnTo>
                      <a:pt x="2646" y="1260"/>
                    </a:lnTo>
                    <a:lnTo>
                      <a:pt x="2640" y="1260"/>
                    </a:lnTo>
                    <a:lnTo>
                      <a:pt x="2634" y="1260"/>
                    </a:lnTo>
                    <a:lnTo>
                      <a:pt x="2628" y="1266"/>
                    </a:lnTo>
                    <a:lnTo>
                      <a:pt x="2628" y="1278"/>
                    </a:lnTo>
                    <a:lnTo>
                      <a:pt x="2634" y="1278"/>
                    </a:lnTo>
                    <a:lnTo>
                      <a:pt x="2640" y="1278"/>
                    </a:lnTo>
                    <a:lnTo>
                      <a:pt x="2640" y="1284"/>
                    </a:lnTo>
                    <a:lnTo>
                      <a:pt x="2646" y="1284"/>
                    </a:lnTo>
                    <a:lnTo>
                      <a:pt x="2646" y="1290"/>
                    </a:lnTo>
                    <a:lnTo>
                      <a:pt x="2646" y="1296"/>
                    </a:lnTo>
                    <a:lnTo>
                      <a:pt x="2646" y="1302"/>
                    </a:lnTo>
                    <a:lnTo>
                      <a:pt x="2646" y="1308"/>
                    </a:lnTo>
                    <a:lnTo>
                      <a:pt x="2646" y="1314"/>
                    </a:lnTo>
                    <a:lnTo>
                      <a:pt x="2640" y="1314"/>
                    </a:lnTo>
                    <a:lnTo>
                      <a:pt x="2640" y="1320"/>
                    </a:lnTo>
                    <a:lnTo>
                      <a:pt x="2634" y="1320"/>
                    </a:lnTo>
                    <a:lnTo>
                      <a:pt x="2634" y="1326"/>
                    </a:lnTo>
                    <a:lnTo>
                      <a:pt x="2628" y="1326"/>
                    </a:lnTo>
                    <a:lnTo>
                      <a:pt x="2622" y="1326"/>
                    </a:lnTo>
                    <a:lnTo>
                      <a:pt x="2622" y="1332"/>
                    </a:lnTo>
                    <a:lnTo>
                      <a:pt x="2628" y="1332"/>
                    </a:lnTo>
                    <a:lnTo>
                      <a:pt x="2628" y="1338"/>
                    </a:lnTo>
                    <a:lnTo>
                      <a:pt x="2634" y="1338"/>
                    </a:lnTo>
                    <a:lnTo>
                      <a:pt x="2634" y="1344"/>
                    </a:lnTo>
                    <a:lnTo>
                      <a:pt x="2628" y="1344"/>
                    </a:lnTo>
                    <a:lnTo>
                      <a:pt x="2628" y="1350"/>
                    </a:lnTo>
                    <a:lnTo>
                      <a:pt x="2628" y="1356"/>
                    </a:lnTo>
                    <a:lnTo>
                      <a:pt x="2634" y="1356"/>
                    </a:lnTo>
                    <a:lnTo>
                      <a:pt x="2628" y="1362"/>
                    </a:lnTo>
                    <a:lnTo>
                      <a:pt x="2628" y="1356"/>
                    </a:lnTo>
                    <a:lnTo>
                      <a:pt x="2628" y="1362"/>
                    </a:lnTo>
                    <a:lnTo>
                      <a:pt x="2628" y="1368"/>
                    </a:lnTo>
                    <a:lnTo>
                      <a:pt x="2628" y="1362"/>
                    </a:lnTo>
                    <a:lnTo>
                      <a:pt x="2622" y="1362"/>
                    </a:lnTo>
                    <a:lnTo>
                      <a:pt x="2616" y="1362"/>
                    </a:lnTo>
                    <a:lnTo>
                      <a:pt x="2622" y="1362"/>
                    </a:lnTo>
                    <a:lnTo>
                      <a:pt x="2622" y="1356"/>
                    </a:lnTo>
                    <a:lnTo>
                      <a:pt x="2616" y="1356"/>
                    </a:lnTo>
                    <a:lnTo>
                      <a:pt x="2616" y="1362"/>
                    </a:lnTo>
                    <a:lnTo>
                      <a:pt x="2616" y="1368"/>
                    </a:lnTo>
                    <a:lnTo>
                      <a:pt x="2616" y="1374"/>
                    </a:lnTo>
                    <a:lnTo>
                      <a:pt x="2622" y="1374"/>
                    </a:lnTo>
                    <a:lnTo>
                      <a:pt x="2622" y="1380"/>
                    </a:lnTo>
                    <a:lnTo>
                      <a:pt x="2628" y="1386"/>
                    </a:lnTo>
                    <a:lnTo>
                      <a:pt x="2622" y="1386"/>
                    </a:lnTo>
                    <a:lnTo>
                      <a:pt x="2622" y="1392"/>
                    </a:lnTo>
                    <a:lnTo>
                      <a:pt x="2622" y="1386"/>
                    </a:lnTo>
                    <a:lnTo>
                      <a:pt x="2616" y="1392"/>
                    </a:lnTo>
                    <a:lnTo>
                      <a:pt x="2622" y="1392"/>
                    </a:lnTo>
                    <a:lnTo>
                      <a:pt x="2622" y="1398"/>
                    </a:lnTo>
                    <a:lnTo>
                      <a:pt x="2616" y="1398"/>
                    </a:lnTo>
                    <a:lnTo>
                      <a:pt x="2622" y="1398"/>
                    </a:lnTo>
                    <a:lnTo>
                      <a:pt x="2634" y="1404"/>
                    </a:lnTo>
                    <a:lnTo>
                      <a:pt x="2628" y="1410"/>
                    </a:lnTo>
                    <a:lnTo>
                      <a:pt x="2640" y="1410"/>
                    </a:lnTo>
                    <a:lnTo>
                      <a:pt x="2640" y="1422"/>
                    </a:lnTo>
                    <a:lnTo>
                      <a:pt x="2646" y="1422"/>
                    </a:lnTo>
                    <a:lnTo>
                      <a:pt x="2646" y="1416"/>
                    </a:lnTo>
                    <a:lnTo>
                      <a:pt x="2652" y="1416"/>
                    </a:lnTo>
                    <a:lnTo>
                      <a:pt x="2658" y="1410"/>
                    </a:lnTo>
                    <a:lnTo>
                      <a:pt x="2652" y="1422"/>
                    </a:lnTo>
                    <a:lnTo>
                      <a:pt x="2658" y="1422"/>
                    </a:lnTo>
                    <a:lnTo>
                      <a:pt x="2664" y="1428"/>
                    </a:lnTo>
                    <a:lnTo>
                      <a:pt x="2658" y="1428"/>
                    </a:lnTo>
                    <a:lnTo>
                      <a:pt x="2664" y="1434"/>
                    </a:lnTo>
                    <a:lnTo>
                      <a:pt x="2664" y="1440"/>
                    </a:lnTo>
                    <a:lnTo>
                      <a:pt x="2670" y="1446"/>
                    </a:lnTo>
                    <a:lnTo>
                      <a:pt x="2676" y="1446"/>
                    </a:lnTo>
                    <a:lnTo>
                      <a:pt x="2676" y="1452"/>
                    </a:lnTo>
                    <a:lnTo>
                      <a:pt x="2664" y="1452"/>
                    </a:lnTo>
                    <a:lnTo>
                      <a:pt x="2664" y="1458"/>
                    </a:lnTo>
                    <a:lnTo>
                      <a:pt x="2676" y="1458"/>
                    </a:lnTo>
                    <a:lnTo>
                      <a:pt x="2676" y="1470"/>
                    </a:lnTo>
                    <a:lnTo>
                      <a:pt x="2682" y="1464"/>
                    </a:lnTo>
                    <a:lnTo>
                      <a:pt x="2682" y="1470"/>
                    </a:lnTo>
                    <a:lnTo>
                      <a:pt x="2676" y="1470"/>
                    </a:lnTo>
                    <a:lnTo>
                      <a:pt x="2682" y="1470"/>
                    </a:lnTo>
                    <a:lnTo>
                      <a:pt x="2688" y="1476"/>
                    </a:lnTo>
                    <a:lnTo>
                      <a:pt x="2682" y="1476"/>
                    </a:lnTo>
                    <a:lnTo>
                      <a:pt x="2682" y="1482"/>
                    </a:lnTo>
                    <a:lnTo>
                      <a:pt x="2682" y="1476"/>
                    </a:lnTo>
                    <a:lnTo>
                      <a:pt x="2676" y="1476"/>
                    </a:lnTo>
                    <a:lnTo>
                      <a:pt x="2676" y="1482"/>
                    </a:lnTo>
                    <a:lnTo>
                      <a:pt x="2670" y="1488"/>
                    </a:lnTo>
                    <a:lnTo>
                      <a:pt x="2658" y="1500"/>
                    </a:lnTo>
                    <a:lnTo>
                      <a:pt x="2652" y="1500"/>
                    </a:lnTo>
                    <a:lnTo>
                      <a:pt x="2652" y="1506"/>
                    </a:lnTo>
                    <a:lnTo>
                      <a:pt x="2646" y="1506"/>
                    </a:lnTo>
                    <a:lnTo>
                      <a:pt x="2646" y="1512"/>
                    </a:lnTo>
                    <a:lnTo>
                      <a:pt x="2646" y="1506"/>
                    </a:lnTo>
                    <a:lnTo>
                      <a:pt x="2640" y="1506"/>
                    </a:lnTo>
                    <a:lnTo>
                      <a:pt x="2634" y="1506"/>
                    </a:lnTo>
                    <a:lnTo>
                      <a:pt x="2634" y="1512"/>
                    </a:lnTo>
                    <a:lnTo>
                      <a:pt x="2628" y="1512"/>
                    </a:lnTo>
                    <a:lnTo>
                      <a:pt x="2628" y="1506"/>
                    </a:lnTo>
                    <a:lnTo>
                      <a:pt x="2622" y="1512"/>
                    </a:lnTo>
                    <a:lnTo>
                      <a:pt x="2616" y="1512"/>
                    </a:lnTo>
                    <a:lnTo>
                      <a:pt x="2610" y="1512"/>
                    </a:lnTo>
                    <a:lnTo>
                      <a:pt x="2610" y="1506"/>
                    </a:lnTo>
                    <a:lnTo>
                      <a:pt x="2616" y="1506"/>
                    </a:lnTo>
                    <a:lnTo>
                      <a:pt x="2610" y="1506"/>
                    </a:lnTo>
                    <a:lnTo>
                      <a:pt x="2616" y="1500"/>
                    </a:lnTo>
                    <a:lnTo>
                      <a:pt x="2622" y="1500"/>
                    </a:lnTo>
                    <a:lnTo>
                      <a:pt x="2628" y="1500"/>
                    </a:lnTo>
                    <a:lnTo>
                      <a:pt x="2628" y="1494"/>
                    </a:lnTo>
                    <a:lnTo>
                      <a:pt x="2622" y="1494"/>
                    </a:lnTo>
                    <a:lnTo>
                      <a:pt x="2628" y="1488"/>
                    </a:lnTo>
                    <a:lnTo>
                      <a:pt x="2622" y="1482"/>
                    </a:lnTo>
                    <a:lnTo>
                      <a:pt x="2622" y="1476"/>
                    </a:lnTo>
                    <a:lnTo>
                      <a:pt x="2622" y="1470"/>
                    </a:lnTo>
                    <a:lnTo>
                      <a:pt x="2628" y="1476"/>
                    </a:lnTo>
                    <a:lnTo>
                      <a:pt x="2634" y="1476"/>
                    </a:lnTo>
                    <a:lnTo>
                      <a:pt x="2634" y="1470"/>
                    </a:lnTo>
                    <a:lnTo>
                      <a:pt x="2640" y="1470"/>
                    </a:lnTo>
                    <a:lnTo>
                      <a:pt x="2640" y="1464"/>
                    </a:lnTo>
                    <a:lnTo>
                      <a:pt x="2634" y="1464"/>
                    </a:lnTo>
                    <a:lnTo>
                      <a:pt x="2628" y="1464"/>
                    </a:lnTo>
                    <a:lnTo>
                      <a:pt x="2622" y="1470"/>
                    </a:lnTo>
                    <a:lnTo>
                      <a:pt x="2616" y="1464"/>
                    </a:lnTo>
                    <a:lnTo>
                      <a:pt x="2610" y="1464"/>
                    </a:lnTo>
                    <a:lnTo>
                      <a:pt x="2610" y="1470"/>
                    </a:lnTo>
                    <a:lnTo>
                      <a:pt x="2604" y="1470"/>
                    </a:lnTo>
                    <a:lnTo>
                      <a:pt x="2604" y="1476"/>
                    </a:lnTo>
                    <a:lnTo>
                      <a:pt x="2598" y="1476"/>
                    </a:lnTo>
                    <a:lnTo>
                      <a:pt x="2598" y="1482"/>
                    </a:lnTo>
                    <a:lnTo>
                      <a:pt x="2598" y="1488"/>
                    </a:lnTo>
                    <a:lnTo>
                      <a:pt x="2592" y="1494"/>
                    </a:lnTo>
                    <a:lnTo>
                      <a:pt x="2592" y="1500"/>
                    </a:lnTo>
                    <a:lnTo>
                      <a:pt x="2592" y="1506"/>
                    </a:lnTo>
                    <a:lnTo>
                      <a:pt x="2586" y="1506"/>
                    </a:lnTo>
                    <a:lnTo>
                      <a:pt x="2580" y="1512"/>
                    </a:lnTo>
                    <a:lnTo>
                      <a:pt x="2574" y="1512"/>
                    </a:lnTo>
                    <a:lnTo>
                      <a:pt x="2574" y="1518"/>
                    </a:lnTo>
                    <a:lnTo>
                      <a:pt x="2568" y="1524"/>
                    </a:lnTo>
                    <a:lnTo>
                      <a:pt x="2562" y="1524"/>
                    </a:lnTo>
                    <a:lnTo>
                      <a:pt x="2562" y="1518"/>
                    </a:lnTo>
                    <a:lnTo>
                      <a:pt x="2556" y="1512"/>
                    </a:lnTo>
                    <a:lnTo>
                      <a:pt x="2556" y="1506"/>
                    </a:lnTo>
                    <a:lnTo>
                      <a:pt x="2562" y="1506"/>
                    </a:lnTo>
                    <a:lnTo>
                      <a:pt x="2556" y="1500"/>
                    </a:lnTo>
                    <a:lnTo>
                      <a:pt x="2556" y="1494"/>
                    </a:lnTo>
                    <a:lnTo>
                      <a:pt x="2556" y="1488"/>
                    </a:lnTo>
                    <a:lnTo>
                      <a:pt x="2550" y="1482"/>
                    </a:lnTo>
                    <a:lnTo>
                      <a:pt x="2550" y="1476"/>
                    </a:lnTo>
                    <a:lnTo>
                      <a:pt x="2538" y="1476"/>
                    </a:lnTo>
                    <a:lnTo>
                      <a:pt x="2532" y="1476"/>
                    </a:lnTo>
                    <a:lnTo>
                      <a:pt x="2538" y="1476"/>
                    </a:lnTo>
                    <a:lnTo>
                      <a:pt x="2532" y="1476"/>
                    </a:lnTo>
                    <a:lnTo>
                      <a:pt x="2532" y="1482"/>
                    </a:lnTo>
                    <a:lnTo>
                      <a:pt x="2520" y="1476"/>
                    </a:lnTo>
                    <a:lnTo>
                      <a:pt x="2520" y="1482"/>
                    </a:lnTo>
                    <a:lnTo>
                      <a:pt x="2514" y="1476"/>
                    </a:lnTo>
                    <a:lnTo>
                      <a:pt x="2520" y="1476"/>
                    </a:lnTo>
                    <a:lnTo>
                      <a:pt x="2514" y="1476"/>
                    </a:lnTo>
                    <a:lnTo>
                      <a:pt x="2514" y="1470"/>
                    </a:lnTo>
                    <a:lnTo>
                      <a:pt x="2508" y="1470"/>
                    </a:lnTo>
                    <a:lnTo>
                      <a:pt x="2508" y="1464"/>
                    </a:lnTo>
                    <a:lnTo>
                      <a:pt x="2502" y="1464"/>
                    </a:lnTo>
                    <a:lnTo>
                      <a:pt x="2496" y="1458"/>
                    </a:lnTo>
                    <a:lnTo>
                      <a:pt x="2490" y="1458"/>
                    </a:lnTo>
                    <a:lnTo>
                      <a:pt x="2484" y="1458"/>
                    </a:lnTo>
                    <a:lnTo>
                      <a:pt x="2490" y="1470"/>
                    </a:lnTo>
                    <a:lnTo>
                      <a:pt x="2490" y="1482"/>
                    </a:lnTo>
                    <a:lnTo>
                      <a:pt x="2484" y="1482"/>
                    </a:lnTo>
                    <a:lnTo>
                      <a:pt x="2484" y="1488"/>
                    </a:lnTo>
                    <a:lnTo>
                      <a:pt x="2478" y="1488"/>
                    </a:lnTo>
                    <a:lnTo>
                      <a:pt x="2472" y="1494"/>
                    </a:lnTo>
                    <a:lnTo>
                      <a:pt x="2484" y="1500"/>
                    </a:lnTo>
                    <a:lnTo>
                      <a:pt x="2478" y="1500"/>
                    </a:lnTo>
                    <a:lnTo>
                      <a:pt x="2472" y="1506"/>
                    </a:lnTo>
                    <a:lnTo>
                      <a:pt x="2478" y="1512"/>
                    </a:lnTo>
                    <a:lnTo>
                      <a:pt x="2484" y="1512"/>
                    </a:lnTo>
                    <a:lnTo>
                      <a:pt x="2484" y="1518"/>
                    </a:lnTo>
                    <a:lnTo>
                      <a:pt x="2484" y="1524"/>
                    </a:lnTo>
                    <a:lnTo>
                      <a:pt x="2490" y="1524"/>
                    </a:lnTo>
                    <a:lnTo>
                      <a:pt x="2490" y="1536"/>
                    </a:lnTo>
                    <a:lnTo>
                      <a:pt x="2490" y="1530"/>
                    </a:lnTo>
                    <a:lnTo>
                      <a:pt x="2496" y="1536"/>
                    </a:lnTo>
                    <a:lnTo>
                      <a:pt x="2496" y="1530"/>
                    </a:lnTo>
                    <a:lnTo>
                      <a:pt x="2496" y="1542"/>
                    </a:lnTo>
                    <a:lnTo>
                      <a:pt x="2502" y="1542"/>
                    </a:lnTo>
                    <a:lnTo>
                      <a:pt x="2502" y="1548"/>
                    </a:lnTo>
                    <a:lnTo>
                      <a:pt x="2508" y="1548"/>
                    </a:lnTo>
                    <a:lnTo>
                      <a:pt x="2508" y="1554"/>
                    </a:lnTo>
                    <a:lnTo>
                      <a:pt x="2514" y="1554"/>
                    </a:lnTo>
                    <a:lnTo>
                      <a:pt x="2514" y="1560"/>
                    </a:lnTo>
                    <a:lnTo>
                      <a:pt x="2520" y="1566"/>
                    </a:lnTo>
                    <a:lnTo>
                      <a:pt x="2538" y="1584"/>
                    </a:lnTo>
                    <a:lnTo>
                      <a:pt x="2532" y="1584"/>
                    </a:lnTo>
                    <a:lnTo>
                      <a:pt x="2532" y="1590"/>
                    </a:lnTo>
                    <a:lnTo>
                      <a:pt x="2526" y="1590"/>
                    </a:lnTo>
                    <a:lnTo>
                      <a:pt x="2520" y="1590"/>
                    </a:lnTo>
                    <a:lnTo>
                      <a:pt x="2520" y="1596"/>
                    </a:lnTo>
                    <a:lnTo>
                      <a:pt x="2520" y="1590"/>
                    </a:lnTo>
                    <a:lnTo>
                      <a:pt x="2514" y="1590"/>
                    </a:lnTo>
                    <a:lnTo>
                      <a:pt x="2514" y="1596"/>
                    </a:lnTo>
                    <a:lnTo>
                      <a:pt x="2514" y="1602"/>
                    </a:lnTo>
                    <a:lnTo>
                      <a:pt x="2508" y="1608"/>
                    </a:lnTo>
                    <a:lnTo>
                      <a:pt x="2514" y="1608"/>
                    </a:lnTo>
                    <a:lnTo>
                      <a:pt x="2520" y="1614"/>
                    </a:lnTo>
                    <a:lnTo>
                      <a:pt x="2520" y="1620"/>
                    </a:lnTo>
                    <a:lnTo>
                      <a:pt x="2526" y="1626"/>
                    </a:lnTo>
                    <a:lnTo>
                      <a:pt x="2526" y="1632"/>
                    </a:lnTo>
                    <a:lnTo>
                      <a:pt x="2526" y="1644"/>
                    </a:lnTo>
                    <a:lnTo>
                      <a:pt x="2526" y="1656"/>
                    </a:lnTo>
                    <a:lnTo>
                      <a:pt x="2532" y="1656"/>
                    </a:lnTo>
                    <a:lnTo>
                      <a:pt x="2526" y="1662"/>
                    </a:lnTo>
                    <a:lnTo>
                      <a:pt x="2520" y="1662"/>
                    </a:lnTo>
                    <a:lnTo>
                      <a:pt x="2520" y="1668"/>
                    </a:lnTo>
                    <a:lnTo>
                      <a:pt x="2520" y="1674"/>
                    </a:lnTo>
                    <a:lnTo>
                      <a:pt x="2520" y="1680"/>
                    </a:lnTo>
                    <a:lnTo>
                      <a:pt x="2520" y="1692"/>
                    </a:lnTo>
                    <a:lnTo>
                      <a:pt x="2526" y="1692"/>
                    </a:lnTo>
                    <a:lnTo>
                      <a:pt x="2526" y="1686"/>
                    </a:lnTo>
                    <a:lnTo>
                      <a:pt x="2526" y="1692"/>
                    </a:lnTo>
                    <a:lnTo>
                      <a:pt x="2526" y="1698"/>
                    </a:lnTo>
                    <a:lnTo>
                      <a:pt x="2502" y="1710"/>
                    </a:lnTo>
                    <a:lnTo>
                      <a:pt x="2502" y="1704"/>
                    </a:lnTo>
                    <a:lnTo>
                      <a:pt x="2496" y="1710"/>
                    </a:lnTo>
                    <a:lnTo>
                      <a:pt x="2490" y="1710"/>
                    </a:lnTo>
                    <a:lnTo>
                      <a:pt x="2490" y="1704"/>
                    </a:lnTo>
                    <a:lnTo>
                      <a:pt x="2484" y="1704"/>
                    </a:lnTo>
                    <a:lnTo>
                      <a:pt x="2478" y="1704"/>
                    </a:lnTo>
                    <a:lnTo>
                      <a:pt x="2472" y="1704"/>
                    </a:lnTo>
                    <a:lnTo>
                      <a:pt x="2478" y="1710"/>
                    </a:lnTo>
                    <a:lnTo>
                      <a:pt x="2472" y="1710"/>
                    </a:lnTo>
                    <a:lnTo>
                      <a:pt x="2472" y="1704"/>
                    </a:lnTo>
                    <a:lnTo>
                      <a:pt x="2472" y="1710"/>
                    </a:lnTo>
                    <a:lnTo>
                      <a:pt x="2472" y="1716"/>
                    </a:lnTo>
                    <a:lnTo>
                      <a:pt x="2466" y="1716"/>
                    </a:lnTo>
                    <a:lnTo>
                      <a:pt x="2460" y="1716"/>
                    </a:lnTo>
                    <a:lnTo>
                      <a:pt x="2454" y="1716"/>
                    </a:lnTo>
                    <a:lnTo>
                      <a:pt x="2460" y="1722"/>
                    </a:lnTo>
                    <a:lnTo>
                      <a:pt x="2454" y="1716"/>
                    </a:lnTo>
                    <a:lnTo>
                      <a:pt x="2448" y="1722"/>
                    </a:lnTo>
                    <a:lnTo>
                      <a:pt x="2454" y="1722"/>
                    </a:lnTo>
                    <a:lnTo>
                      <a:pt x="2460" y="1722"/>
                    </a:lnTo>
                    <a:lnTo>
                      <a:pt x="2466" y="1728"/>
                    </a:lnTo>
                    <a:lnTo>
                      <a:pt x="2460" y="1728"/>
                    </a:lnTo>
                    <a:lnTo>
                      <a:pt x="2466" y="1740"/>
                    </a:lnTo>
                    <a:lnTo>
                      <a:pt x="2460" y="1746"/>
                    </a:lnTo>
                    <a:lnTo>
                      <a:pt x="2448" y="1746"/>
                    </a:lnTo>
                    <a:lnTo>
                      <a:pt x="2442" y="1746"/>
                    </a:lnTo>
                    <a:lnTo>
                      <a:pt x="2430" y="1752"/>
                    </a:lnTo>
                    <a:lnTo>
                      <a:pt x="2412" y="1764"/>
                    </a:lnTo>
                    <a:lnTo>
                      <a:pt x="2406" y="1770"/>
                    </a:lnTo>
                    <a:lnTo>
                      <a:pt x="2412" y="1764"/>
                    </a:lnTo>
                    <a:lnTo>
                      <a:pt x="2412" y="1770"/>
                    </a:lnTo>
                    <a:lnTo>
                      <a:pt x="2412" y="1776"/>
                    </a:lnTo>
                    <a:lnTo>
                      <a:pt x="2406" y="1770"/>
                    </a:lnTo>
                    <a:lnTo>
                      <a:pt x="2406" y="1776"/>
                    </a:lnTo>
                    <a:lnTo>
                      <a:pt x="2400" y="1782"/>
                    </a:lnTo>
                    <a:lnTo>
                      <a:pt x="2406" y="1782"/>
                    </a:lnTo>
                    <a:lnTo>
                      <a:pt x="2400" y="1782"/>
                    </a:lnTo>
                    <a:lnTo>
                      <a:pt x="2388" y="1788"/>
                    </a:lnTo>
                    <a:lnTo>
                      <a:pt x="2376" y="1788"/>
                    </a:lnTo>
                    <a:lnTo>
                      <a:pt x="2370" y="1788"/>
                    </a:lnTo>
                    <a:lnTo>
                      <a:pt x="2364" y="1788"/>
                    </a:lnTo>
                    <a:lnTo>
                      <a:pt x="2358" y="1782"/>
                    </a:lnTo>
                    <a:lnTo>
                      <a:pt x="2358" y="1776"/>
                    </a:lnTo>
                    <a:lnTo>
                      <a:pt x="2352" y="1770"/>
                    </a:lnTo>
                    <a:lnTo>
                      <a:pt x="2358" y="1764"/>
                    </a:lnTo>
                    <a:lnTo>
                      <a:pt x="2352" y="1764"/>
                    </a:lnTo>
                    <a:lnTo>
                      <a:pt x="2346" y="1758"/>
                    </a:lnTo>
                    <a:lnTo>
                      <a:pt x="2340" y="1758"/>
                    </a:lnTo>
                    <a:lnTo>
                      <a:pt x="2340" y="1764"/>
                    </a:lnTo>
                    <a:lnTo>
                      <a:pt x="2340" y="1770"/>
                    </a:lnTo>
                    <a:lnTo>
                      <a:pt x="2334" y="1770"/>
                    </a:lnTo>
                    <a:lnTo>
                      <a:pt x="2334" y="1776"/>
                    </a:lnTo>
                    <a:lnTo>
                      <a:pt x="2328" y="1776"/>
                    </a:lnTo>
                    <a:lnTo>
                      <a:pt x="2328" y="1782"/>
                    </a:lnTo>
                    <a:lnTo>
                      <a:pt x="2322" y="1782"/>
                    </a:lnTo>
                    <a:lnTo>
                      <a:pt x="2304" y="1788"/>
                    </a:lnTo>
                    <a:lnTo>
                      <a:pt x="2298" y="1794"/>
                    </a:lnTo>
                    <a:lnTo>
                      <a:pt x="2304" y="1788"/>
                    </a:lnTo>
                    <a:lnTo>
                      <a:pt x="2298" y="1788"/>
                    </a:lnTo>
                    <a:lnTo>
                      <a:pt x="2292" y="1788"/>
                    </a:lnTo>
                    <a:lnTo>
                      <a:pt x="2286" y="1788"/>
                    </a:lnTo>
                    <a:lnTo>
                      <a:pt x="2286" y="1782"/>
                    </a:lnTo>
                    <a:lnTo>
                      <a:pt x="2286" y="1788"/>
                    </a:lnTo>
                    <a:lnTo>
                      <a:pt x="2286" y="1782"/>
                    </a:lnTo>
                    <a:lnTo>
                      <a:pt x="2280" y="1788"/>
                    </a:lnTo>
                    <a:lnTo>
                      <a:pt x="2274" y="1794"/>
                    </a:lnTo>
                    <a:lnTo>
                      <a:pt x="2280" y="1794"/>
                    </a:lnTo>
                    <a:lnTo>
                      <a:pt x="2280" y="1800"/>
                    </a:lnTo>
                    <a:lnTo>
                      <a:pt x="2286" y="1806"/>
                    </a:lnTo>
                    <a:lnTo>
                      <a:pt x="2280" y="1806"/>
                    </a:lnTo>
                    <a:lnTo>
                      <a:pt x="2274" y="1812"/>
                    </a:lnTo>
                    <a:lnTo>
                      <a:pt x="2274" y="1818"/>
                    </a:lnTo>
                    <a:lnTo>
                      <a:pt x="2280" y="1818"/>
                    </a:lnTo>
                    <a:lnTo>
                      <a:pt x="2286" y="1818"/>
                    </a:lnTo>
                    <a:lnTo>
                      <a:pt x="2286" y="1824"/>
                    </a:lnTo>
                    <a:lnTo>
                      <a:pt x="2280" y="1824"/>
                    </a:lnTo>
                    <a:lnTo>
                      <a:pt x="2274" y="1830"/>
                    </a:lnTo>
                    <a:lnTo>
                      <a:pt x="2262" y="1842"/>
                    </a:lnTo>
                    <a:lnTo>
                      <a:pt x="2262" y="1848"/>
                    </a:lnTo>
                    <a:lnTo>
                      <a:pt x="2262" y="1854"/>
                    </a:lnTo>
                    <a:lnTo>
                      <a:pt x="2262" y="1860"/>
                    </a:lnTo>
                    <a:lnTo>
                      <a:pt x="2256" y="1860"/>
                    </a:lnTo>
                    <a:lnTo>
                      <a:pt x="2256" y="1866"/>
                    </a:lnTo>
                    <a:lnTo>
                      <a:pt x="2250" y="1866"/>
                    </a:lnTo>
                    <a:lnTo>
                      <a:pt x="2244" y="1872"/>
                    </a:lnTo>
                    <a:lnTo>
                      <a:pt x="2238" y="1872"/>
                    </a:lnTo>
                    <a:lnTo>
                      <a:pt x="2238" y="1878"/>
                    </a:lnTo>
                    <a:lnTo>
                      <a:pt x="2238" y="1884"/>
                    </a:lnTo>
                    <a:lnTo>
                      <a:pt x="2232" y="1884"/>
                    </a:lnTo>
                    <a:lnTo>
                      <a:pt x="2226" y="1890"/>
                    </a:lnTo>
                    <a:lnTo>
                      <a:pt x="2220" y="1890"/>
                    </a:lnTo>
                    <a:lnTo>
                      <a:pt x="2226" y="1896"/>
                    </a:lnTo>
                    <a:lnTo>
                      <a:pt x="2220" y="1896"/>
                    </a:lnTo>
                    <a:lnTo>
                      <a:pt x="2220" y="1902"/>
                    </a:lnTo>
                    <a:lnTo>
                      <a:pt x="2226" y="1908"/>
                    </a:lnTo>
                    <a:lnTo>
                      <a:pt x="2226" y="1914"/>
                    </a:lnTo>
                    <a:lnTo>
                      <a:pt x="2232" y="1914"/>
                    </a:lnTo>
                    <a:lnTo>
                      <a:pt x="2238" y="1914"/>
                    </a:lnTo>
                    <a:lnTo>
                      <a:pt x="2232" y="1914"/>
                    </a:lnTo>
                    <a:lnTo>
                      <a:pt x="2232" y="1908"/>
                    </a:lnTo>
                    <a:lnTo>
                      <a:pt x="2238" y="1902"/>
                    </a:lnTo>
                    <a:lnTo>
                      <a:pt x="2244" y="1908"/>
                    </a:lnTo>
                    <a:lnTo>
                      <a:pt x="2244" y="1914"/>
                    </a:lnTo>
                    <a:lnTo>
                      <a:pt x="2250" y="1914"/>
                    </a:lnTo>
                    <a:lnTo>
                      <a:pt x="2250" y="1920"/>
                    </a:lnTo>
                    <a:lnTo>
                      <a:pt x="2244" y="1920"/>
                    </a:lnTo>
                    <a:lnTo>
                      <a:pt x="2244" y="1926"/>
                    </a:lnTo>
                    <a:lnTo>
                      <a:pt x="2250" y="1932"/>
                    </a:lnTo>
                    <a:lnTo>
                      <a:pt x="2250" y="1938"/>
                    </a:lnTo>
                    <a:lnTo>
                      <a:pt x="2256" y="1938"/>
                    </a:lnTo>
                    <a:lnTo>
                      <a:pt x="2256" y="1944"/>
                    </a:lnTo>
                    <a:lnTo>
                      <a:pt x="2256" y="1950"/>
                    </a:lnTo>
                    <a:lnTo>
                      <a:pt x="2256" y="1956"/>
                    </a:lnTo>
                    <a:lnTo>
                      <a:pt x="2262" y="1956"/>
                    </a:lnTo>
                    <a:lnTo>
                      <a:pt x="2262" y="1962"/>
                    </a:lnTo>
                    <a:lnTo>
                      <a:pt x="2268" y="1962"/>
                    </a:lnTo>
                    <a:lnTo>
                      <a:pt x="2268" y="1968"/>
                    </a:lnTo>
                    <a:lnTo>
                      <a:pt x="2274" y="1968"/>
                    </a:lnTo>
                    <a:lnTo>
                      <a:pt x="2274" y="1974"/>
                    </a:lnTo>
                    <a:lnTo>
                      <a:pt x="2274" y="1980"/>
                    </a:lnTo>
                    <a:lnTo>
                      <a:pt x="2280" y="1986"/>
                    </a:lnTo>
                    <a:lnTo>
                      <a:pt x="2286" y="1992"/>
                    </a:lnTo>
                    <a:lnTo>
                      <a:pt x="2286" y="1998"/>
                    </a:lnTo>
                    <a:lnTo>
                      <a:pt x="2286" y="2004"/>
                    </a:lnTo>
                    <a:lnTo>
                      <a:pt x="2292" y="2010"/>
                    </a:lnTo>
                    <a:lnTo>
                      <a:pt x="2298" y="2010"/>
                    </a:lnTo>
                    <a:lnTo>
                      <a:pt x="2298" y="2016"/>
                    </a:lnTo>
                    <a:lnTo>
                      <a:pt x="2304" y="2016"/>
                    </a:lnTo>
                    <a:lnTo>
                      <a:pt x="2304" y="2022"/>
                    </a:lnTo>
                    <a:lnTo>
                      <a:pt x="2310" y="2022"/>
                    </a:lnTo>
                    <a:lnTo>
                      <a:pt x="2310" y="2028"/>
                    </a:lnTo>
                    <a:lnTo>
                      <a:pt x="2310" y="2034"/>
                    </a:lnTo>
                    <a:lnTo>
                      <a:pt x="2304" y="2034"/>
                    </a:lnTo>
                    <a:lnTo>
                      <a:pt x="2304" y="2040"/>
                    </a:lnTo>
                    <a:lnTo>
                      <a:pt x="2304" y="2046"/>
                    </a:lnTo>
                    <a:lnTo>
                      <a:pt x="2310" y="2046"/>
                    </a:lnTo>
                    <a:lnTo>
                      <a:pt x="2310" y="2052"/>
                    </a:lnTo>
                    <a:lnTo>
                      <a:pt x="2304" y="2052"/>
                    </a:lnTo>
                    <a:lnTo>
                      <a:pt x="2304" y="2058"/>
                    </a:lnTo>
                    <a:lnTo>
                      <a:pt x="2310" y="2058"/>
                    </a:lnTo>
                    <a:lnTo>
                      <a:pt x="2310" y="2064"/>
                    </a:lnTo>
                    <a:lnTo>
                      <a:pt x="2310" y="2070"/>
                    </a:lnTo>
                    <a:lnTo>
                      <a:pt x="2304" y="2070"/>
                    </a:lnTo>
                    <a:lnTo>
                      <a:pt x="2304" y="2076"/>
                    </a:lnTo>
                    <a:lnTo>
                      <a:pt x="2304" y="2082"/>
                    </a:lnTo>
                    <a:lnTo>
                      <a:pt x="2304" y="2088"/>
                    </a:lnTo>
                    <a:lnTo>
                      <a:pt x="2310" y="2088"/>
                    </a:lnTo>
                    <a:lnTo>
                      <a:pt x="2310" y="2094"/>
                    </a:lnTo>
                    <a:lnTo>
                      <a:pt x="2310" y="2100"/>
                    </a:lnTo>
                    <a:lnTo>
                      <a:pt x="2316" y="2100"/>
                    </a:lnTo>
                    <a:lnTo>
                      <a:pt x="2316" y="2106"/>
                    </a:lnTo>
                    <a:lnTo>
                      <a:pt x="2316" y="2112"/>
                    </a:lnTo>
                    <a:lnTo>
                      <a:pt x="2316" y="2118"/>
                    </a:lnTo>
                    <a:lnTo>
                      <a:pt x="2322" y="2118"/>
                    </a:lnTo>
                    <a:lnTo>
                      <a:pt x="2322" y="2124"/>
                    </a:lnTo>
                    <a:lnTo>
                      <a:pt x="2328" y="2124"/>
                    </a:lnTo>
                    <a:lnTo>
                      <a:pt x="2322" y="2130"/>
                    </a:lnTo>
                    <a:lnTo>
                      <a:pt x="2328" y="2136"/>
                    </a:lnTo>
                    <a:lnTo>
                      <a:pt x="2322" y="2136"/>
                    </a:lnTo>
                    <a:lnTo>
                      <a:pt x="2328" y="2142"/>
                    </a:lnTo>
                    <a:lnTo>
                      <a:pt x="2322" y="2148"/>
                    </a:lnTo>
                    <a:lnTo>
                      <a:pt x="2328" y="2148"/>
                    </a:lnTo>
                    <a:lnTo>
                      <a:pt x="2328" y="2154"/>
                    </a:lnTo>
                    <a:lnTo>
                      <a:pt x="2328" y="2160"/>
                    </a:lnTo>
                    <a:lnTo>
                      <a:pt x="2328" y="2166"/>
                    </a:lnTo>
                    <a:lnTo>
                      <a:pt x="2328" y="2172"/>
                    </a:lnTo>
                    <a:lnTo>
                      <a:pt x="2334" y="2178"/>
                    </a:lnTo>
                    <a:lnTo>
                      <a:pt x="2334" y="2184"/>
                    </a:lnTo>
                    <a:lnTo>
                      <a:pt x="2334" y="2190"/>
                    </a:lnTo>
                    <a:lnTo>
                      <a:pt x="2340" y="2190"/>
                    </a:lnTo>
                    <a:lnTo>
                      <a:pt x="2340" y="2196"/>
                    </a:lnTo>
                    <a:lnTo>
                      <a:pt x="2340" y="2202"/>
                    </a:lnTo>
                    <a:lnTo>
                      <a:pt x="2346" y="2208"/>
                    </a:lnTo>
                    <a:lnTo>
                      <a:pt x="2340" y="2208"/>
                    </a:lnTo>
                    <a:lnTo>
                      <a:pt x="2340" y="2214"/>
                    </a:lnTo>
                    <a:lnTo>
                      <a:pt x="2346" y="2214"/>
                    </a:lnTo>
                    <a:lnTo>
                      <a:pt x="2346" y="2220"/>
                    </a:lnTo>
                    <a:lnTo>
                      <a:pt x="2346" y="2226"/>
                    </a:lnTo>
                    <a:lnTo>
                      <a:pt x="2352" y="2232"/>
                    </a:lnTo>
                    <a:lnTo>
                      <a:pt x="2358" y="2238"/>
                    </a:lnTo>
                    <a:lnTo>
                      <a:pt x="2364" y="2244"/>
                    </a:lnTo>
                    <a:lnTo>
                      <a:pt x="2364" y="2250"/>
                    </a:lnTo>
                    <a:lnTo>
                      <a:pt x="2370" y="2250"/>
                    </a:lnTo>
                    <a:lnTo>
                      <a:pt x="2370" y="2256"/>
                    </a:lnTo>
                    <a:lnTo>
                      <a:pt x="2370" y="2262"/>
                    </a:lnTo>
                    <a:lnTo>
                      <a:pt x="2370" y="2268"/>
                    </a:lnTo>
                    <a:lnTo>
                      <a:pt x="2376" y="2268"/>
                    </a:lnTo>
                    <a:lnTo>
                      <a:pt x="2376" y="2274"/>
                    </a:lnTo>
                    <a:lnTo>
                      <a:pt x="2370" y="2274"/>
                    </a:lnTo>
                    <a:lnTo>
                      <a:pt x="2376" y="2274"/>
                    </a:lnTo>
                    <a:lnTo>
                      <a:pt x="2376" y="2280"/>
                    </a:lnTo>
                    <a:lnTo>
                      <a:pt x="2370" y="2286"/>
                    </a:lnTo>
                    <a:lnTo>
                      <a:pt x="2370" y="2292"/>
                    </a:lnTo>
                    <a:lnTo>
                      <a:pt x="2370" y="2298"/>
                    </a:lnTo>
                    <a:lnTo>
                      <a:pt x="2376" y="2298"/>
                    </a:lnTo>
                    <a:lnTo>
                      <a:pt x="2376" y="2304"/>
                    </a:lnTo>
                    <a:lnTo>
                      <a:pt x="2376" y="2310"/>
                    </a:lnTo>
                    <a:lnTo>
                      <a:pt x="2376" y="2316"/>
                    </a:lnTo>
                    <a:lnTo>
                      <a:pt x="2376" y="2322"/>
                    </a:lnTo>
                    <a:lnTo>
                      <a:pt x="2376" y="2328"/>
                    </a:lnTo>
                    <a:lnTo>
                      <a:pt x="2376" y="2334"/>
                    </a:lnTo>
                    <a:lnTo>
                      <a:pt x="2376" y="2340"/>
                    </a:lnTo>
                    <a:lnTo>
                      <a:pt x="2370" y="2340"/>
                    </a:lnTo>
                    <a:lnTo>
                      <a:pt x="2370" y="2346"/>
                    </a:lnTo>
                    <a:lnTo>
                      <a:pt x="2370" y="2352"/>
                    </a:lnTo>
                    <a:lnTo>
                      <a:pt x="2364" y="2352"/>
                    </a:lnTo>
                    <a:lnTo>
                      <a:pt x="2364" y="2358"/>
                    </a:lnTo>
                    <a:lnTo>
                      <a:pt x="2364" y="2364"/>
                    </a:lnTo>
                    <a:lnTo>
                      <a:pt x="2370" y="2364"/>
                    </a:lnTo>
                    <a:lnTo>
                      <a:pt x="2370" y="2370"/>
                    </a:lnTo>
                    <a:lnTo>
                      <a:pt x="2370" y="2376"/>
                    </a:lnTo>
                    <a:lnTo>
                      <a:pt x="2364" y="2382"/>
                    </a:lnTo>
                    <a:lnTo>
                      <a:pt x="2364" y="2388"/>
                    </a:lnTo>
                    <a:lnTo>
                      <a:pt x="2358" y="2394"/>
                    </a:lnTo>
                    <a:lnTo>
                      <a:pt x="2358" y="2400"/>
                    </a:lnTo>
                    <a:lnTo>
                      <a:pt x="2358" y="2406"/>
                    </a:lnTo>
                    <a:lnTo>
                      <a:pt x="2352" y="2418"/>
                    </a:lnTo>
                    <a:lnTo>
                      <a:pt x="2352" y="2424"/>
                    </a:lnTo>
                    <a:lnTo>
                      <a:pt x="2352" y="2430"/>
                    </a:lnTo>
                    <a:lnTo>
                      <a:pt x="2352" y="2436"/>
                    </a:lnTo>
                    <a:lnTo>
                      <a:pt x="2346" y="2436"/>
                    </a:lnTo>
                    <a:lnTo>
                      <a:pt x="2334" y="2436"/>
                    </a:lnTo>
                    <a:lnTo>
                      <a:pt x="2328" y="2442"/>
                    </a:lnTo>
                    <a:lnTo>
                      <a:pt x="2328" y="2448"/>
                    </a:lnTo>
                    <a:lnTo>
                      <a:pt x="2328" y="2454"/>
                    </a:lnTo>
                    <a:lnTo>
                      <a:pt x="2328" y="2460"/>
                    </a:lnTo>
                    <a:lnTo>
                      <a:pt x="2328" y="2466"/>
                    </a:lnTo>
                    <a:lnTo>
                      <a:pt x="2328" y="2472"/>
                    </a:lnTo>
                    <a:lnTo>
                      <a:pt x="2334" y="2472"/>
                    </a:lnTo>
                    <a:lnTo>
                      <a:pt x="2334" y="2478"/>
                    </a:lnTo>
                    <a:lnTo>
                      <a:pt x="2340" y="2478"/>
                    </a:lnTo>
                    <a:lnTo>
                      <a:pt x="2346" y="2478"/>
                    </a:lnTo>
                    <a:lnTo>
                      <a:pt x="2346" y="2484"/>
                    </a:lnTo>
                    <a:lnTo>
                      <a:pt x="2352" y="2490"/>
                    </a:lnTo>
                    <a:lnTo>
                      <a:pt x="2346" y="2490"/>
                    </a:lnTo>
                    <a:lnTo>
                      <a:pt x="2346" y="2496"/>
                    </a:lnTo>
                    <a:lnTo>
                      <a:pt x="2346" y="2502"/>
                    </a:lnTo>
                    <a:lnTo>
                      <a:pt x="2346" y="2508"/>
                    </a:lnTo>
                    <a:lnTo>
                      <a:pt x="2352" y="2514"/>
                    </a:lnTo>
                    <a:lnTo>
                      <a:pt x="2346" y="2514"/>
                    </a:lnTo>
                    <a:lnTo>
                      <a:pt x="2346" y="2520"/>
                    </a:lnTo>
                    <a:lnTo>
                      <a:pt x="2340" y="2526"/>
                    </a:lnTo>
                    <a:lnTo>
                      <a:pt x="2346" y="2526"/>
                    </a:lnTo>
                    <a:lnTo>
                      <a:pt x="2340" y="2526"/>
                    </a:lnTo>
                    <a:lnTo>
                      <a:pt x="2340" y="2538"/>
                    </a:lnTo>
                    <a:lnTo>
                      <a:pt x="2340" y="2544"/>
                    </a:lnTo>
                    <a:lnTo>
                      <a:pt x="2340" y="2550"/>
                    </a:lnTo>
                    <a:lnTo>
                      <a:pt x="2340" y="2556"/>
                    </a:lnTo>
                    <a:lnTo>
                      <a:pt x="2334" y="2556"/>
                    </a:lnTo>
                    <a:lnTo>
                      <a:pt x="2340" y="2556"/>
                    </a:lnTo>
                    <a:lnTo>
                      <a:pt x="2346" y="2556"/>
                    </a:lnTo>
                    <a:lnTo>
                      <a:pt x="2346" y="2562"/>
                    </a:lnTo>
                    <a:lnTo>
                      <a:pt x="2340" y="2568"/>
                    </a:lnTo>
                    <a:lnTo>
                      <a:pt x="2340" y="2574"/>
                    </a:lnTo>
                    <a:lnTo>
                      <a:pt x="2334" y="2580"/>
                    </a:lnTo>
                    <a:lnTo>
                      <a:pt x="2328" y="2580"/>
                    </a:lnTo>
                    <a:lnTo>
                      <a:pt x="2328" y="2574"/>
                    </a:lnTo>
                    <a:lnTo>
                      <a:pt x="2322" y="2574"/>
                    </a:lnTo>
                    <a:lnTo>
                      <a:pt x="2316" y="2580"/>
                    </a:lnTo>
                    <a:lnTo>
                      <a:pt x="2322" y="2580"/>
                    </a:lnTo>
                    <a:lnTo>
                      <a:pt x="2322" y="2586"/>
                    </a:lnTo>
                    <a:lnTo>
                      <a:pt x="2322" y="2592"/>
                    </a:lnTo>
                    <a:lnTo>
                      <a:pt x="2328" y="2592"/>
                    </a:lnTo>
                    <a:lnTo>
                      <a:pt x="2334" y="2586"/>
                    </a:lnTo>
                    <a:lnTo>
                      <a:pt x="2340" y="2580"/>
                    </a:lnTo>
                    <a:lnTo>
                      <a:pt x="2346" y="2586"/>
                    </a:lnTo>
                    <a:lnTo>
                      <a:pt x="2340" y="2598"/>
                    </a:lnTo>
                    <a:lnTo>
                      <a:pt x="2334" y="2598"/>
                    </a:lnTo>
                    <a:lnTo>
                      <a:pt x="2340" y="2598"/>
                    </a:lnTo>
                    <a:lnTo>
                      <a:pt x="2334" y="2598"/>
                    </a:lnTo>
                    <a:lnTo>
                      <a:pt x="2334" y="2604"/>
                    </a:lnTo>
                    <a:lnTo>
                      <a:pt x="2340" y="2610"/>
                    </a:lnTo>
                    <a:lnTo>
                      <a:pt x="2340" y="2604"/>
                    </a:lnTo>
                    <a:lnTo>
                      <a:pt x="2346" y="2598"/>
                    </a:lnTo>
                    <a:lnTo>
                      <a:pt x="2346" y="2604"/>
                    </a:lnTo>
                    <a:lnTo>
                      <a:pt x="2340" y="2610"/>
                    </a:lnTo>
                    <a:lnTo>
                      <a:pt x="2346" y="2616"/>
                    </a:lnTo>
                    <a:lnTo>
                      <a:pt x="2358" y="2628"/>
                    </a:lnTo>
                    <a:lnTo>
                      <a:pt x="2358" y="2634"/>
                    </a:lnTo>
                    <a:lnTo>
                      <a:pt x="2364" y="2640"/>
                    </a:lnTo>
                    <a:lnTo>
                      <a:pt x="2370" y="2640"/>
                    </a:lnTo>
                    <a:lnTo>
                      <a:pt x="2370" y="2646"/>
                    </a:lnTo>
                    <a:lnTo>
                      <a:pt x="2370" y="2652"/>
                    </a:lnTo>
                    <a:lnTo>
                      <a:pt x="2376" y="2658"/>
                    </a:lnTo>
                    <a:lnTo>
                      <a:pt x="2370" y="2658"/>
                    </a:lnTo>
                    <a:lnTo>
                      <a:pt x="2364" y="2652"/>
                    </a:lnTo>
                    <a:lnTo>
                      <a:pt x="2358" y="2652"/>
                    </a:lnTo>
                    <a:lnTo>
                      <a:pt x="2346" y="2658"/>
                    </a:lnTo>
                    <a:lnTo>
                      <a:pt x="2352" y="2658"/>
                    </a:lnTo>
                    <a:lnTo>
                      <a:pt x="2352" y="2664"/>
                    </a:lnTo>
                    <a:lnTo>
                      <a:pt x="2358" y="2664"/>
                    </a:lnTo>
                    <a:lnTo>
                      <a:pt x="2352" y="2670"/>
                    </a:lnTo>
                    <a:lnTo>
                      <a:pt x="2352" y="2664"/>
                    </a:lnTo>
                    <a:lnTo>
                      <a:pt x="2346" y="2670"/>
                    </a:lnTo>
                    <a:lnTo>
                      <a:pt x="2340" y="2670"/>
                    </a:lnTo>
                    <a:lnTo>
                      <a:pt x="2334" y="2664"/>
                    </a:lnTo>
                    <a:lnTo>
                      <a:pt x="2328" y="2664"/>
                    </a:lnTo>
                    <a:lnTo>
                      <a:pt x="2334" y="2670"/>
                    </a:lnTo>
                    <a:lnTo>
                      <a:pt x="2328" y="2670"/>
                    </a:lnTo>
                    <a:lnTo>
                      <a:pt x="2328" y="2676"/>
                    </a:lnTo>
                    <a:lnTo>
                      <a:pt x="2322" y="2676"/>
                    </a:lnTo>
                    <a:lnTo>
                      <a:pt x="2316" y="2682"/>
                    </a:lnTo>
                    <a:lnTo>
                      <a:pt x="2310" y="2688"/>
                    </a:lnTo>
                    <a:lnTo>
                      <a:pt x="2310" y="2694"/>
                    </a:lnTo>
                    <a:lnTo>
                      <a:pt x="2316" y="2694"/>
                    </a:lnTo>
                    <a:lnTo>
                      <a:pt x="2322" y="2694"/>
                    </a:lnTo>
                    <a:lnTo>
                      <a:pt x="2322" y="2700"/>
                    </a:lnTo>
                    <a:lnTo>
                      <a:pt x="2328" y="2700"/>
                    </a:lnTo>
                    <a:lnTo>
                      <a:pt x="2322" y="2700"/>
                    </a:lnTo>
                    <a:lnTo>
                      <a:pt x="2322" y="2706"/>
                    </a:lnTo>
                    <a:lnTo>
                      <a:pt x="2328" y="2706"/>
                    </a:lnTo>
                    <a:lnTo>
                      <a:pt x="2328" y="2712"/>
                    </a:lnTo>
                    <a:lnTo>
                      <a:pt x="2340" y="2718"/>
                    </a:lnTo>
                    <a:lnTo>
                      <a:pt x="2346" y="2718"/>
                    </a:lnTo>
                    <a:lnTo>
                      <a:pt x="2352" y="2718"/>
                    </a:lnTo>
                    <a:lnTo>
                      <a:pt x="2352" y="2724"/>
                    </a:lnTo>
                    <a:lnTo>
                      <a:pt x="2352" y="2718"/>
                    </a:lnTo>
                    <a:lnTo>
                      <a:pt x="2358" y="2724"/>
                    </a:lnTo>
                    <a:lnTo>
                      <a:pt x="2352" y="2724"/>
                    </a:lnTo>
                    <a:lnTo>
                      <a:pt x="2352" y="2730"/>
                    </a:lnTo>
                    <a:lnTo>
                      <a:pt x="2352" y="2736"/>
                    </a:lnTo>
                    <a:lnTo>
                      <a:pt x="2358" y="2736"/>
                    </a:lnTo>
                    <a:lnTo>
                      <a:pt x="2352" y="2736"/>
                    </a:lnTo>
                    <a:lnTo>
                      <a:pt x="2352" y="2742"/>
                    </a:lnTo>
                    <a:lnTo>
                      <a:pt x="2352" y="2748"/>
                    </a:lnTo>
                    <a:lnTo>
                      <a:pt x="2352" y="2754"/>
                    </a:lnTo>
                    <a:lnTo>
                      <a:pt x="2358" y="2760"/>
                    </a:lnTo>
                    <a:lnTo>
                      <a:pt x="2358" y="2766"/>
                    </a:lnTo>
                    <a:lnTo>
                      <a:pt x="2352" y="2766"/>
                    </a:lnTo>
                    <a:lnTo>
                      <a:pt x="2352" y="2772"/>
                    </a:lnTo>
                    <a:lnTo>
                      <a:pt x="2352" y="2778"/>
                    </a:lnTo>
                    <a:lnTo>
                      <a:pt x="2358" y="2778"/>
                    </a:lnTo>
                    <a:lnTo>
                      <a:pt x="2358" y="2784"/>
                    </a:lnTo>
                    <a:lnTo>
                      <a:pt x="2358" y="2790"/>
                    </a:lnTo>
                    <a:lnTo>
                      <a:pt x="2364" y="2790"/>
                    </a:lnTo>
                    <a:lnTo>
                      <a:pt x="2364" y="2796"/>
                    </a:lnTo>
                    <a:lnTo>
                      <a:pt x="2370" y="2796"/>
                    </a:lnTo>
                    <a:lnTo>
                      <a:pt x="2376" y="2796"/>
                    </a:lnTo>
                    <a:lnTo>
                      <a:pt x="2376" y="2802"/>
                    </a:lnTo>
                    <a:lnTo>
                      <a:pt x="2376" y="2808"/>
                    </a:lnTo>
                    <a:lnTo>
                      <a:pt x="2370" y="2808"/>
                    </a:lnTo>
                    <a:lnTo>
                      <a:pt x="2370" y="2814"/>
                    </a:lnTo>
                    <a:lnTo>
                      <a:pt x="2364" y="2814"/>
                    </a:lnTo>
                    <a:lnTo>
                      <a:pt x="2364" y="2820"/>
                    </a:lnTo>
                    <a:lnTo>
                      <a:pt x="2370" y="2820"/>
                    </a:lnTo>
                    <a:lnTo>
                      <a:pt x="2370" y="2826"/>
                    </a:lnTo>
                    <a:lnTo>
                      <a:pt x="2364" y="2826"/>
                    </a:lnTo>
                    <a:lnTo>
                      <a:pt x="2364" y="2832"/>
                    </a:lnTo>
                    <a:lnTo>
                      <a:pt x="2370" y="2832"/>
                    </a:lnTo>
                    <a:lnTo>
                      <a:pt x="2364" y="2832"/>
                    </a:lnTo>
                    <a:lnTo>
                      <a:pt x="2364" y="2838"/>
                    </a:lnTo>
                    <a:lnTo>
                      <a:pt x="2358" y="2838"/>
                    </a:lnTo>
                    <a:lnTo>
                      <a:pt x="2358" y="2844"/>
                    </a:lnTo>
                    <a:lnTo>
                      <a:pt x="2352" y="2844"/>
                    </a:lnTo>
                    <a:lnTo>
                      <a:pt x="2352" y="2850"/>
                    </a:lnTo>
                    <a:lnTo>
                      <a:pt x="2346" y="2850"/>
                    </a:lnTo>
                    <a:lnTo>
                      <a:pt x="2340" y="2850"/>
                    </a:lnTo>
                    <a:lnTo>
                      <a:pt x="2340" y="2844"/>
                    </a:lnTo>
                    <a:lnTo>
                      <a:pt x="2334" y="2844"/>
                    </a:lnTo>
                    <a:lnTo>
                      <a:pt x="2334" y="2838"/>
                    </a:lnTo>
                    <a:lnTo>
                      <a:pt x="2328" y="2838"/>
                    </a:lnTo>
                    <a:lnTo>
                      <a:pt x="2334" y="2844"/>
                    </a:lnTo>
                    <a:lnTo>
                      <a:pt x="2334" y="2850"/>
                    </a:lnTo>
                    <a:lnTo>
                      <a:pt x="2334" y="2856"/>
                    </a:lnTo>
                    <a:lnTo>
                      <a:pt x="2328" y="2856"/>
                    </a:lnTo>
                    <a:lnTo>
                      <a:pt x="2328" y="2862"/>
                    </a:lnTo>
                    <a:lnTo>
                      <a:pt x="2322" y="2862"/>
                    </a:lnTo>
                    <a:lnTo>
                      <a:pt x="2322" y="2868"/>
                    </a:lnTo>
                    <a:lnTo>
                      <a:pt x="2322" y="2874"/>
                    </a:lnTo>
                    <a:lnTo>
                      <a:pt x="2322" y="2880"/>
                    </a:lnTo>
                    <a:lnTo>
                      <a:pt x="2316" y="2880"/>
                    </a:lnTo>
                    <a:lnTo>
                      <a:pt x="2322" y="2880"/>
                    </a:lnTo>
                    <a:lnTo>
                      <a:pt x="2322" y="2886"/>
                    </a:lnTo>
                    <a:lnTo>
                      <a:pt x="2316" y="2886"/>
                    </a:lnTo>
                    <a:lnTo>
                      <a:pt x="2316" y="2880"/>
                    </a:lnTo>
                    <a:lnTo>
                      <a:pt x="2316" y="2874"/>
                    </a:lnTo>
                    <a:lnTo>
                      <a:pt x="2316" y="2868"/>
                    </a:lnTo>
                    <a:lnTo>
                      <a:pt x="2316" y="2862"/>
                    </a:lnTo>
                    <a:lnTo>
                      <a:pt x="2316" y="2856"/>
                    </a:lnTo>
                    <a:lnTo>
                      <a:pt x="2310" y="2856"/>
                    </a:lnTo>
                    <a:lnTo>
                      <a:pt x="2310" y="2850"/>
                    </a:lnTo>
                    <a:lnTo>
                      <a:pt x="2310" y="2838"/>
                    </a:lnTo>
                    <a:lnTo>
                      <a:pt x="2304" y="2838"/>
                    </a:lnTo>
                    <a:lnTo>
                      <a:pt x="2310" y="2838"/>
                    </a:lnTo>
                    <a:lnTo>
                      <a:pt x="2304" y="2838"/>
                    </a:lnTo>
                    <a:lnTo>
                      <a:pt x="2304" y="2832"/>
                    </a:lnTo>
                    <a:lnTo>
                      <a:pt x="2298" y="2832"/>
                    </a:lnTo>
                    <a:lnTo>
                      <a:pt x="2292" y="2832"/>
                    </a:lnTo>
                    <a:lnTo>
                      <a:pt x="2292" y="2826"/>
                    </a:lnTo>
                    <a:lnTo>
                      <a:pt x="2292" y="2832"/>
                    </a:lnTo>
                    <a:lnTo>
                      <a:pt x="2292" y="2838"/>
                    </a:lnTo>
                    <a:lnTo>
                      <a:pt x="2286" y="2838"/>
                    </a:lnTo>
                    <a:lnTo>
                      <a:pt x="2286" y="2832"/>
                    </a:lnTo>
                    <a:lnTo>
                      <a:pt x="2286" y="2838"/>
                    </a:lnTo>
                    <a:lnTo>
                      <a:pt x="2286" y="2832"/>
                    </a:lnTo>
                    <a:lnTo>
                      <a:pt x="2280" y="2832"/>
                    </a:lnTo>
                    <a:lnTo>
                      <a:pt x="2286" y="2838"/>
                    </a:lnTo>
                    <a:lnTo>
                      <a:pt x="2280" y="2838"/>
                    </a:lnTo>
                    <a:lnTo>
                      <a:pt x="2274" y="2838"/>
                    </a:lnTo>
                    <a:lnTo>
                      <a:pt x="2274" y="2832"/>
                    </a:lnTo>
                    <a:lnTo>
                      <a:pt x="2274" y="2826"/>
                    </a:lnTo>
                    <a:lnTo>
                      <a:pt x="2280" y="2826"/>
                    </a:lnTo>
                    <a:lnTo>
                      <a:pt x="2274" y="2826"/>
                    </a:lnTo>
                    <a:lnTo>
                      <a:pt x="2274" y="2820"/>
                    </a:lnTo>
                    <a:lnTo>
                      <a:pt x="2268" y="2820"/>
                    </a:lnTo>
                    <a:lnTo>
                      <a:pt x="2268" y="2826"/>
                    </a:lnTo>
                    <a:lnTo>
                      <a:pt x="2262" y="2826"/>
                    </a:lnTo>
                    <a:lnTo>
                      <a:pt x="2256" y="2826"/>
                    </a:lnTo>
                    <a:lnTo>
                      <a:pt x="2250" y="2826"/>
                    </a:lnTo>
                    <a:lnTo>
                      <a:pt x="2244" y="2832"/>
                    </a:lnTo>
                    <a:lnTo>
                      <a:pt x="2238" y="2838"/>
                    </a:lnTo>
                    <a:lnTo>
                      <a:pt x="2238" y="2844"/>
                    </a:lnTo>
                    <a:lnTo>
                      <a:pt x="2232" y="2850"/>
                    </a:lnTo>
                    <a:lnTo>
                      <a:pt x="2226" y="2850"/>
                    </a:lnTo>
                    <a:lnTo>
                      <a:pt x="2226" y="2856"/>
                    </a:lnTo>
                    <a:lnTo>
                      <a:pt x="2226" y="2862"/>
                    </a:lnTo>
                    <a:lnTo>
                      <a:pt x="2220" y="2868"/>
                    </a:lnTo>
                    <a:lnTo>
                      <a:pt x="2214" y="2868"/>
                    </a:lnTo>
                    <a:lnTo>
                      <a:pt x="2208" y="2868"/>
                    </a:lnTo>
                    <a:lnTo>
                      <a:pt x="2208" y="2862"/>
                    </a:lnTo>
                    <a:lnTo>
                      <a:pt x="2202" y="2862"/>
                    </a:lnTo>
                    <a:lnTo>
                      <a:pt x="2196" y="2862"/>
                    </a:lnTo>
                    <a:lnTo>
                      <a:pt x="2190" y="2862"/>
                    </a:lnTo>
                    <a:lnTo>
                      <a:pt x="2190" y="2868"/>
                    </a:lnTo>
                    <a:lnTo>
                      <a:pt x="2184" y="2868"/>
                    </a:lnTo>
                    <a:lnTo>
                      <a:pt x="2184" y="2862"/>
                    </a:lnTo>
                    <a:lnTo>
                      <a:pt x="2178" y="2862"/>
                    </a:lnTo>
                    <a:lnTo>
                      <a:pt x="2178" y="2856"/>
                    </a:lnTo>
                    <a:lnTo>
                      <a:pt x="2172" y="2856"/>
                    </a:lnTo>
                    <a:lnTo>
                      <a:pt x="2166" y="2856"/>
                    </a:lnTo>
                    <a:lnTo>
                      <a:pt x="2160" y="2856"/>
                    </a:lnTo>
                    <a:lnTo>
                      <a:pt x="2154" y="2856"/>
                    </a:lnTo>
                    <a:lnTo>
                      <a:pt x="2154" y="2850"/>
                    </a:lnTo>
                    <a:lnTo>
                      <a:pt x="2148" y="2850"/>
                    </a:lnTo>
                    <a:lnTo>
                      <a:pt x="2148" y="2844"/>
                    </a:lnTo>
                    <a:lnTo>
                      <a:pt x="2142" y="2844"/>
                    </a:lnTo>
                    <a:lnTo>
                      <a:pt x="2142" y="2838"/>
                    </a:lnTo>
                    <a:lnTo>
                      <a:pt x="2136" y="2838"/>
                    </a:lnTo>
                    <a:lnTo>
                      <a:pt x="2130" y="2838"/>
                    </a:lnTo>
                    <a:lnTo>
                      <a:pt x="2124" y="2838"/>
                    </a:lnTo>
                    <a:lnTo>
                      <a:pt x="2124" y="2832"/>
                    </a:lnTo>
                    <a:lnTo>
                      <a:pt x="2118" y="2832"/>
                    </a:lnTo>
                    <a:lnTo>
                      <a:pt x="2118" y="2838"/>
                    </a:lnTo>
                    <a:lnTo>
                      <a:pt x="2118" y="2832"/>
                    </a:lnTo>
                    <a:lnTo>
                      <a:pt x="2112" y="2832"/>
                    </a:lnTo>
                    <a:lnTo>
                      <a:pt x="2112" y="2838"/>
                    </a:lnTo>
                    <a:lnTo>
                      <a:pt x="2106" y="2838"/>
                    </a:lnTo>
                    <a:lnTo>
                      <a:pt x="2106" y="2832"/>
                    </a:lnTo>
                    <a:lnTo>
                      <a:pt x="2106" y="2838"/>
                    </a:lnTo>
                    <a:lnTo>
                      <a:pt x="2106" y="2844"/>
                    </a:lnTo>
                    <a:lnTo>
                      <a:pt x="2100" y="2844"/>
                    </a:lnTo>
                    <a:lnTo>
                      <a:pt x="2100" y="2838"/>
                    </a:lnTo>
                    <a:lnTo>
                      <a:pt x="2094" y="2844"/>
                    </a:lnTo>
                    <a:lnTo>
                      <a:pt x="2100" y="2844"/>
                    </a:lnTo>
                    <a:lnTo>
                      <a:pt x="2100" y="2850"/>
                    </a:lnTo>
                    <a:lnTo>
                      <a:pt x="2094" y="2850"/>
                    </a:lnTo>
                    <a:lnTo>
                      <a:pt x="2094" y="2856"/>
                    </a:lnTo>
                    <a:lnTo>
                      <a:pt x="2094" y="2862"/>
                    </a:lnTo>
                    <a:lnTo>
                      <a:pt x="2088" y="2862"/>
                    </a:lnTo>
                    <a:lnTo>
                      <a:pt x="2088" y="2868"/>
                    </a:lnTo>
                    <a:lnTo>
                      <a:pt x="2088" y="2862"/>
                    </a:lnTo>
                    <a:lnTo>
                      <a:pt x="2088" y="2868"/>
                    </a:lnTo>
                    <a:lnTo>
                      <a:pt x="2082" y="2868"/>
                    </a:lnTo>
                    <a:lnTo>
                      <a:pt x="2082" y="2874"/>
                    </a:lnTo>
                    <a:lnTo>
                      <a:pt x="2082" y="2868"/>
                    </a:lnTo>
                    <a:lnTo>
                      <a:pt x="2076" y="2868"/>
                    </a:lnTo>
                    <a:lnTo>
                      <a:pt x="2070" y="2868"/>
                    </a:lnTo>
                    <a:lnTo>
                      <a:pt x="2070" y="2874"/>
                    </a:lnTo>
                    <a:lnTo>
                      <a:pt x="2064" y="2874"/>
                    </a:lnTo>
                    <a:lnTo>
                      <a:pt x="2070" y="2880"/>
                    </a:lnTo>
                    <a:lnTo>
                      <a:pt x="2064" y="2892"/>
                    </a:lnTo>
                    <a:lnTo>
                      <a:pt x="2058" y="2892"/>
                    </a:lnTo>
                    <a:lnTo>
                      <a:pt x="2052" y="2898"/>
                    </a:lnTo>
                    <a:lnTo>
                      <a:pt x="2046" y="2898"/>
                    </a:lnTo>
                    <a:lnTo>
                      <a:pt x="2046" y="2904"/>
                    </a:lnTo>
                    <a:lnTo>
                      <a:pt x="2040" y="2904"/>
                    </a:lnTo>
                    <a:lnTo>
                      <a:pt x="2040" y="2910"/>
                    </a:lnTo>
                    <a:lnTo>
                      <a:pt x="2034" y="2910"/>
                    </a:lnTo>
                    <a:lnTo>
                      <a:pt x="2034" y="2916"/>
                    </a:lnTo>
                    <a:lnTo>
                      <a:pt x="2028" y="2916"/>
                    </a:lnTo>
                    <a:lnTo>
                      <a:pt x="2028" y="2922"/>
                    </a:lnTo>
                    <a:lnTo>
                      <a:pt x="2028" y="2928"/>
                    </a:lnTo>
                    <a:lnTo>
                      <a:pt x="2022" y="2934"/>
                    </a:lnTo>
                    <a:lnTo>
                      <a:pt x="2016" y="2934"/>
                    </a:lnTo>
                    <a:lnTo>
                      <a:pt x="2016" y="2928"/>
                    </a:lnTo>
                    <a:lnTo>
                      <a:pt x="2016" y="2922"/>
                    </a:lnTo>
                    <a:lnTo>
                      <a:pt x="2022" y="2922"/>
                    </a:lnTo>
                    <a:lnTo>
                      <a:pt x="2022" y="2916"/>
                    </a:lnTo>
                    <a:lnTo>
                      <a:pt x="2016" y="2916"/>
                    </a:lnTo>
                    <a:lnTo>
                      <a:pt x="2016" y="2922"/>
                    </a:lnTo>
                    <a:lnTo>
                      <a:pt x="2010" y="2922"/>
                    </a:lnTo>
                    <a:lnTo>
                      <a:pt x="2010" y="2916"/>
                    </a:lnTo>
                    <a:lnTo>
                      <a:pt x="2004" y="2928"/>
                    </a:lnTo>
                    <a:lnTo>
                      <a:pt x="1998" y="2928"/>
                    </a:lnTo>
                    <a:lnTo>
                      <a:pt x="1992" y="2928"/>
                    </a:lnTo>
                    <a:lnTo>
                      <a:pt x="1986" y="2928"/>
                    </a:lnTo>
                    <a:lnTo>
                      <a:pt x="1986" y="2934"/>
                    </a:lnTo>
                    <a:lnTo>
                      <a:pt x="1980" y="2934"/>
                    </a:lnTo>
                    <a:lnTo>
                      <a:pt x="1974" y="2934"/>
                    </a:lnTo>
                    <a:lnTo>
                      <a:pt x="1974" y="2928"/>
                    </a:lnTo>
                    <a:lnTo>
                      <a:pt x="1968" y="2928"/>
                    </a:lnTo>
                    <a:lnTo>
                      <a:pt x="1968" y="2922"/>
                    </a:lnTo>
                    <a:lnTo>
                      <a:pt x="1968" y="2928"/>
                    </a:lnTo>
                    <a:lnTo>
                      <a:pt x="1962" y="2934"/>
                    </a:lnTo>
                    <a:lnTo>
                      <a:pt x="1956" y="2928"/>
                    </a:lnTo>
                    <a:lnTo>
                      <a:pt x="1956" y="2922"/>
                    </a:lnTo>
                    <a:lnTo>
                      <a:pt x="1950" y="2922"/>
                    </a:lnTo>
                    <a:lnTo>
                      <a:pt x="1938" y="2922"/>
                    </a:lnTo>
                    <a:lnTo>
                      <a:pt x="1938" y="2928"/>
                    </a:lnTo>
                    <a:lnTo>
                      <a:pt x="1932" y="2928"/>
                    </a:lnTo>
                    <a:lnTo>
                      <a:pt x="1932" y="2934"/>
                    </a:lnTo>
                    <a:lnTo>
                      <a:pt x="1926" y="2934"/>
                    </a:lnTo>
                    <a:lnTo>
                      <a:pt x="1920" y="2934"/>
                    </a:lnTo>
                    <a:lnTo>
                      <a:pt x="1926" y="2940"/>
                    </a:lnTo>
                    <a:lnTo>
                      <a:pt x="1926" y="2946"/>
                    </a:lnTo>
                    <a:lnTo>
                      <a:pt x="1926" y="2952"/>
                    </a:lnTo>
                    <a:lnTo>
                      <a:pt x="1920" y="2952"/>
                    </a:lnTo>
                    <a:lnTo>
                      <a:pt x="1920" y="2946"/>
                    </a:lnTo>
                    <a:lnTo>
                      <a:pt x="1914" y="2946"/>
                    </a:lnTo>
                    <a:lnTo>
                      <a:pt x="1908" y="2946"/>
                    </a:lnTo>
                    <a:lnTo>
                      <a:pt x="1908" y="2952"/>
                    </a:lnTo>
                    <a:lnTo>
                      <a:pt x="1908" y="2958"/>
                    </a:lnTo>
                    <a:lnTo>
                      <a:pt x="1902" y="2958"/>
                    </a:lnTo>
                    <a:lnTo>
                      <a:pt x="1902" y="2964"/>
                    </a:lnTo>
                    <a:lnTo>
                      <a:pt x="1896" y="2958"/>
                    </a:lnTo>
                    <a:lnTo>
                      <a:pt x="1890" y="2958"/>
                    </a:lnTo>
                    <a:close/>
                  </a:path>
                </a:pathLst>
              </a:custGeom>
              <a:solidFill>
                <a:schemeClr val="bg2">
                  <a:alpha val="69000"/>
                </a:schemeClr>
              </a:solidFill>
              <a:ln w="9525">
                <a:solidFill>
                  <a:schemeClr val="accent1"/>
                </a:solidFill>
                <a:round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/>
              <a:lstStyle/>
              <a:p>
                <a:pPr marL="0" marR="0" lvl="0" indent="0" algn="ctr" defTabSz="685423" rtl="0" eaLnBrk="0" fontAlgn="base" latinLnBrk="0" hangingPunct="0">
                  <a:lnSpc>
                    <a:spcPct val="11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EnBW DIN Pro"/>
                  <a:ea typeface="+mn-ea"/>
                  <a:cs typeface="+mn-cs"/>
                </a:endParaRPr>
              </a:p>
            </p:txBody>
          </p:sp>
          <p:sp>
            <p:nvSpPr>
              <p:cNvPr id="39" name="Rectangle 50">
                <a:extLst>
                  <a:ext uri="{FF2B5EF4-FFF2-40B4-BE49-F238E27FC236}">
                    <a16:creationId xmlns:a16="http://schemas.microsoft.com/office/drawing/2014/main" id="{7B4D6567-22AC-40F7-9EA4-0D8B4E9FE23D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9"/>
                </p:custDataLst>
              </p:nvPr>
            </p:nvSpPr>
            <p:spPr bwMode="gray">
              <a:xfrm>
                <a:off x="8608156" y="2662847"/>
                <a:ext cx="917918" cy="20518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/>
              <a:p>
                <a:pPr marL="257034" marR="0" lvl="0" indent="-257034" algn="l" defTabSz="68542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F1A500"/>
                  </a:buClr>
                  <a:buSzPct val="135000"/>
                  <a:buFontTx/>
                  <a:buNone/>
                  <a:tabLst/>
                  <a:defRPr/>
                </a:pPr>
                <a:r>
                  <a:rPr kumimoji="0" lang="de-DE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EnBW DIN Pro"/>
                    <a:ea typeface="+mn-ea"/>
                    <a:cs typeface="+mn-cs"/>
                  </a:rPr>
                  <a:t>Wiesloch</a:t>
                </a:r>
              </a:p>
            </p:txBody>
          </p:sp>
          <p:sp>
            <p:nvSpPr>
              <p:cNvPr id="40" name="Rectangle 53">
                <a:extLst>
                  <a:ext uri="{FF2B5EF4-FFF2-40B4-BE49-F238E27FC236}">
                    <a16:creationId xmlns:a16="http://schemas.microsoft.com/office/drawing/2014/main" id="{82FF79B3-35A8-4013-9B73-34A370D5DC7C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10"/>
                </p:custDataLst>
              </p:nvPr>
            </p:nvSpPr>
            <p:spPr bwMode="gray">
              <a:xfrm>
                <a:off x="9053041" y="2924496"/>
                <a:ext cx="1427269" cy="15499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/>
              <a:p>
                <a:pPr marL="257034" marR="0" lvl="0" indent="-257034" algn="l" defTabSz="68542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F1A500"/>
                  </a:buClr>
                  <a:buSzPct val="135000"/>
                  <a:buFontTx/>
                  <a:buNone/>
                  <a:tabLst/>
                  <a:defRPr/>
                </a:pPr>
                <a:r>
                  <a:rPr kumimoji="0" lang="de-DE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EnBW DIN Pro"/>
                    <a:ea typeface="+mn-ea"/>
                    <a:cs typeface="+mn-cs"/>
                  </a:rPr>
                  <a:t>Heilbronn (EnBW)</a:t>
                </a:r>
              </a:p>
            </p:txBody>
          </p:sp>
          <p:sp>
            <p:nvSpPr>
              <p:cNvPr id="41" name="Rectangle 55">
                <a:extLst>
                  <a:ext uri="{FF2B5EF4-FFF2-40B4-BE49-F238E27FC236}">
                    <a16:creationId xmlns:a16="http://schemas.microsoft.com/office/drawing/2014/main" id="{9BCEC702-30CF-4E21-97B6-E89A10B41497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8182299" y="3142271"/>
                <a:ext cx="765366" cy="205184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257034" marR="0" lvl="0" indent="-257034" algn="l" defTabSz="68542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F1A500"/>
                  </a:buClr>
                  <a:buSzPct val="135000"/>
                  <a:buFontTx/>
                  <a:buNone/>
                  <a:tabLst/>
                  <a:defRPr/>
                </a:pPr>
                <a:r>
                  <a:rPr kumimoji="0" lang="de-DE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EnBW DIN Pro"/>
                    <a:ea typeface="+mn-ea"/>
                    <a:cs typeface="+mn-cs"/>
                  </a:rPr>
                  <a:t>Karlsruhe</a:t>
                </a:r>
              </a:p>
            </p:txBody>
          </p:sp>
          <p:sp>
            <p:nvSpPr>
              <p:cNvPr id="42" name="Rectangle 56">
                <a:extLst>
                  <a:ext uri="{FF2B5EF4-FFF2-40B4-BE49-F238E27FC236}">
                    <a16:creationId xmlns:a16="http://schemas.microsoft.com/office/drawing/2014/main" id="{41482CB6-7481-453D-98B8-EF97BB631AEE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9059290" y="3588331"/>
                <a:ext cx="681988" cy="20518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257034" marR="0" lvl="0" indent="-257034" algn="l" defTabSz="68542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F1A500"/>
                  </a:buClr>
                  <a:buSzPct val="135000"/>
                  <a:buFontTx/>
                  <a:buNone/>
                  <a:tabLst/>
                  <a:defRPr/>
                </a:pPr>
                <a:r>
                  <a:rPr kumimoji="0" lang="de-DE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EnBW DIN Pro"/>
                    <a:ea typeface="+mn-ea"/>
                    <a:cs typeface="+mn-cs"/>
                  </a:rPr>
                  <a:t>Stuttgart</a:t>
                </a:r>
              </a:p>
            </p:txBody>
          </p:sp>
          <p:sp>
            <p:nvSpPr>
              <p:cNvPr id="43" name="Rectangle 57">
                <a:extLst>
                  <a:ext uri="{FF2B5EF4-FFF2-40B4-BE49-F238E27FC236}">
                    <a16:creationId xmlns:a16="http://schemas.microsoft.com/office/drawing/2014/main" id="{AD7D2D6B-EC00-4C9C-8C32-82D54CE940C5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8789469" y="4002066"/>
                <a:ext cx="889364" cy="20518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257034" marR="0" lvl="0" indent="-257034" algn="l" defTabSz="68542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F1A500"/>
                  </a:buClr>
                  <a:buSzPct val="135000"/>
                  <a:buFontTx/>
                  <a:buNone/>
                  <a:tabLst/>
                  <a:defRPr/>
                </a:pPr>
                <a:r>
                  <a:rPr kumimoji="0" lang="de-DE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EnBW DIN Pro"/>
                    <a:ea typeface="+mn-ea"/>
                    <a:cs typeface="+mn-cs"/>
                  </a:rPr>
                  <a:t>Herrenberg</a:t>
                </a:r>
              </a:p>
            </p:txBody>
          </p:sp>
          <p:sp>
            <p:nvSpPr>
              <p:cNvPr id="44" name="Rectangle 58">
                <a:extLst>
                  <a:ext uri="{FF2B5EF4-FFF2-40B4-BE49-F238E27FC236}">
                    <a16:creationId xmlns:a16="http://schemas.microsoft.com/office/drawing/2014/main" id="{0E62FE5A-023E-44C6-94BA-F6DFCB45712D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10045156" y="5052901"/>
                <a:ext cx="779150" cy="20518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/>
              <a:p>
                <a:pPr marL="257034" marR="0" lvl="0" indent="-257034" algn="l" defTabSz="68542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F1A500"/>
                  </a:buClr>
                  <a:buSzPct val="135000"/>
                  <a:buFontTx/>
                  <a:buNone/>
                  <a:tabLst/>
                  <a:defRPr/>
                </a:pPr>
                <a:r>
                  <a:rPr kumimoji="0" lang="de-DE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EnBW DIN Pro"/>
                    <a:ea typeface="+mn-ea"/>
                    <a:cs typeface="+mn-cs"/>
                  </a:rPr>
                  <a:t>Biberach</a:t>
                </a:r>
              </a:p>
            </p:txBody>
          </p:sp>
          <p:sp>
            <p:nvSpPr>
              <p:cNvPr id="45" name="Rectangle 59">
                <a:extLst>
                  <a:ext uri="{FF2B5EF4-FFF2-40B4-BE49-F238E27FC236}">
                    <a16:creationId xmlns:a16="http://schemas.microsoft.com/office/drawing/2014/main" id="{8D79CFD0-5283-4AC6-B067-80646093351A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8691660" y="5261628"/>
                <a:ext cx="1040498" cy="20518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/>
              <a:p>
                <a:pPr marL="257034" marR="0" lvl="0" indent="-257034" algn="l" defTabSz="68542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F1A500"/>
                  </a:buClr>
                  <a:buSzPct val="135000"/>
                  <a:buFontTx/>
                  <a:buNone/>
                  <a:tabLst/>
                  <a:defRPr/>
                </a:pPr>
                <a:r>
                  <a:rPr kumimoji="0" lang="de-DE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EnBW DIN Pro"/>
                    <a:ea typeface="+mn-ea"/>
                    <a:cs typeface="+mn-cs"/>
                  </a:rPr>
                  <a:t>Tuttlingen</a:t>
                </a:r>
              </a:p>
            </p:txBody>
          </p:sp>
          <p:sp>
            <p:nvSpPr>
              <p:cNvPr id="46" name="Rectangle 60">
                <a:extLst>
                  <a:ext uri="{FF2B5EF4-FFF2-40B4-BE49-F238E27FC236}">
                    <a16:creationId xmlns:a16="http://schemas.microsoft.com/office/drawing/2014/main" id="{A69204F0-69D9-4B08-B876-98A16777AEF2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7192468" y="4750888"/>
                <a:ext cx="1241811" cy="20518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/>
              <a:p>
                <a:pPr marL="257034" marR="0" lvl="0" indent="-257034" algn="l" defTabSz="68542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F1A500"/>
                  </a:buClr>
                  <a:buSzPct val="135000"/>
                  <a:buFontTx/>
                  <a:buNone/>
                  <a:tabLst/>
                  <a:defRPr/>
                </a:pPr>
                <a:r>
                  <a:rPr kumimoji="0" lang="de-DE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EnBW DIN Pro"/>
                    <a:ea typeface="+mn-ea"/>
                    <a:cs typeface="+mn-cs"/>
                  </a:rPr>
                  <a:t>Rheinhausen</a:t>
                </a:r>
              </a:p>
            </p:txBody>
          </p:sp>
          <p:sp>
            <p:nvSpPr>
              <p:cNvPr id="47" name="Rectangle 57">
                <a:extLst>
                  <a:ext uri="{FF2B5EF4-FFF2-40B4-BE49-F238E27FC236}">
                    <a16:creationId xmlns:a16="http://schemas.microsoft.com/office/drawing/2014/main" id="{25D4CE8D-1A0F-4164-B43A-AD10CC9CE9B6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8940821" y="4602557"/>
                <a:ext cx="690540" cy="20518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257034" marR="0" lvl="0" indent="-257034" algn="l" defTabSz="68542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F1A500"/>
                  </a:buClr>
                  <a:buSzPct val="135000"/>
                  <a:buFontTx/>
                  <a:buNone/>
                  <a:tabLst/>
                  <a:defRPr/>
                </a:pPr>
                <a:r>
                  <a:rPr kumimoji="0" lang="de-DE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EnBW DIN Pro"/>
                    <a:ea typeface="+mn-ea"/>
                    <a:cs typeface="+mn-cs"/>
                  </a:rPr>
                  <a:t>Engstlatt</a:t>
                </a:r>
              </a:p>
            </p:txBody>
          </p:sp>
          <p:sp>
            <p:nvSpPr>
              <p:cNvPr id="48" name="Rectangle 57">
                <a:extLst>
                  <a:ext uri="{FF2B5EF4-FFF2-40B4-BE49-F238E27FC236}">
                    <a16:creationId xmlns:a16="http://schemas.microsoft.com/office/drawing/2014/main" id="{B0B5B94A-72FC-4A40-801D-B59DE9430500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9253660" y="1851555"/>
                <a:ext cx="1545699" cy="20518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257034" marR="0" lvl="0" indent="-257034" algn="l" defTabSz="68542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F1A500"/>
                  </a:buClr>
                  <a:buSzPct val="135000"/>
                  <a:buFontTx/>
                  <a:buNone/>
                  <a:tabLst/>
                  <a:defRPr/>
                </a:pPr>
                <a:r>
                  <a:rPr kumimoji="0" lang="de-DE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B3B3B"/>
                    </a:solidFill>
                    <a:effectLst/>
                    <a:uLnTx/>
                    <a:uFillTx/>
                    <a:latin typeface="EnBW DIN Pro"/>
                    <a:ea typeface="+mn-ea"/>
                    <a:cs typeface="+mn-cs"/>
                  </a:rPr>
                  <a:t>Tauberbischofsheim</a:t>
                </a:r>
              </a:p>
            </p:txBody>
          </p:sp>
          <p:sp>
            <p:nvSpPr>
              <p:cNvPr id="49" name="Oval 64">
                <a:extLst>
                  <a:ext uri="{FF2B5EF4-FFF2-40B4-BE49-F238E27FC236}">
                    <a16:creationId xmlns:a16="http://schemas.microsoft.com/office/drawing/2014/main" id="{97302B8B-AC56-4AB3-8BC0-DF2C433600B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8465949" y="2705100"/>
                <a:ext cx="97810" cy="96761"/>
              </a:xfrm>
              <a:prstGeom prst="ellipse">
                <a:avLst/>
              </a:prstGeom>
              <a:solidFill>
                <a:schemeClr val="accent6"/>
              </a:solidFill>
              <a:ln w="9525" algn="ctr">
                <a:noFill/>
                <a:round/>
                <a:headEnd/>
                <a:tailEnd/>
              </a:ln>
            </p:spPr>
            <p:txBody>
              <a:bodyPr wrap="none" lIns="252000" tIns="72000" rIns="72000" bIns="72000" anchor="ctr"/>
              <a:lstStyle/>
              <a:p>
                <a:pPr marL="0" marR="0" lvl="0" indent="0" algn="l" defTabSz="685423" rtl="0" eaLnBrk="0" fontAlgn="base" latinLnBrk="0" hangingPunct="0">
                  <a:lnSpc>
                    <a:spcPct val="11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EnBW DIN Pro"/>
                  <a:ea typeface="+mn-ea"/>
                  <a:cs typeface="+mn-cs"/>
                </a:endParaRPr>
              </a:p>
            </p:txBody>
          </p:sp>
          <p:sp>
            <p:nvSpPr>
              <p:cNvPr id="50" name="Oval 64">
                <a:extLst>
                  <a:ext uri="{FF2B5EF4-FFF2-40B4-BE49-F238E27FC236}">
                    <a16:creationId xmlns:a16="http://schemas.microsoft.com/office/drawing/2014/main" id="{AA93E36F-FD7A-4C51-AE2D-F675DD17890F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8911733" y="2956968"/>
                <a:ext cx="97810" cy="96761"/>
              </a:xfrm>
              <a:prstGeom prst="ellipse">
                <a:avLst/>
              </a:prstGeom>
              <a:gradFill flip="none" rotWithShape="1">
                <a:gsLst>
                  <a:gs pos="50000">
                    <a:srgbClr val="979797"/>
                  </a:gs>
                  <a:gs pos="51000">
                    <a:srgbClr val="FF9900"/>
                  </a:gs>
                </a:gsLst>
                <a:lin ang="0" scaled="1"/>
                <a:tileRect/>
              </a:gradFill>
              <a:ln w="9525" algn="ctr">
                <a:noFill/>
                <a:round/>
                <a:headEnd/>
                <a:tailEnd/>
              </a:ln>
            </p:spPr>
            <p:txBody>
              <a:bodyPr wrap="none" lIns="252000" tIns="72000" rIns="72000" bIns="72000" anchor="ctr"/>
              <a:lstStyle/>
              <a:p>
                <a:pPr marL="0" marR="0" lvl="0" indent="0" algn="l" defTabSz="685423" rtl="0" eaLnBrk="0" fontAlgn="base" latinLnBrk="0" hangingPunct="0">
                  <a:lnSpc>
                    <a:spcPct val="11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EnBW DIN Pro"/>
                  <a:ea typeface="+mn-ea"/>
                  <a:cs typeface="+mn-cs"/>
                </a:endParaRPr>
              </a:p>
            </p:txBody>
          </p:sp>
          <p:sp>
            <p:nvSpPr>
              <p:cNvPr id="51" name="Oval 69">
                <a:extLst>
                  <a:ext uri="{FF2B5EF4-FFF2-40B4-BE49-F238E27FC236}">
                    <a16:creationId xmlns:a16="http://schemas.microsoft.com/office/drawing/2014/main" id="{34F0A686-94E7-40C7-A136-2DFBAD9E63F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7050812" y="4784944"/>
                <a:ext cx="97810" cy="96761"/>
              </a:xfrm>
              <a:prstGeom prst="ellipse">
                <a:avLst/>
              </a:prstGeom>
              <a:solidFill>
                <a:schemeClr val="accent6"/>
              </a:solidFill>
              <a:ln w="9525" algn="ctr">
                <a:noFill/>
                <a:round/>
                <a:headEnd/>
                <a:tailEnd/>
              </a:ln>
            </p:spPr>
            <p:txBody>
              <a:bodyPr wrap="none" lIns="252000" tIns="72000" rIns="72000" bIns="72000" anchor="ctr"/>
              <a:lstStyle/>
              <a:p>
                <a:pPr marL="0" marR="0" lvl="0" indent="0" algn="l" defTabSz="685423" rtl="0" eaLnBrk="0" fontAlgn="base" latinLnBrk="0" hangingPunct="0">
                  <a:lnSpc>
                    <a:spcPct val="11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EnBW DIN Pro"/>
                  <a:ea typeface="+mn-ea"/>
                  <a:cs typeface="+mn-cs"/>
                </a:endParaRPr>
              </a:p>
            </p:txBody>
          </p:sp>
          <p:sp>
            <p:nvSpPr>
              <p:cNvPr id="52" name="Oval 71">
                <a:extLst>
                  <a:ext uri="{FF2B5EF4-FFF2-40B4-BE49-F238E27FC236}">
                    <a16:creationId xmlns:a16="http://schemas.microsoft.com/office/drawing/2014/main" id="{0BA5A324-96FB-4C8F-80C1-C2BDB476A210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8814589" y="4632946"/>
                <a:ext cx="97810" cy="96761"/>
              </a:xfrm>
              <a:prstGeom prst="ellipse">
                <a:avLst/>
              </a:prstGeom>
              <a:solidFill>
                <a:schemeClr val="accent6"/>
              </a:solidFill>
              <a:ln w="9525" algn="ctr">
                <a:noFill/>
                <a:round/>
                <a:headEnd/>
                <a:tailEnd/>
              </a:ln>
            </p:spPr>
            <p:txBody>
              <a:bodyPr wrap="none" lIns="252000" tIns="72000" rIns="72000" bIns="72000" anchor="ctr"/>
              <a:lstStyle/>
              <a:p>
                <a:pPr marL="0" marR="0" lvl="0" indent="0" algn="l" defTabSz="685423" rtl="0" eaLnBrk="0" fontAlgn="base" latinLnBrk="0" hangingPunct="0">
                  <a:lnSpc>
                    <a:spcPct val="11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EnBW DIN Pro"/>
                  <a:ea typeface="+mn-ea"/>
                  <a:cs typeface="+mn-cs"/>
                </a:endParaRPr>
              </a:p>
            </p:txBody>
          </p:sp>
          <p:sp>
            <p:nvSpPr>
              <p:cNvPr id="53" name="Oval 73">
                <a:extLst>
                  <a:ext uri="{FF2B5EF4-FFF2-40B4-BE49-F238E27FC236}">
                    <a16:creationId xmlns:a16="http://schemas.microsoft.com/office/drawing/2014/main" id="{A0C9146C-6733-433D-9D8F-E0D71319163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8548353" y="5290984"/>
                <a:ext cx="97810" cy="96761"/>
              </a:xfrm>
              <a:prstGeom prst="ellipse">
                <a:avLst/>
              </a:prstGeom>
              <a:solidFill>
                <a:schemeClr val="accent6"/>
              </a:solidFill>
              <a:ln w="9525" algn="ctr">
                <a:noFill/>
                <a:round/>
                <a:headEnd/>
                <a:tailEnd/>
              </a:ln>
            </p:spPr>
            <p:txBody>
              <a:bodyPr wrap="none" lIns="252000" tIns="72000" rIns="72000" bIns="72000" anchor="ctr"/>
              <a:lstStyle/>
              <a:p>
                <a:pPr marL="0" marR="0" lvl="0" indent="0" algn="l" defTabSz="685423" rtl="0" eaLnBrk="0" fontAlgn="base" latinLnBrk="0" hangingPunct="0">
                  <a:lnSpc>
                    <a:spcPct val="11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EnBW DIN Pro"/>
                  <a:ea typeface="+mn-ea"/>
                  <a:cs typeface="+mn-cs"/>
                </a:endParaRPr>
              </a:p>
            </p:txBody>
          </p:sp>
          <p:sp>
            <p:nvSpPr>
              <p:cNvPr id="54" name="Oval 65">
                <a:extLst>
                  <a:ext uri="{FF2B5EF4-FFF2-40B4-BE49-F238E27FC236}">
                    <a16:creationId xmlns:a16="http://schemas.microsoft.com/office/drawing/2014/main" id="{21D8ADD3-C456-45DA-AD32-7D75D5EB0EC1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8911734" y="3628113"/>
                <a:ext cx="97810" cy="97200"/>
              </a:xfrm>
              <a:prstGeom prst="ellipse">
                <a:avLst/>
              </a:prstGeom>
              <a:gradFill flip="none" rotWithShape="1">
                <a:gsLst>
                  <a:gs pos="48000">
                    <a:schemeClr val="tx2"/>
                  </a:gs>
                  <a:gs pos="50000">
                    <a:schemeClr val="accent6"/>
                  </a:gs>
                </a:gsLst>
                <a:lin ang="0" scaled="1"/>
                <a:tileRect/>
              </a:gradFill>
              <a:ln w="9525" algn="ctr">
                <a:noFill/>
                <a:round/>
                <a:headEnd/>
                <a:tailEnd/>
              </a:ln>
            </p:spPr>
            <p:txBody>
              <a:bodyPr wrap="none" lIns="72000" tIns="72000" rIns="72000" bIns="72000" anchor="ctr"/>
              <a:lstStyle/>
              <a:p>
                <a:pPr marL="0" marR="0" lvl="0" indent="0" algn="ctr" defTabSz="685423" rtl="0" eaLnBrk="0" fontAlgn="base" latinLnBrk="0" hangingPunct="0">
                  <a:lnSpc>
                    <a:spcPct val="11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000" b="0" i="0" u="none" strike="noStrike" kern="0" cap="none" spc="0" normalizeH="0" baseline="0" noProof="0" dirty="0">
                  <a:ln>
                    <a:noFill/>
                  </a:ln>
                  <a:gradFill flip="none" rotWithShape="1">
                    <a:gsLst>
                      <a:gs pos="0">
                        <a:srgbClr val="000099"/>
                      </a:gs>
                      <a:gs pos="50000">
                        <a:srgbClr val="B5B5C6"/>
                      </a:gs>
                      <a:gs pos="100000">
                        <a:srgbClr val="FF9900"/>
                      </a:gs>
                      <a:gs pos="50000">
                        <a:srgbClr val="CCCCCC">
                          <a:shade val="100000"/>
                          <a:satMod val="115000"/>
                        </a:srgbClr>
                      </a:gs>
                    </a:gsLst>
                    <a:lin ang="0" scaled="1"/>
                    <a:tileRect/>
                  </a:gradFill>
                  <a:effectLst/>
                  <a:uLnTx/>
                  <a:uFillTx/>
                  <a:latin typeface="EnBW DIN Pro"/>
                  <a:ea typeface="+mn-ea"/>
                  <a:cs typeface="+mn-cs"/>
                </a:endParaRPr>
              </a:p>
            </p:txBody>
          </p:sp>
          <p:sp>
            <p:nvSpPr>
              <p:cNvPr id="55" name="Oval 65">
                <a:extLst>
                  <a:ext uri="{FF2B5EF4-FFF2-40B4-BE49-F238E27FC236}">
                    <a16:creationId xmlns:a16="http://schemas.microsoft.com/office/drawing/2014/main" id="{7B1127CA-FE6A-438D-A6F2-D5C8EFD1A59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908673" y="5082039"/>
                <a:ext cx="98427" cy="97200"/>
              </a:xfrm>
              <a:prstGeom prst="ellipse">
                <a:avLst/>
              </a:prstGeom>
              <a:gradFill flip="none" rotWithShape="1">
                <a:gsLst>
                  <a:gs pos="48000">
                    <a:schemeClr val="tx2"/>
                  </a:gs>
                  <a:gs pos="50000">
                    <a:schemeClr val="accent6"/>
                  </a:gs>
                </a:gsLst>
                <a:lin ang="0" scaled="1"/>
                <a:tileRect/>
              </a:gradFill>
              <a:ln w="9525" algn="ctr">
                <a:noFill/>
                <a:round/>
                <a:headEnd/>
                <a:tailEnd/>
              </a:ln>
            </p:spPr>
            <p:txBody>
              <a:bodyPr wrap="none" lIns="72000" tIns="72000" rIns="72000" bIns="72000" anchor="ctr"/>
              <a:lstStyle/>
              <a:p>
                <a:pPr marL="0" marR="0" lvl="0" indent="0" algn="ctr" defTabSz="685423" rtl="0" eaLnBrk="0" fontAlgn="base" latinLnBrk="0" hangingPunct="0">
                  <a:lnSpc>
                    <a:spcPct val="11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000" b="0" i="0" u="none" strike="noStrike" kern="0" cap="none" spc="0" normalizeH="0" baseline="0" noProof="0" dirty="0">
                  <a:ln>
                    <a:noFill/>
                  </a:ln>
                  <a:gradFill flip="none" rotWithShape="1">
                    <a:gsLst>
                      <a:gs pos="0">
                        <a:srgbClr val="000099"/>
                      </a:gs>
                      <a:gs pos="50000">
                        <a:srgbClr val="B5B5C6"/>
                      </a:gs>
                      <a:gs pos="100000">
                        <a:srgbClr val="FF9900"/>
                      </a:gs>
                      <a:gs pos="50000">
                        <a:srgbClr val="CCCCCC">
                          <a:shade val="100000"/>
                          <a:satMod val="115000"/>
                        </a:srgbClr>
                      </a:gs>
                    </a:gsLst>
                    <a:lin ang="0" scaled="1"/>
                    <a:tileRect/>
                  </a:gradFill>
                  <a:effectLst/>
                  <a:uLnTx/>
                  <a:uFillTx/>
                  <a:latin typeface="EnBW DIN Pro"/>
                  <a:ea typeface="+mn-ea"/>
                  <a:cs typeface="+mn-cs"/>
                </a:endParaRPr>
              </a:p>
            </p:txBody>
          </p:sp>
        </p:grpSp>
        <p:sp>
          <p:nvSpPr>
            <p:cNvPr id="56" name="Oval 71">
              <a:extLst>
                <a:ext uri="{FF2B5EF4-FFF2-40B4-BE49-F238E27FC236}">
                  <a16:creationId xmlns:a16="http://schemas.microsoft.com/office/drawing/2014/main" id="{1EAA980F-21FB-4F3A-87C2-8318B5E0E6F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328909" y="4112105"/>
              <a:ext cx="87976" cy="87375"/>
            </a:xfrm>
            <a:prstGeom prst="ellipse">
              <a:avLst/>
            </a:prstGeom>
            <a:solidFill>
              <a:schemeClr val="accent6"/>
            </a:solidFill>
            <a:ln w="9525" algn="ctr">
              <a:noFill/>
              <a:round/>
              <a:headEnd/>
              <a:tailEnd/>
            </a:ln>
          </p:spPr>
          <p:txBody>
            <a:bodyPr wrap="none" lIns="252000" tIns="72000" rIns="72000" bIns="72000" anchor="ctr"/>
            <a:lstStyle/>
            <a:p>
              <a:pPr marL="0" marR="0" lvl="0" indent="0" algn="l" defTabSz="685423" rtl="0" eaLnBrk="0" fontAlgn="base" latinLnBrk="0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57" name="Oval 64">
              <a:extLst>
                <a:ext uri="{FF2B5EF4-FFF2-40B4-BE49-F238E27FC236}">
                  <a16:creationId xmlns:a16="http://schemas.microsoft.com/office/drawing/2014/main" id="{BA7C4978-4688-400E-B8F8-D1AE48E8E33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395009" y="1858669"/>
              <a:ext cx="87976" cy="87375"/>
            </a:xfrm>
            <a:prstGeom prst="ellipse">
              <a:avLst/>
            </a:prstGeom>
            <a:solidFill>
              <a:schemeClr val="accent6"/>
            </a:solidFill>
            <a:ln w="9525" algn="ctr">
              <a:noFill/>
              <a:round/>
              <a:headEnd/>
              <a:tailEnd/>
            </a:ln>
          </p:spPr>
          <p:txBody>
            <a:bodyPr wrap="none" lIns="252000" tIns="72000" rIns="72000" bIns="72000" anchor="ctr"/>
            <a:lstStyle/>
            <a:p>
              <a:pPr marL="0" marR="0" lvl="0" indent="0" algn="l" defTabSz="685423" rtl="0" eaLnBrk="0" fontAlgn="base" latinLnBrk="0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58" name="Rectangle 76">
              <a:extLst>
                <a:ext uri="{FF2B5EF4-FFF2-40B4-BE49-F238E27FC236}">
                  <a16:creationId xmlns:a16="http://schemas.microsoft.com/office/drawing/2014/main" id="{EB6599E4-8EED-4C3E-AEFC-CB9199E94CE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006309" y="4521925"/>
              <a:ext cx="893632" cy="20381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>
              <a:spAutoFit/>
            </a:bodyPr>
            <a:lstStyle/>
            <a:p>
              <a:pPr marL="257034" marR="0" lvl="0" indent="-257034" algn="ctr" defTabSz="685423" rtl="0" eaLnBrk="0" fontAlgn="base" latinLnBrk="0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1A500"/>
                </a:buClr>
                <a:buSzPct val="135000"/>
                <a:buFontTx/>
                <a:buNone/>
                <a:tabLst/>
                <a:defRPr/>
              </a:pPr>
              <a:r>
                <a:rPr kumimoji="0" lang="de-DE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EnBW DIN Pro"/>
                  <a:ea typeface="+mn-ea"/>
                  <a:cs typeface="+mn-cs"/>
                </a:rPr>
                <a:t>Lahr (EWM)</a:t>
              </a:r>
            </a:p>
          </p:txBody>
        </p:sp>
        <p:grpSp>
          <p:nvGrpSpPr>
            <p:cNvPr id="59" name="Group 51">
              <a:extLst>
                <a:ext uri="{FF2B5EF4-FFF2-40B4-BE49-F238E27FC236}">
                  <a16:creationId xmlns:a16="http://schemas.microsoft.com/office/drawing/2014/main" id="{AC861A3F-E707-4559-A9C3-959151938CF7}"/>
                </a:ext>
              </a:extLst>
            </p:cNvPr>
            <p:cNvGrpSpPr/>
            <p:nvPr/>
          </p:nvGrpSpPr>
          <p:grpSpPr bwMode="gray">
            <a:xfrm>
              <a:off x="501301" y="1845899"/>
              <a:ext cx="73338" cy="469595"/>
              <a:chOff x="6197487" y="1429812"/>
              <a:chExt cx="97810" cy="626126"/>
            </a:xfrm>
          </p:grpSpPr>
          <p:sp>
            <p:nvSpPr>
              <p:cNvPr id="60" name="Oval 64">
                <a:extLst>
                  <a:ext uri="{FF2B5EF4-FFF2-40B4-BE49-F238E27FC236}">
                    <a16:creationId xmlns:a16="http://schemas.microsoft.com/office/drawing/2014/main" id="{235AB07F-2785-43EF-9A64-91EB74241DF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6197487" y="1429812"/>
                <a:ext cx="97810" cy="96761"/>
              </a:xfrm>
              <a:prstGeom prst="ellipse">
                <a:avLst/>
              </a:prstGeom>
              <a:solidFill>
                <a:schemeClr val="accent6"/>
              </a:solidFill>
              <a:ln w="9525" algn="ctr">
                <a:noFill/>
                <a:round/>
                <a:headEnd/>
                <a:tailEnd/>
              </a:ln>
            </p:spPr>
            <p:txBody>
              <a:bodyPr wrap="none" lIns="252000" tIns="72000" rIns="72000" bIns="72000" anchor="ctr"/>
              <a:lstStyle/>
              <a:p>
                <a:pPr marL="0" marR="0" lvl="0" indent="0" algn="l" defTabSz="685423" rtl="0" eaLnBrk="0" fontAlgn="base" latinLnBrk="0" hangingPunct="0">
                  <a:lnSpc>
                    <a:spcPct val="11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B3B3B"/>
                    </a:solidFill>
                    <a:effectLst/>
                    <a:uLnTx/>
                    <a:uFillTx/>
                    <a:latin typeface="EnBW DIN Pro"/>
                    <a:ea typeface="DIN-Regular" panose="020B0500010101010101" pitchFamily="34" charset="0"/>
                    <a:cs typeface="+mn-cs"/>
                  </a:rPr>
                  <a:t>Technisch</a:t>
                </a:r>
                <a:endParaRPr kumimoji="0" lang="de-DE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DIN-Regular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61" name="Oval 64">
                <a:extLst>
                  <a:ext uri="{FF2B5EF4-FFF2-40B4-BE49-F238E27FC236}">
                    <a16:creationId xmlns:a16="http://schemas.microsoft.com/office/drawing/2014/main" id="{7BBAD0A8-F578-4C54-91FD-9D10303BF16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6197487" y="1694496"/>
                <a:ext cx="97810" cy="96761"/>
              </a:xfrm>
              <a:prstGeom prst="ellipse">
                <a:avLst/>
              </a:prstGeom>
              <a:solidFill>
                <a:schemeClr val="tx2"/>
              </a:solidFill>
              <a:ln w="9525" algn="ctr">
                <a:noFill/>
                <a:round/>
                <a:headEnd/>
                <a:tailEnd/>
              </a:ln>
            </p:spPr>
            <p:txBody>
              <a:bodyPr wrap="none" lIns="252000" tIns="72000" rIns="72000" bIns="72000" anchor="ctr"/>
              <a:lstStyle/>
              <a:p>
                <a:pPr marL="0" marR="0" lvl="0" indent="0" algn="l" defTabSz="685423" rtl="0" eaLnBrk="0" fontAlgn="base" latinLnBrk="0" hangingPunct="0">
                  <a:lnSpc>
                    <a:spcPct val="11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B3B3B"/>
                    </a:solidFill>
                    <a:effectLst/>
                    <a:uLnTx/>
                    <a:uFillTx/>
                    <a:latin typeface="EnBW DIN Pro"/>
                    <a:ea typeface="DIN-Regular" panose="020B0500010101010101" pitchFamily="34" charset="0"/>
                    <a:cs typeface="+mn-cs"/>
                  </a:rPr>
                  <a:t>Kaufmännisch</a:t>
                </a:r>
                <a:endParaRPr kumimoji="0" lang="de-DE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DIN-Regular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62" name="Oval 64">
                <a:extLst>
                  <a:ext uri="{FF2B5EF4-FFF2-40B4-BE49-F238E27FC236}">
                    <a16:creationId xmlns:a16="http://schemas.microsoft.com/office/drawing/2014/main" id="{4650C40D-32A7-4C15-98C8-4FAB1E16D8A6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6197487" y="1959177"/>
                <a:ext cx="97810" cy="96761"/>
              </a:xfrm>
              <a:prstGeom prst="ellipse">
                <a:avLst/>
              </a:prstGeom>
              <a:solidFill>
                <a:schemeClr val="accent3"/>
              </a:solidFill>
              <a:ln w="9525" algn="ctr">
                <a:noFill/>
                <a:round/>
                <a:headEnd/>
                <a:tailEnd/>
              </a:ln>
            </p:spPr>
            <p:txBody>
              <a:bodyPr wrap="none" lIns="252000" tIns="72000" rIns="72000" bIns="72000" anchor="ctr"/>
              <a:lstStyle/>
              <a:p>
                <a:pPr marL="0" marR="0" lvl="0" indent="0" algn="l" defTabSz="685423" rtl="0" eaLnBrk="0" fontAlgn="base" latinLnBrk="0" hangingPunct="0">
                  <a:lnSpc>
                    <a:spcPct val="11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B3B3B"/>
                    </a:solidFill>
                    <a:effectLst/>
                    <a:uLnTx/>
                    <a:uFillTx/>
                    <a:latin typeface="EnBW DIN Pro"/>
                    <a:ea typeface="DIN-Regular" panose="020B0500010101010101" pitchFamily="34" charset="0"/>
                    <a:cs typeface="+mn-cs"/>
                  </a:rPr>
                  <a:t>Kooperation</a:t>
                </a:r>
                <a:endParaRPr kumimoji="0" lang="de-DE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DIN-Regular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63" name="Oval 69">
              <a:extLst>
                <a:ext uri="{FF2B5EF4-FFF2-40B4-BE49-F238E27FC236}">
                  <a16:creationId xmlns:a16="http://schemas.microsoft.com/office/drawing/2014/main" id="{1C4DDBD3-9193-41DB-AA4A-D43B0B6D506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57943" y="4551172"/>
              <a:ext cx="96732" cy="96072"/>
            </a:xfrm>
            <a:prstGeom prst="ellipse">
              <a:avLst/>
            </a:prstGeom>
            <a:gradFill>
              <a:gsLst>
                <a:gs pos="50000">
                  <a:srgbClr val="979797"/>
                </a:gs>
                <a:gs pos="51000">
                  <a:srgbClr val="FF9900"/>
                </a:gs>
              </a:gsLst>
              <a:lin ang="0" scaled="1"/>
            </a:gradFill>
            <a:ln w="9525" algn="ctr">
              <a:noFill/>
              <a:round/>
              <a:headEnd/>
              <a:tailEnd/>
            </a:ln>
          </p:spPr>
          <p:txBody>
            <a:bodyPr wrap="none" lIns="252000" tIns="72000" rIns="72000" bIns="72000" anchor="ctr"/>
            <a:lstStyle/>
            <a:p>
              <a:pPr marL="0" marR="0" lvl="0" indent="0" algn="l" defTabSz="685423" rtl="0" eaLnBrk="0" fontAlgn="base" latinLnBrk="0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64" name="Rectangle 52">
              <a:extLst>
                <a:ext uri="{FF2B5EF4-FFF2-40B4-BE49-F238E27FC236}">
                  <a16:creationId xmlns:a16="http://schemas.microsoft.com/office/drawing/2014/main" id="{65B71CEB-D715-4A1B-85CB-C923C83A7613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3684345" y="2775541"/>
              <a:ext cx="1071939" cy="1635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68542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1A500"/>
                </a:buClr>
                <a:buSzPct val="135000"/>
                <a:buFontTx/>
                <a:buNone/>
                <a:tabLst/>
                <a:defRPr/>
              </a:pPr>
              <a:r>
                <a:rPr kumimoji="0" lang="de-DE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EnBW DIN Pro"/>
                  <a:ea typeface="+mn-ea"/>
                  <a:cs typeface="+mn-cs"/>
                </a:rPr>
                <a:t>Öhringen (NHF)</a:t>
              </a:r>
            </a:p>
          </p:txBody>
        </p:sp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4F8712B0-643D-421A-8750-BC63ED21F4D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561679" y="2814629"/>
              <a:ext cx="87975" cy="87375"/>
            </a:xfrm>
            <a:prstGeom prst="ellipse">
              <a:avLst/>
            </a:prstGeom>
            <a:gradFill>
              <a:gsLst>
                <a:gs pos="50000">
                  <a:srgbClr val="979797"/>
                </a:gs>
                <a:gs pos="51000">
                  <a:srgbClr val="FF9900"/>
                </a:gs>
              </a:gsLst>
              <a:lin ang="0" scaled="1"/>
            </a:gradFill>
            <a:ln w="9525" algn="ctr">
              <a:noFill/>
              <a:round/>
              <a:headEnd/>
              <a:tailEnd/>
            </a:ln>
          </p:spPr>
          <p:txBody>
            <a:bodyPr wrap="none" lIns="252000" tIns="72000" rIns="72000" bIns="72000" anchor="ctr"/>
            <a:lstStyle/>
            <a:p>
              <a:pPr marL="0" marR="0" lvl="0" indent="0" algn="l" defTabSz="685423" rtl="0" eaLnBrk="0" fontAlgn="base" latinLnBrk="0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66" name="Oval 64">
              <a:extLst>
                <a:ext uri="{FF2B5EF4-FFF2-40B4-BE49-F238E27FC236}">
                  <a16:creationId xmlns:a16="http://schemas.microsoft.com/office/drawing/2014/main" id="{5494B28B-316B-4F9E-8B55-4D962660369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465675" y="3428999"/>
              <a:ext cx="87976" cy="87375"/>
            </a:xfrm>
            <a:prstGeom prst="ellipse">
              <a:avLst/>
            </a:prstGeom>
            <a:solidFill>
              <a:schemeClr val="accent6"/>
            </a:solidFill>
            <a:ln w="9525" algn="ctr">
              <a:noFill/>
              <a:round/>
              <a:headEnd/>
              <a:tailEnd/>
            </a:ln>
          </p:spPr>
          <p:txBody>
            <a:bodyPr wrap="none" lIns="252000" tIns="72000" rIns="72000" bIns="72000" anchor="ctr"/>
            <a:lstStyle/>
            <a:p>
              <a:pPr marL="0" marR="0" lvl="0" indent="0" algn="l" defTabSz="685423" rtl="0" eaLnBrk="0" fontAlgn="base" latinLnBrk="0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67" name="Rectangle 69">
              <a:extLst>
                <a:ext uri="{FF2B5EF4-FFF2-40B4-BE49-F238E27FC236}">
                  <a16:creationId xmlns:a16="http://schemas.microsoft.com/office/drawing/2014/main" id="{95A17AAE-0C89-4710-A2FB-01E8A63DC0CB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2606620" y="3400436"/>
              <a:ext cx="832465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257034" marR="0" lvl="0" indent="-257034" algn="l" defTabSz="68542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1A500"/>
                </a:buClr>
                <a:buSzPct val="135000"/>
                <a:buFontTx/>
                <a:buNone/>
                <a:tabLst/>
                <a:defRPr/>
              </a:pPr>
              <a:r>
                <a:rPr kumimoji="0" lang="de-DE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EnBW DIN Pro"/>
                  <a:ea typeface="+mn-ea"/>
                  <a:cs typeface="+mn-cs"/>
                </a:rPr>
                <a:t>Sachsenheim</a:t>
              </a:r>
            </a:p>
          </p:txBody>
        </p:sp>
        <p:graphicFrame>
          <p:nvGraphicFramePr>
            <p:cNvPr id="68" name="Inhaltsplatzhalter 5">
              <a:extLst>
                <a:ext uri="{FF2B5EF4-FFF2-40B4-BE49-F238E27FC236}">
                  <a16:creationId xmlns:a16="http://schemas.microsoft.com/office/drawing/2014/main" id="{3ED0D9DF-ABD5-4E7F-ACF8-AB9B7F46551E}"/>
                </a:ext>
              </a:extLst>
            </p:cNvPr>
            <p:cNvGraphicFramePr>
              <a:graphicFrameLocks/>
            </p:cNvGraphicFramePr>
            <p:nvPr/>
          </p:nvGraphicFramePr>
          <p:xfrm>
            <a:off x="1590865" y="3115890"/>
            <a:ext cx="396000" cy="39600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3"/>
            </a:graphicData>
          </a:graphic>
        </p:graphicFrame>
        <p:sp>
          <p:nvSpPr>
            <p:cNvPr id="69" name="Oval 71">
              <a:extLst>
                <a:ext uri="{FF2B5EF4-FFF2-40B4-BE49-F238E27FC236}">
                  <a16:creationId xmlns:a16="http://schemas.microsoft.com/office/drawing/2014/main" id="{5F77E73E-4F39-49A0-8420-B7261BD77B9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754252" y="3834613"/>
              <a:ext cx="87976" cy="87375"/>
            </a:xfrm>
            <a:prstGeom prst="ellipse">
              <a:avLst/>
            </a:prstGeom>
            <a:solidFill>
              <a:schemeClr val="accent6"/>
            </a:solidFill>
            <a:ln w="9525" algn="ctr">
              <a:noFill/>
              <a:round/>
              <a:headEnd/>
              <a:tailEnd/>
            </a:ln>
          </p:spPr>
          <p:txBody>
            <a:bodyPr wrap="none" lIns="252000" tIns="72000" rIns="72000" bIns="72000" anchor="ctr"/>
            <a:lstStyle/>
            <a:p>
              <a:pPr marL="0" marR="0" lvl="0" indent="0" algn="l" defTabSz="685423" rtl="0" eaLnBrk="0" fontAlgn="base" latinLnBrk="0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70" name="Rectangle 56">
              <a:extLst>
                <a:ext uri="{FF2B5EF4-FFF2-40B4-BE49-F238E27FC236}">
                  <a16:creationId xmlns:a16="http://schemas.microsoft.com/office/drawing/2014/main" id="{481F781C-CC0E-4C2F-A274-8416328F6931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2874769" y="3811946"/>
              <a:ext cx="556243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257034" marR="0" lvl="0" indent="-257034" algn="l" defTabSz="68542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1A500"/>
                </a:buClr>
                <a:buSzPct val="135000"/>
                <a:buFontTx/>
                <a:buNone/>
                <a:tabLst/>
                <a:defRPr/>
              </a:pPr>
              <a:r>
                <a:rPr kumimoji="0" lang="de-DE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EnBW DIN Pro"/>
                  <a:ea typeface="+mn-ea"/>
                  <a:cs typeface="+mn-cs"/>
                </a:rPr>
                <a:t>Esslingen</a:t>
              </a:r>
            </a:p>
          </p:txBody>
        </p:sp>
        <p:sp>
          <p:nvSpPr>
            <p:cNvPr id="71" name="Rectangle 59">
              <a:extLst>
                <a:ext uri="{FF2B5EF4-FFF2-40B4-BE49-F238E27FC236}">
                  <a16:creationId xmlns:a16="http://schemas.microsoft.com/office/drawing/2014/main" id="{0075A169-849D-4F64-8758-05FE78B68F3B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3576406" y="5941573"/>
              <a:ext cx="1268749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257034" marR="0" lvl="0" indent="-257034" algn="l" defTabSz="68542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1A500"/>
                </a:buClr>
                <a:buSzPct val="135000"/>
                <a:buFontTx/>
                <a:buNone/>
                <a:tabLst/>
                <a:defRPr/>
              </a:pPr>
              <a:r>
                <a:rPr kumimoji="0" lang="de-DE" sz="10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EnBW DIN Pro"/>
                  <a:ea typeface="+mn-ea"/>
                  <a:cs typeface="+mn-cs"/>
                </a:rPr>
                <a:t>Bodnegg</a:t>
              </a:r>
              <a:r>
                <a:rPr lang="de-DE" sz="1000" kern="0" dirty="0">
                  <a:solidFill>
                    <a:srgbClr val="000000"/>
                  </a:solidFill>
                  <a:latin typeface="EnBW DIN Pro"/>
                </a:rPr>
                <a:t>-</a:t>
              </a:r>
              <a:r>
                <a:rPr lang="de-DE" sz="1000" kern="0" dirty="0" err="1">
                  <a:solidFill>
                    <a:srgbClr val="000000"/>
                  </a:solidFill>
                  <a:latin typeface="EnBW DIN Pro"/>
                </a:rPr>
                <a:t>Rotheidlen</a:t>
              </a:r>
              <a:endParaRPr kumimoji="0" lang="de-DE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72" name="Oval 73">
              <a:extLst>
                <a:ext uri="{FF2B5EF4-FFF2-40B4-BE49-F238E27FC236}">
                  <a16:creationId xmlns:a16="http://schemas.microsoft.com/office/drawing/2014/main" id="{770E4D2D-5782-4054-AFC2-E0BB533FBA4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434679" y="5970720"/>
              <a:ext cx="96732" cy="96072"/>
            </a:xfrm>
            <a:prstGeom prst="ellipse">
              <a:avLst/>
            </a:prstGeom>
            <a:solidFill>
              <a:schemeClr val="accent6"/>
            </a:solidFill>
            <a:ln w="9525" algn="ctr">
              <a:noFill/>
              <a:round/>
              <a:headEnd/>
              <a:tailEnd/>
            </a:ln>
          </p:spPr>
          <p:txBody>
            <a:bodyPr wrap="none" lIns="252000" tIns="72000" rIns="72000" bIns="72000" anchor="ctr"/>
            <a:lstStyle/>
            <a:p>
              <a:pPr marL="0" marR="0" lvl="0" indent="0" algn="l" defTabSz="685423" rtl="0" eaLnBrk="0" fontAlgn="base" latinLnBrk="0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</p:grpSp>
      <p:cxnSp>
        <p:nvCxnSpPr>
          <p:cNvPr id="73" name="Gerader Verbinder 72">
            <a:extLst>
              <a:ext uri="{FF2B5EF4-FFF2-40B4-BE49-F238E27FC236}">
                <a16:creationId xmlns:a16="http://schemas.microsoft.com/office/drawing/2014/main" id="{B6F0D960-257E-43E7-A29E-3C7D51921BFF}"/>
              </a:ext>
            </a:extLst>
          </p:cNvPr>
          <p:cNvCxnSpPr/>
          <p:nvPr/>
        </p:nvCxnSpPr>
        <p:spPr bwMode="auto">
          <a:xfrm flipV="1">
            <a:off x="4099985" y="2235279"/>
            <a:ext cx="755849" cy="211831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accent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4" name="Gerader Verbinder 73">
            <a:extLst>
              <a:ext uri="{FF2B5EF4-FFF2-40B4-BE49-F238E27FC236}">
                <a16:creationId xmlns:a16="http://schemas.microsoft.com/office/drawing/2014/main" id="{69A4B251-1F03-4D34-978C-4C54A2D3AF5F}"/>
              </a:ext>
            </a:extLst>
          </p:cNvPr>
          <p:cNvCxnSpPr/>
          <p:nvPr/>
        </p:nvCxnSpPr>
        <p:spPr bwMode="auto">
          <a:xfrm>
            <a:off x="4026148" y="5456106"/>
            <a:ext cx="807308" cy="408363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accent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2" name="Grafik 11" descr="Ein Bild, das Person, drinnen, Fenster, Mann enthält.&#10;&#10;Automatisch generierte Beschreibung">
            <a:extLst>
              <a:ext uri="{FF2B5EF4-FFF2-40B4-BE49-F238E27FC236}">
                <a16:creationId xmlns:a16="http://schemas.microsoft.com/office/drawing/2014/main" id="{494F3AB9-DAB7-497C-8554-8C6BA8D61833}"/>
              </a:ext>
            </a:extLst>
          </p:cNvPr>
          <p:cNvPicPr>
            <a:picLocks noChangeAspect="1"/>
          </p:cNvPicPr>
          <p:nvPr/>
        </p:nvPicPr>
        <p:blipFill rotWithShape="1"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73415" y="4168751"/>
            <a:ext cx="1660641" cy="224433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7" name="Grafik 76" descr="Ein Bild, das draußen, Gebäude, Person, Mann enthält.&#10;&#10;Automatisch generierte Beschreibung">
            <a:extLst>
              <a:ext uri="{FF2B5EF4-FFF2-40B4-BE49-F238E27FC236}">
                <a16:creationId xmlns:a16="http://schemas.microsoft.com/office/drawing/2014/main" id="{FAE62625-755C-4A58-8F8E-4DF2FEF2FF7D}"/>
              </a:ext>
            </a:extLst>
          </p:cNvPr>
          <p:cNvPicPr>
            <a:picLocks noChangeAspect="1"/>
          </p:cNvPicPr>
          <p:nvPr/>
        </p:nvPicPr>
        <p:blipFill rotWithShape="1"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24177" y="4174258"/>
            <a:ext cx="1660641" cy="226241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0" name="Grafik 29" descr="Ein Bild, das Text, Fenster, Mann, drinnen enthält.&#10;&#10;Automatisch generierte Beschreibung">
            <a:extLst>
              <a:ext uri="{FF2B5EF4-FFF2-40B4-BE49-F238E27FC236}">
                <a16:creationId xmlns:a16="http://schemas.microsoft.com/office/drawing/2014/main" id="{F37019EC-B63A-45B5-B3D8-9BFD858CFC02}"/>
              </a:ext>
            </a:extLst>
          </p:cNvPr>
          <p:cNvPicPr>
            <a:picLocks noChangeAspect="1"/>
          </p:cNvPicPr>
          <p:nvPr/>
        </p:nvPicPr>
        <p:blipFill rotWithShape="1"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89"/>
          <a:stretch/>
        </p:blipFill>
        <p:spPr>
          <a:xfrm>
            <a:off x="6692001" y="4165549"/>
            <a:ext cx="3210530" cy="224833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339576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DB0768B8-BB1E-4E22-B2DE-3D7706B7FB3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38" name="think-cell Folie" r:id="rId5" imgW="592" imgH="591" progId="TCLayout.ActiveDocument.1">
                  <p:embed/>
                </p:oleObj>
              </mc:Choice>
              <mc:Fallback>
                <p:oleObj name="think-cell Folie" r:id="rId5" imgW="592" imgH="591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DB0768B8-BB1E-4E22-B2DE-3D7706B7FB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25844DC1-15FE-42F9-8107-3DA7D9B471D0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Aft>
                <a:spcPct val="0"/>
              </a:spcAft>
            </a:pPr>
            <a:endParaRPr kumimoji="0" lang="de-DE" sz="22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EnBW DIN Pro" panose="020B0504020101020102" pitchFamily="34" charset="0"/>
              <a:cs typeface="+mj-cs"/>
              <a:sym typeface="EnBW DIN Pro" panose="020B0504020101020102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F4236CE-924A-4BC7-AFF1-EB8F8D5ED8F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3D4A45-F672-4474-BA28-E624C64DA635}" type="slidenum">
              <a:rPr lang="de-DE" smtClean="0"/>
              <a:t>12</a:t>
            </a:fld>
            <a:endParaRPr lang="de-DE"/>
          </a:p>
        </p:txBody>
      </p:sp>
      <p:sp>
        <p:nvSpPr>
          <p:cNvPr id="10" name="Titel 2">
            <a:extLst>
              <a:ext uri="{FF2B5EF4-FFF2-40B4-BE49-F238E27FC236}">
                <a16:creationId xmlns:a16="http://schemas.microsoft.com/office/drawing/2014/main" id="{3B28FDBC-3E2B-4923-B765-26E640F3E0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777" y="502987"/>
            <a:ext cx="9443167" cy="615393"/>
          </a:xfrm>
        </p:spPr>
        <p:txBody>
          <a:bodyPr vert="horz"/>
          <a:lstStyle/>
          <a:p>
            <a:r>
              <a:rPr lang="de-DE" dirty="0"/>
              <a:t>Versorgungssicherheit durch regionale Stärke vor Ort</a:t>
            </a:r>
            <a:br>
              <a:rPr lang="de-DE" dirty="0"/>
            </a:br>
            <a:r>
              <a:rPr lang="de-DE" sz="1800" kern="1200" dirty="0">
                <a:solidFill>
                  <a:schemeClr val="tx2"/>
                </a:solidFill>
                <a:cs typeface="EnBW DIN Pro Medium" panose="020B0604020101020102" pitchFamily="34" charset="0"/>
              </a:rPr>
              <a:t>Insbesondere in Störungssituationen – schnelle Reaktionszeit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2F258EA6-FB89-4E6B-B04A-ECD87C3051A9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9839" y="1712425"/>
            <a:ext cx="3754473" cy="172833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7BE0E4D0-6B45-40D7-A264-317A8E4360DB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36950" y="4160636"/>
            <a:ext cx="4090545" cy="190767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3" name="Rechteck 12">
            <a:extLst>
              <a:ext uri="{FF2B5EF4-FFF2-40B4-BE49-F238E27FC236}">
                <a16:creationId xmlns:a16="http://schemas.microsoft.com/office/drawing/2014/main" id="{0C107BD7-1DDA-420C-B2EA-9E9B9FC8D3AF}"/>
              </a:ext>
            </a:extLst>
          </p:cNvPr>
          <p:cNvSpPr/>
          <p:nvPr/>
        </p:nvSpPr>
        <p:spPr bwMode="auto">
          <a:xfrm>
            <a:off x="8455568" y="3914650"/>
            <a:ext cx="3391187" cy="215366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7972" tIns="107972" rIns="107972" bIns="107972" numCol="1" rtlCol="0" anchor="ctr" anchorCtr="0" compatLnSpc="1">
            <a:prstTxWarp prst="textNoShape">
              <a:avLst/>
            </a:prstTxWarp>
          </a:bodyPr>
          <a:lstStyle/>
          <a:p>
            <a:pPr marL="285664" indent="-285664" defTabSz="914126" eaLnBrk="0" fontAlgn="base" hangingPunct="0">
              <a:spcAft>
                <a:spcPts val="600"/>
              </a:spcAft>
              <a:buClr>
                <a:schemeClr val="accent6"/>
              </a:buClr>
              <a:buFont typeface="EnBW DIN Pro" panose="020B0504020101020102" pitchFamily="34" charset="0"/>
              <a:buChar char="›"/>
            </a:pPr>
            <a:endParaRPr lang="de-DE" sz="1400" dirty="0"/>
          </a:p>
          <a:p>
            <a:pPr marL="285664" indent="-285664" eaLnBrk="0" fontAlgn="base" hangingPunct="0">
              <a:spcAft>
                <a:spcPts val="600"/>
              </a:spcAft>
              <a:buClr>
                <a:schemeClr val="accent6"/>
              </a:buClr>
              <a:buFont typeface="EnBW DIN Pro" panose="020B0504020101020102" pitchFamily="34" charset="0"/>
              <a:buChar char="›"/>
            </a:pPr>
            <a:r>
              <a:rPr lang="de-DE" sz="1400" dirty="0"/>
              <a:t>Über 60 MitarbeiterInnen leben mit ihren Familien hier in der Region </a:t>
            </a:r>
          </a:p>
          <a:p>
            <a:pPr marL="285664" indent="-285664" eaLnBrk="0" fontAlgn="base" hangingPunct="0">
              <a:spcAft>
                <a:spcPts val="600"/>
              </a:spcAft>
              <a:buClr>
                <a:schemeClr val="accent6"/>
              </a:buClr>
              <a:buFont typeface="EnBW DIN Pro" panose="020B0504020101020102" pitchFamily="34" charset="0"/>
              <a:buChar char="›"/>
            </a:pPr>
            <a:r>
              <a:rPr lang="de-DE" sz="1400" dirty="0"/>
              <a:t>Über 300 qualifizierte Teams in der Fläche </a:t>
            </a:r>
          </a:p>
          <a:p>
            <a:pPr marL="285664" indent="-285664" eaLnBrk="0" fontAlgn="base" hangingPunct="0">
              <a:spcAft>
                <a:spcPts val="600"/>
              </a:spcAft>
              <a:buClr>
                <a:schemeClr val="accent6"/>
              </a:buClr>
              <a:buFont typeface="EnBW DIN Pro" panose="020B0504020101020102" pitchFamily="34" charset="0"/>
              <a:buChar char="›"/>
            </a:pPr>
            <a:r>
              <a:rPr lang="de-DE" sz="1400" dirty="0"/>
              <a:t>24/7 Rufbereitschaft</a:t>
            </a:r>
          </a:p>
          <a:p>
            <a:pPr marL="285664" indent="-285664" eaLnBrk="0" fontAlgn="base" hangingPunct="0">
              <a:spcAft>
                <a:spcPts val="600"/>
              </a:spcAft>
              <a:buClr>
                <a:schemeClr val="accent6"/>
              </a:buClr>
              <a:buFont typeface="EnBW DIN Pro" panose="020B0504020101020102" pitchFamily="34" charset="0"/>
              <a:buChar char="›"/>
            </a:pPr>
            <a:r>
              <a:rPr lang="de-DE" sz="1400" dirty="0"/>
              <a:t>Spezialausrüstung und Fuhrpark in ganz Baden-Württemberg </a:t>
            </a:r>
          </a:p>
          <a:p>
            <a:pPr marL="285664" indent="-285664" eaLnBrk="0" fontAlgn="base" hangingPunct="0">
              <a:spcAft>
                <a:spcPts val="600"/>
              </a:spcAft>
              <a:buClr>
                <a:schemeClr val="accent6"/>
              </a:buClr>
              <a:buFont typeface="EnBW DIN Pro" panose="020B0504020101020102" pitchFamily="34" charset="0"/>
              <a:buChar char="›"/>
            </a:pPr>
            <a:r>
              <a:rPr lang="de-DE" sz="1400" dirty="0"/>
              <a:t>Einsatzkoordination über Tablets</a:t>
            </a:r>
          </a:p>
          <a:p>
            <a:pPr marL="285664" indent="-285664" defTabSz="914126" eaLnBrk="0" fontAlgn="base" hangingPunct="0">
              <a:spcAft>
                <a:spcPct val="0"/>
              </a:spcAft>
              <a:buClr>
                <a:schemeClr val="accent6"/>
              </a:buClr>
              <a:buFont typeface="EnBW DIN Pro" panose="020B0504020101020102" pitchFamily="34" charset="0"/>
              <a:buChar char="›"/>
            </a:pPr>
            <a:endParaRPr lang="de-DE" sz="1400" dirty="0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CAF296A3-4E94-45D4-8E4D-E37C687D8291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9716" r="-3605"/>
          <a:stretch/>
        </p:blipFill>
        <p:spPr>
          <a:xfrm>
            <a:off x="347141" y="3252222"/>
            <a:ext cx="3889811" cy="281609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5" name="Grafik 14" descr="Ein Bild, das Text, Himmel, draußen, Straße enthält.&#10;&#10;Automatisch generierte Beschreibung">
            <a:extLst>
              <a:ext uri="{FF2B5EF4-FFF2-40B4-BE49-F238E27FC236}">
                <a16:creationId xmlns:a16="http://schemas.microsoft.com/office/drawing/2014/main" id="{857C4023-AAC3-4D4C-83D0-9D28F27AED22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36950" y="1712426"/>
            <a:ext cx="4077846" cy="231649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26BC7266-EA90-476C-B7B5-2A1F69CEA0C0" descr="image6.jpeg">
            <a:extLst>
              <a:ext uri="{FF2B5EF4-FFF2-40B4-BE49-F238E27FC236}">
                <a16:creationId xmlns:a16="http://schemas.microsoft.com/office/drawing/2014/main" id="{EB4E056A-6476-4403-B2BD-74AB2355D79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455568" y="1712426"/>
            <a:ext cx="3391187" cy="2076966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33565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97A87CB-1590-4495-95DD-2F0612ABAFE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2" name="think-cell Folie" r:id="rId5" imgW="592" imgH="591" progId="TCLayout.ActiveDocument.1">
                  <p:embed/>
                </p:oleObj>
              </mc:Choice>
              <mc:Fallback>
                <p:oleObj name="think-cell Folie" r:id="rId5" imgW="592" imgH="591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97A87CB-1590-4495-95DD-2F0612ABAF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hteck 21">
            <a:extLst>
              <a:ext uri="{FF2B5EF4-FFF2-40B4-BE49-F238E27FC236}">
                <a16:creationId xmlns:a16="http://schemas.microsoft.com/office/drawing/2014/main" id="{B3D949BC-CF77-4921-8E16-D89E183A57D9}"/>
              </a:ext>
            </a:extLst>
          </p:cNvPr>
          <p:cNvSpPr/>
          <p:nvPr/>
        </p:nvSpPr>
        <p:spPr bwMode="auto">
          <a:xfrm>
            <a:off x="6483669" y="4564514"/>
            <a:ext cx="5244092" cy="1579431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rgbClr val="0616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8000" tIns="108000" rIns="108000" bIns="10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8F90BDBC-5C7F-43DA-B2F9-C93898F323E3}"/>
              </a:ext>
            </a:extLst>
          </p:cNvPr>
          <p:cNvSpPr/>
          <p:nvPr/>
        </p:nvSpPr>
        <p:spPr bwMode="auto">
          <a:xfrm>
            <a:off x="467414" y="4564515"/>
            <a:ext cx="5244092" cy="157943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rgbClr val="0616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8000" tIns="108000" rIns="108000" bIns="10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18EAB1CC-EEBA-4033-B05A-E149A08105F7}"/>
              </a:ext>
            </a:extLst>
          </p:cNvPr>
          <p:cNvSpPr/>
          <p:nvPr/>
        </p:nvSpPr>
        <p:spPr bwMode="auto">
          <a:xfrm>
            <a:off x="6440726" y="2190750"/>
            <a:ext cx="5244092" cy="19431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rgbClr val="0616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8000" tIns="108000" rIns="108000" bIns="10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A8BC7FE7-1AFD-4496-803B-57F32A2DC251}"/>
              </a:ext>
            </a:extLst>
          </p:cNvPr>
          <p:cNvSpPr/>
          <p:nvPr/>
        </p:nvSpPr>
        <p:spPr bwMode="auto">
          <a:xfrm>
            <a:off x="469781" y="2190750"/>
            <a:ext cx="5244092" cy="19431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rgbClr val="0616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8000" tIns="108000" rIns="108000" bIns="10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1146EE6-272B-4ABF-A948-E53FF6C5A2E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3D4A45-F672-4474-BA28-E624C64DA635}" type="slidenum">
              <a:rPr lang="de-DE" smtClean="0"/>
              <a:t>13</a:t>
            </a:fld>
            <a:endParaRPr lang="de-DE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CEBCBB82-FBE8-4793-93E7-4DE40E77ABDA}"/>
              </a:ext>
            </a:extLst>
          </p:cNvPr>
          <p:cNvSpPr/>
          <p:nvPr/>
        </p:nvSpPr>
        <p:spPr bwMode="auto">
          <a:xfrm>
            <a:off x="2681616" y="3128873"/>
            <a:ext cx="2296629" cy="60814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8000" tIns="108000" rIns="108000" bIns="10800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Aft>
                <a:spcPct val="0"/>
              </a:spcAft>
            </a:pPr>
            <a:endParaRPr lang="de-DE" sz="1400" err="1"/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F9F2C846-0BC5-4E3D-91A8-8B78805EBB91}"/>
              </a:ext>
            </a:extLst>
          </p:cNvPr>
          <p:cNvSpPr/>
          <p:nvPr/>
        </p:nvSpPr>
        <p:spPr bwMode="auto">
          <a:xfrm>
            <a:off x="2667771" y="4888762"/>
            <a:ext cx="2296629" cy="24857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8000" tIns="108000" rIns="108000" bIns="10800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Aft>
                <a:spcPct val="0"/>
              </a:spcAft>
            </a:pPr>
            <a:endParaRPr lang="de-DE" sz="1400" err="1"/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CAF8C8B2-C3C6-4F3F-A8AA-FF299B2B3680}"/>
              </a:ext>
            </a:extLst>
          </p:cNvPr>
          <p:cNvSpPr/>
          <p:nvPr/>
        </p:nvSpPr>
        <p:spPr bwMode="auto">
          <a:xfrm>
            <a:off x="8741395" y="4651405"/>
            <a:ext cx="2296629" cy="60814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8000" tIns="108000" rIns="108000" bIns="10800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Aft>
                <a:spcPct val="0"/>
              </a:spcAft>
            </a:pPr>
            <a:endParaRPr lang="de-DE" sz="1400" err="1"/>
          </a:p>
        </p:txBody>
      </p:sp>
      <p:sp>
        <p:nvSpPr>
          <p:cNvPr id="42" name="Inhaltsplatzhalter 1">
            <a:extLst>
              <a:ext uri="{FF2B5EF4-FFF2-40B4-BE49-F238E27FC236}">
                <a16:creationId xmlns:a16="http://schemas.microsoft.com/office/drawing/2014/main" id="{3BE24F0A-8FA7-4CE6-805B-2DFA5899C72F}"/>
              </a:ext>
            </a:extLst>
          </p:cNvPr>
          <p:cNvSpPr txBox="1">
            <a:spLocks/>
          </p:cNvSpPr>
          <p:nvPr/>
        </p:nvSpPr>
        <p:spPr bwMode="auto">
          <a:xfrm>
            <a:off x="1123305" y="4366074"/>
            <a:ext cx="1815104" cy="23545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SzPct val="100000"/>
              <a:buFontTx/>
              <a:buNone/>
              <a:defRPr sz="1600" b="1" baseline="0">
                <a:solidFill>
                  <a:schemeClr val="tx2"/>
                </a:solidFill>
                <a:latin typeface="EnBW DIN Pro"/>
                <a:ea typeface="EnBW DIN Pro"/>
                <a:cs typeface="EnBW DIN Pro"/>
                <a:sym typeface="EnBW DIN Pro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SzPct val="140000"/>
              <a:buFont typeface="DIN-Medium" panose="020B0600010101020104" pitchFamily="34" charset="0"/>
              <a:buNone/>
              <a:defRPr sz="1600">
                <a:solidFill>
                  <a:schemeClr val="tx1"/>
                </a:solidFill>
                <a:latin typeface="+mn-lt"/>
                <a:ea typeface="EnBW DIN Pro"/>
              </a:defRPr>
            </a:lvl2pPr>
            <a:lvl3pPr marL="162000" indent="-16200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  <a:defRPr sz="1600">
                <a:solidFill>
                  <a:schemeClr val="tx1"/>
                </a:solidFill>
                <a:latin typeface="+mn-lt"/>
                <a:ea typeface="EnBW DIN Pro"/>
              </a:defRPr>
            </a:lvl3pPr>
            <a:lvl4pPr marL="324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lang="de-DE" sz="1400" dirty="0" smtClean="0">
                <a:solidFill>
                  <a:schemeClr val="tx1"/>
                </a:solidFill>
                <a:latin typeface="+mn-lt"/>
                <a:ea typeface="EnBW DIN Pro"/>
              </a:defRPr>
            </a:lvl4pPr>
            <a:lvl5pPr marL="486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+mn-lt"/>
                <a:ea typeface="EnBW DIN Pro"/>
              </a:defRPr>
            </a:lvl5pPr>
            <a:lvl6pPr marL="648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25257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7pPr>
            <a:lvl8pPr marL="29829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8pPr>
            <a:lvl9pPr marL="34401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 kern="0" dirty="0">
                <a:solidFill>
                  <a:srgbClr val="061671"/>
                </a:solidFill>
              </a:rPr>
              <a:t>Ortsnetzstationen</a:t>
            </a:r>
            <a:endParaRPr lang="de-DE" kern="0" dirty="0">
              <a:solidFill>
                <a:srgbClr val="061671"/>
              </a:solidFill>
              <a:highlight>
                <a:srgbClr val="FFFF00"/>
              </a:highlight>
            </a:endParaRPr>
          </a:p>
        </p:txBody>
      </p:sp>
      <p:sp>
        <p:nvSpPr>
          <p:cNvPr id="43" name="Inhaltsplatzhalter 1">
            <a:extLst>
              <a:ext uri="{FF2B5EF4-FFF2-40B4-BE49-F238E27FC236}">
                <a16:creationId xmlns:a16="http://schemas.microsoft.com/office/drawing/2014/main" id="{E6E0CFD8-CA77-4450-9706-653C53758E76}"/>
              </a:ext>
            </a:extLst>
          </p:cNvPr>
          <p:cNvSpPr txBox="1">
            <a:spLocks/>
          </p:cNvSpPr>
          <p:nvPr/>
        </p:nvSpPr>
        <p:spPr bwMode="auto">
          <a:xfrm>
            <a:off x="1109705" y="2033516"/>
            <a:ext cx="2383507" cy="21451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SzPct val="100000"/>
              <a:buFontTx/>
              <a:buNone/>
              <a:defRPr sz="1600" b="1" baseline="0">
                <a:solidFill>
                  <a:schemeClr val="tx2"/>
                </a:solidFill>
                <a:latin typeface="EnBW DIN Pro"/>
                <a:ea typeface="EnBW DIN Pro"/>
                <a:cs typeface="EnBW DIN Pro"/>
                <a:sym typeface="EnBW DIN Pro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SzPct val="140000"/>
              <a:buFont typeface="DIN-Medium" panose="020B0600010101020104" pitchFamily="34" charset="0"/>
              <a:buNone/>
              <a:defRPr sz="1600">
                <a:solidFill>
                  <a:schemeClr val="tx1"/>
                </a:solidFill>
                <a:latin typeface="+mn-lt"/>
                <a:ea typeface="EnBW DIN Pro"/>
              </a:defRPr>
            </a:lvl2pPr>
            <a:lvl3pPr marL="162000" indent="-16200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  <a:defRPr sz="1600">
                <a:solidFill>
                  <a:schemeClr val="tx1"/>
                </a:solidFill>
                <a:latin typeface="+mn-lt"/>
                <a:ea typeface="EnBW DIN Pro"/>
              </a:defRPr>
            </a:lvl3pPr>
            <a:lvl4pPr marL="324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lang="de-DE" sz="1400" dirty="0" smtClean="0">
                <a:solidFill>
                  <a:schemeClr val="tx1"/>
                </a:solidFill>
                <a:latin typeface="+mn-lt"/>
                <a:ea typeface="EnBW DIN Pro"/>
              </a:defRPr>
            </a:lvl4pPr>
            <a:lvl5pPr marL="486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+mn-lt"/>
                <a:ea typeface="EnBW DIN Pro"/>
              </a:defRPr>
            </a:lvl5pPr>
            <a:lvl6pPr marL="648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25257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7pPr>
            <a:lvl8pPr marL="29829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8pPr>
            <a:lvl9pPr marL="34401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 kern="0" dirty="0">
                <a:solidFill>
                  <a:srgbClr val="061671"/>
                </a:solidFill>
              </a:rPr>
              <a:t>Mittelspannung </a:t>
            </a:r>
            <a:r>
              <a:rPr lang="de-DE" sz="1600" kern="0" dirty="0">
                <a:cs typeface="EnBW DIN Pro Medium" panose="020B0604020101020102" pitchFamily="34" charset="0"/>
              </a:rPr>
              <a:t>206,0</a:t>
            </a:r>
            <a:r>
              <a:rPr lang="de-DE" kern="0" dirty="0">
                <a:solidFill>
                  <a:srgbClr val="061671"/>
                </a:solidFill>
              </a:rPr>
              <a:t> km</a:t>
            </a:r>
          </a:p>
        </p:txBody>
      </p:sp>
      <p:sp>
        <p:nvSpPr>
          <p:cNvPr id="44" name="Inhaltsplatzhalter 1">
            <a:extLst>
              <a:ext uri="{FF2B5EF4-FFF2-40B4-BE49-F238E27FC236}">
                <a16:creationId xmlns:a16="http://schemas.microsoft.com/office/drawing/2014/main" id="{892939E8-6699-4325-BFBC-D7BA92EFB525}"/>
              </a:ext>
            </a:extLst>
          </p:cNvPr>
          <p:cNvSpPr txBox="1">
            <a:spLocks/>
          </p:cNvSpPr>
          <p:nvPr/>
        </p:nvSpPr>
        <p:spPr bwMode="auto">
          <a:xfrm>
            <a:off x="7092110" y="2049230"/>
            <a:ext cx="2432034" cy="41461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SzPct val="100000"/>
              <a:buFontTx/>
              <a:buNone/>
              <a:defRPr sz="1600" b="1" baseline="0">
                <a:solidFill>
                  <a:schemeClr val="tx2"/>
                </a:solidFill>
                <a:latin typeface="EnBW DIN Pro"/>
                <a:ea typeface="EnBW DIN Pro"/>
                <a:cs typeface="EnBW DIN Pro"/>
                <a:sym typeface="EnBW DIN Pro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SzPct val="140000"/>
              <a:buFont typeface="DIN-Medium" panose="020B0600010101020104" pitchFamily="34" charset="0"/>
              <a:buNone/>
              <a:defRPr sz="1600">
                <a:solidFill>
                  <a:schemeClr val="tx1"/>
                </a:solidFill>
                <a:latin typeface="+mn-lt"/>
                <a:ea typeface="EnBW DIN Pro"/>
              </a:defRPr>
            </a:lvl2pPr>
            <a:lvl3pPr marL="162000" indent="-16200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  <a:defRPr sz="1600">
                <a:solidFill>
                  <a:schemeClr val="tx1"/>
                </a:solidFill>
                <a:latin typeface="+mn-lt"/>
                <a:ea typeface="EnBW DIN Pro"/>
              </a:defRPr>
            </a:lvl3pPr>
            <a:lvl4pPr marL="324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lang="de-DE" sz="1400" dirty="0" smtClean="0">
                <a:solidFill>
                  <a:schemeClr val="tx1"/>
                </a:solidFill>
                <a:latin typeface="+mn-lt"/>
                <a:ea typeface="EnBW DIN Pro"/>
              </a:defRPr>
            </a:lvl4pPr>
            <a:lvl5pPr marL="486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+mn-lt"/>
                <a:ea typeface="EnBW DIN Pro"/>
              </a:defRPr>
            </a:lvl5pPr>
            <a:lvl6pPr marL="648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25257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7pPr>
            <a:lvl8pPr marL="29829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8pPr>
            <a:lvl9pPr marL="34401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 kern="0" dirty="0">
                <a:solidFill>
                  <a:srgbClr val="061671"/>
                </a:solidFill>
              </a:rPr>
              <a:t>Niederspannung </a:t>
            </a:r>
            <a:r>
              <a:rPr lang="de-DE" sz="1600" kern="0" dirty="0">
                <a:cs typeface="EnBW DIN Pro Medium" panose="020B0604020101020102" pitchFamily="34" charset="0"/>
              </a:rPr>
              <a:t>397,4</a:t>
            </a:r>
            <a:r>
              <a:rPr lang="de-DE" kern="0" dirty="0">
                <a:solidFill>
                  <a:srgbClr val="061671"/>
                </a:solidFill>
              </a:rPr>
              <a:t> km</a:t>
            </a:r>
          </a:p>
        </p:txBody>
      </p:sp>
      <p:sp>
        <p:nvSpPr>
          <p:cNvPr id="24" name="Titel 1">
            <a:extLst>
              <a:ext uri="{FF2B5EF4-FFF2-40B4-BE49-F238E27FC236}">
                <a16:creationId xmlns:a16="http://schemas.microsoft.com/office/drawing/2014/main" id="{D2544339-3535-4560-B31F-01E5B544B324}"/>
              </a:ext>
            </a:extLst>
          </p:cNvPr>
          <p:cNvSpPr txBox="1">
            <a:spLocks/>
          </p:cNvSpPr>
          <p:nvPr/>
        </p:nvSpPr>
        <p:spPr bwMode="auto">
          <a:xfrm>
            <a:off x="469781" y="541010"/>
            <a:ext cx="9443165" cy="615553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650" baseline="0">
                <a:solidFill>
                  <a:schemeClr val="accent6"/>
                </a:solidFill>
                <a:latin typeface="+mn-lt"/>
                <a:ea typeface="EnBW DIN Pro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5pPr>
            <a:lvl6pPr marL="342809"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6pPr>
            <a:lvl7pPr marL="685617"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7pPr>
            <a:lvl8pPr marL="1028426"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8pPr>
            <a:lvl9pPr marL="1371234"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9pPr>
          </a:lstStyle>
          <a:p>
            <a:r>
              <a:rPr lang="de-DE" sz="2200" kern="0" dirty="0">
                <a:cs typeface="EnBW DIN Pro Medium" panose="020B0604020101020102" pitchFamily="34" charset="0"/>
              </a:rPr>
              <a:t>Ihr Stromnetz in Bad Wurzach – Gesamtlänge 603,4m </a:t>
            </a:r>
          </a:p>
          <a:p>
            <a:r>
              <a:rPr lang="de-DE" sz="1800" dirty="0">
                <a:solidFill>
                  <a:schemeClr val="tx2"/>
                </a:solidFill>
              </a:rPr>
              <a:t>Kennzahlen und Entwicklung</a:t>
            </a: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0B481217-CAE6-495C-A478-FE43EAFAC306}"/>
              </a:ext>
            </a:extLst>
          </p:cNvPr>
          <p:cNvGrpSpPr/>
          <p:nvPr/>
        </p:nvGrpSpPr>
        <p:grpSpPr>
          <a:xfrm>
            <a:off x="561108" y="1845349"/>
            <a:ext cx="618491" cy="697731"/>
            <a:chOff x="561108" y="1845349"/>
            <a:chExt cx="618491" cy="697731"/>
          </a:xfrm>
        </p:grpSpPr>
        <p:sp>
          <p:nvSpPr>
            <p:cNvPr id="5" name="Rechteck 4">
              <a:extLst>
                <a:ext uri="{FF2B5EF4-FFF2-40B4-BE49-F238E27FC236}">
                  <a16:creationId xmlns:a16="http://schemas.microsoft.com/office/drawing/2014/main" id="{B6404B3B-65E2-42CC-AAA5-D0A80506A90C}"/>
                </a:ext>
              </a:extLst>
            </p:cNvPr>
            <p:cNvSpPr/>
            <p:nvPr/>
          </p:nvSpPr>
          <p:spPr bwMode="auto">
            <a:xfrm>
              <a:off x="580380" y="1927527"/>
              <a:ext cx="542925" cy="615553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08000" tIns="108000" rIns="108000" bIns="108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endParaRPr>
            </a:p>
          </p:txBody>
        </p:sp>
        <p:pic>
          <p:nvPicPr>
            <p:cNvPr id="23" name="Grafik 22" descr="Ein Bild, das Schild enthält.&#10;&#10;Automatisch generierte Beschreibung">
              <a:extLst>
                <a:ext uri="{FF2B5EF4-FFF2-40B4-BE49-F238E27FC236}">
                  <a16:creationId xmlns:a16="http://schemas.microsoft.com/office/drawing/2014/main" id="{766325CB-E5BF-4D50-B362-267022E9474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61108" y="1845349"/>
              <a:ext cx="618491" cy="618491"/>
            </a:xfrm>
            <a:prstGeom prst="rect">
              <a:avLst/>
            </a:prstGeom>
          </p:spPr>
        </p:pic>
      </p:grp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31E7083F-9077-428A-BDAD-7768901B6BF6}"/>
              </a:ext>
            </a:extLst>
          </p:cNvPr>
          <p:cNvGrpSpPr/>
          <p:nvPr/>
        </p:nvGrpSpPr>
        <p:grpSpPr>
          <a:xfrm>
            <a:off x="6539388" y="1845349"/>
            <a:ext cx="618491" cy="697731"/>
            <a:chOff x="561108" y="1845349"/>
            <a:chExt cx="618491" cy="697731"/>
          </a:xfrm>
        </p:grpSpPr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EF3CCB06-99D7-40C2-96DF-D9C107DFB12F}"/>
                </a:ext>
              </a:extLst>
            </p:cNvPr>
            <p:cNvSpPr/>
            <p:nvPr/>
          </p:nvSpPr>
          <p:spPr bwMode="auto">
            <a:xfrm>
              <a:off x="580380" y="1927527"/>
              <a:ext cx="542925" cy="615553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08000" tIns="108000" rIns="108000" bIns="108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endParaRPr>
            </a:p>
          </p:txBody>
        </p:sp>
        <p:pic>
          <p:nvPicPr>
            <p:cNvPr id="30" name="Grafik 29" descr="Ein Bild, das Schild enthält.&#10;&#10;Automatisch generierte Beschreibung">
              <a:extLst>
                <a:ext uri="{FF2B5EF4-FFF2-40B4-BE49-F238E27FC236}">
                  <a16:creationId xmlns:a16="http://schemas.microsoft.com/office/drawing/2014/main" id="{FA4EE9D5-9E96-4FB2-A4D7-744DDAF6BD8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61108" y="1845349"/>
              <a:ext cx="618491" cy="618491"/>
            </a:xfrm>
            <a:prstGeom prst="rect">
              <a:avLst/>
            </a:prstGeom>
          </p:spPr>
        </p:pic>
      </p:grpSp>
      <p:sp>
        <p:nvSpPr>
          <p:cNvPr id="18" name="Rechteck 17">
            <a:extLst>
              <a:ext uri="{FF2B5EF4-FFF2-40B4-BE49-F238E27FC236}">
                <a16:creationId xmlns:a16="http://schemas.microsoft.com/office/drawing/2014/main" id="{6052C9E6-6555-4097-AAA4-8E7C6A650853}"/>
              </a:ext>
            </a:extLst>
          </p:cNvPr>
          <p:cNvSpPr/>
          <p:nvPr/>
        </p:nvSpPr>
        <p:spPr bwMode="auto">
          <a:xfrm>
            <a:off x="6580520" y="4230249"/>
            <a:ext cx="459742" cy="58296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8000" tIns="108000" rIns="108000" bIns="10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pic>
        <p:nvPicPr>
          <p:cNvPr id="17" name="Grafik 16" descr="Ein Bild, das Schild, Zeichnung enthält.&#10;&#10;Automatisch generierte Beschreibung">
            <a:extLst>
              <a:ext uri="{FF2B5EF4-FFF2-40B4-BE49-F238E27FC236}">
                <a16:creationId xmlns:a16="http://schemas.microsoft.com/office/drawing/2014/main" id="{8832842C-0E27-4F37-8C68-54E6F6A11C8D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26909" y="4254374"/>
            <a:ext cx="616571" cy="616571"/>
          </a:xfrm>
          <a:prstGeom prst="rect">
            <a:avLst/>
          </a:prstGeom>
        </p:spPr>
      </p:pic>
      <p:graphicFrame>
        <p:nvGraphicFramePr>
          <p:cNvPr id="36" name="Tabelle 7">
            <a:extLst>
              <a:ext uri="{FF2B5EF4-FFF2-40B4-BE49-F238E27FC236}">
                <a16:creationId xmlns:a16="http://schemas.microsoft.com/office/drawing/2014/main" id="{61AF0325-185F-407D-91BF-CC47F4ADE75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60562710"/>
              </p:ext>
            </p:extLst>
          </p:nvPr>
        </p:nvGraphicFramePr>
        <p:xfrm>
          <a:off x="6762206" y="2484389"/>
          <a:ext cx="4633644" cy="14136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44548">
                  <a:extLst>
                    <a:ext uri="{9D8B030D-6E8A-4147-A177-3AD203B41FA5}">
                      <a16:colId xmlns:a16="http://schemas.microsoft.com/office/drawing/2014/main" val="3645150872"/>
                    </a:ext>
                  </a:extLst>
                </a:gridCol>
                <a:gridCol w="1544548">
                  <a:extLst>
                    <a:ext uri="{9D8B030D-6E8A-4147-A177-3AD203B41FA5}">
                      <a16:colId xmlns:a16="http://schemas.microsoft.com/office/drawing/2014/main" val="3657734173"/>
                    </a:ext>
                  </a:extLst>
                </a:gridCol>
                <a:gridCol w="1544548">
                  <a:extLst>
                    <a:ext uri="{9D8B030D-6E8A-4147-A177-3AD203B41FA5}">
                      <a16:colId xmlns:a16="http://schemas.microsoft.com/office/drawing/2014/main" val="896984787"/>
                    </a:ext>
                  </a:extLst>
                </a:gridCol>
              </a:tblGrid>
              <a:tr h="353414">
                <a:tc>
                  <a:txBody>
                    <a:bodyPr/>
                    <a:lstStyle/>
                    <a:p>
                      <a:endParaRPr lang="de-DE" sz="1400">
                        <a:latin typeface="EnBW DIN Pro" panose="020B0504020101020102" pitchFamily="34" charset="0"/>
                        <a:cs typeface="EnBW DIN Pro" panose="020B0504020101020102" pitchFamily="34" charset="0"/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>
                          <a:latin typeface="EnBW DIN Pro" panose="020B0504020101020102" pitchFamily="34" charset="0"/>
                          <a:cs typeface="EnBW DIN Pro" panose="020B0504020101020102" pitchFamily="34" charset="0"/>
                        </a:rPr>
                        <a:t>2018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>
                          <a:latin typeface="EnBW DIN Pro" panose="020B0504020101020102" pitchFamily="34" charset="0"/>
                          <a:cs typeface="EnBW DIN Pro" panose="020B0504020101020102" pitchFamily="34" charset="0"/>
                        </a:rPr>
                        <a:t>2020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88473164"/>
                  </a:ext>
                </a:extLst>
              </a:tr>
              <a:tr h="353414">
                <a:tc>
                  <a:txBody>
                    <a:bodyPr/>
                    <a:lstStyle/>
                    <a:p>
                      <a:r>
                        <a:rPr lang="de-DE" sz="1400">
                          <a:latin typeface="EnBW DIN Pro" panose="020B0504020101020102" pitchFamily="34" charset="0"/>
                          <a:cs typeface="EnBW DIN Pro" panose="020B0504020101020102" pitchFamily="34" charset="0"/>
                        </a:rPr>
                        <a:t>Freileit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kern="0">
                          <a:cs typeface="EnBW DIN Pro Medium" panose="020B0604020101020102" pitchFamily="34" charset="0"/>
                        </a:rPr>
                        <a:t>66,6</a:t>
                      </a:r>
                      <a:r>
                        <a:rPr lang="de-DE" sz="1400">
                          <a:solidFill>
                            <a:schemeClr val="tx1"/>
                          </a:solidFill>
                          <a:latin typeface="EnBW DIN Pro" panose="020B0504020101020102" pitchFamily="34" charset="0"/>
                          <a:cs typeface="EnBW DIN Pro" panose="020B0504020101020102" pitchFamily="34" charset="0"/>
                        </a:rPr>
                        <a:t> km</a:t>
                      </a:r>
                      <a:endParaRPr lang="de-DE" sz="1400" dirty="0">
                        <a:solidFill>
                          <a:schemeClr val="tx1"/>
                        </a:solidFill>
                        <a:latin typeface="EnBW DIN Pro" panose="020B0504020101020102" pitchFamily="34" charset="0"/>
                        <a:cs typeface="EnBW DIN Pro" panose="020B0504020101020102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kern="0">
                          <a:cs typeface="EnBW DIN Pro Medium" panose="020B0604020101020102" pitchFamily="34" charset="0"/>
                        </a:rPr>
                        <a:t>62,8</a:t>
                      </a:r>
                      <a:r>
                        <a:rPr lang="de-DE" sz="1400">
                          <a:solidFill>
                            <a:schemeClr val="tx1"/>
                          </a:solidFill>
                          <a:latin typeface="EnBW DIN Pro" panose="020B0504020101020102" pitchFamily="34" charset="0"/>
                          <a:cs typeface="EnBW DIN Pro" panose="020B0504020101020102" pitchFamily="34" charset="0"/>
                        </a:rPr>
                        <a:t> km</a:t>
                      </a:r>
                      <a:endParaRPr lang="de-DE" sz="1400" dirty="0">
                        <a:solidFill>
                          <a:schemeClr val="tx1"/>
                        </a:solidFill>
                        <a:latin typeface="EnBW DIN Pro" panose="020B0504020101020102" pitchFamily="34" charset="0"/>
                        <a:cs typeface="EnBW DIN Pro" panose="020B0504020101020102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515529352"/>
                  </a:ext>
                </a:extLst>
              </a:tr>
              <a:tr h="353414">
                <a:tc>
                  <a:txBody>
                    <a:bodyPr/>
                    <a:lstStyle/>
                    <a:p>
                      <a:r>
                        <a:rPr lang="de-DE" sz="1400">
                          <a:latin typeface="EnBW DIN Pro" panose="020B0504020101020102" pitchFamily="34" charset="0"/>
                          <a:cs typeface="EnBW DIN Pro" panose="020B0504020101020102" pitchFamily="34" charset="0"/>
                        </a:rPr>
                        <a:t>Kabe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kern="0">
                          <a:cs typeface="EnBW DIN Pro Medium" panose="020B0604020101020102" pitchFamily="34" charset="0"/>
                        </a:rPr>
                        <a:t>326,1</a:t>
                      </a:r>
                      <a:r>
                        <a:rPr lang="de-DE" sz="1400">
                          <a:solidFill>
                            <a:schemeClr val="tx1"/>
                          </a:solidFill>
                          <a:latin typeface="EnBW DIN Pro" panose="020B0504020101020102" pitchFamily="34" charset="0"/>
                          <a:cs typeface="EnBW DIN Pro" panose="020B0504020101020102" pitchFamily="34" charset="0"/>
                        </a:rPr>
                        <a:t> km</a:t>
                      </a:r>
                      <a:endParaRPr lang="de-DE" sz="1400" dirty="0">
                        <a:solidFill>
                          <a:schemeClr val="tx1"/>
                        </a:solidFill>
                        <a:latin typeface="EnBW DIN Pro" panose="020B0504020101020102" pitchFamily="34" charset="0"/>
                        <a:cs typeface="EnBW DIN Pro" panose="020B0504020101020102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kern="0">
                          <a:cs typeface="EnBW DIN Pro Medium" panose="020B0604020101020102" pitchFamily="34" charset="0"/>
                        </a:rPr>
                        <a:t>334,6</a:t>
                      </a:r>
                      <a:r>
                        <a:rPr lang="de-DE" sz="1400">
                          <a:solidFill>
                            <a:schemeClr val="tx1"/>
                          </a:solidFill>
                          <a:latin typeface="EnBW DIN Pro" panose="020B0504020101020102" pitchFamily="34" charset="0"/>
                          <a:cs typeface="EnBW DIN Pro" panose="020B0504020101020102" pitchFamily="34" charset="0"/>
                        </a:rPr>
                        <a:t> km</a:t>
                      </a:r>
                      <a:endParaRPr lang="de-DE" sz="1400" dirty="0">
                        <a:solidFill>
                          <a:schemeClr val="tx1"/>
                        </a:solidFill>
                        <a:latin typeface="EnBW DIN Pro" panose="020B0504020101020102" pitchFamily="34" charset="0"/>
                        <a:cs typeface="EnBW DIN Pro" panose="020B0504020101020102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7302075"/>
                  </a:ext>
                </a:extLst>
              </a:tr>
              <a:tr h="353414">
                <a:tc>
                  <a:txBody>
                    <a:bodyPr/>
                    <a:lstStyle/>
                    <a:p>
                      <a:r>
                        <a:rPr lang="de-DE" sz="1400">
                          <a:latin typeface="EnBW DIN Pro" panose="020B0504020101020102" pitchFamily="34" charset="0"/>
                          <a:cs typeface="EnBW DIN Pro" panose="020B0504020101020102" pitchFamily="34" charset="0"/>
                        </a:rPr>
                        <a:t>Anteil Kabe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kern="0">
                          <a:cs typeface="EnBW DIN Pro Medium" panose="020B0604020101020102" pitchFamily="34" charset="0"/>
                        </a:rPr>
                        <a:t>83,0</a:t>
                      </a:r>
                      <a:r>
                        <a:rPr lang="de-DE" sz="1400">
                          <a:latin typeface="EnBW DIN Pro" panose="020B0504020101020102" pitchFamily="34" charset="0"/>
                          <a:cs typeface="EnBW DIN Pro" panose="020B0504020101020102" pitchFamily="34" charset="0"/>
                        </a:rPr>
                        <a:t> %</a:t>
                      </a:r>
                      <a:endParaRPr lang="de-DE" sz="1400" dirty="0">
                        <a:latin typeface="EnBW DIN Pro" panose="020B0504020101020102" pitchFamily="34" charset="0"/>
                        <a:cs typeface="EnBW DIN Pro" panose="020B0504020101020102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kern="0">
                          <a:cs typeface="EnBW DIN Pro Medium" panose="020B0604020101020102" pitchFamily="34" charset="0"/>
                        </a:rPr>
                        <a:t>84,2</a:t>
                      </a:r>
                      <a:r>
                        <a:rPr lang="de-DE" sz="1400">
                          <a:latin typeface="EnBW DIN Pro" panose="020B0504020101020102" pitchFamily="34" charset="0"/>
                          <a:cs typeface="EnBW DIN Pro" panose="020B0504020101020102" pitchFamily="34" charset="0"/>
                        </a:rPr>
                        <a:t> %</a:t>
                      </a:r>
                      <a:endParaRPr lang="de-DE" sz="1400" dirty="0">
                        <a:latin typeface="EnBW DIN Pro" panose="020B0504020101020102" pitchFamily="34" charset="0"/>
                        <a:cs typeface="EnBW DIN Pro" panose="020B0504020101020102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88151409"/>
                  </a:ext>
                </a:extLst>
              </a:tr>
            </a:tbl>
          </a:graphicData>
        </a:graphic>
      </p:graphicFrame>
      <p:graphicFrame>
        <p:nvGraphicFramePr>
          <p:cNvPr id="39" name="Tabelle 7">
            <a:extLst>
              <a:ext uri="{FF2B5EF4-FFF2-40B4-BE49-F238E27FC236}">
                <a16:creationId xmlns:a16="http://schemas.microsoft.com/office/drawing/2014/main" id="{75F37DDE-E445-4713-A699-7FA3DC07360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20174217"/>
              </p:ext>
            </p:extLst>
          </p:nvPr>
        </p:nvGraphicFramePr>
        <p:xfrm>
          <a:off x="801482" y="2480250"/>
          <a:ext cx="4633644" cy="14136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44548">
                  <a:extLst>
                    <a:ext uri="{9D8B030D-6E8A-4147-A177-3AD203B41FA5}">
                      <a16:colId xmlns:a16="http://schemas.microsoft.com/office/drawing/2014/main" val="3645150872"/>
                    </a:ext>
                  </a:extLst>
                </a:gridCol>
                <a:gridCol w="1544548">
                  <a:extLst>
                    <a:ext uri="{9D8B030D-6E8A-4147-A177-3AD203B41FA5}">
                      <a16:colId xmlns:a16="http://schemas.microsoft.com/office/drawing/2014/main" val="3657734173"/>
                    </a:ext>
                  </a:extLst>
                </a:gridCol>
                <a:gridCol w="1544548">
                  <a:extLst>
                    <a:ext uri="{9D8B030D-6E8A-4147-A177-3AD203B41FA5}">
                      <a16:colId xmlns:a16="http://schemas.microsoft.com/office/drawing/2014/main" val="896984787"/>
                    </a:ext>
                  </a:extLst>
                </a:gridCol>
              </a:tblGrid>
              <a:tr h="353414">
                <a:tc>
                  <a:txBody>
                    <a:bodyPr/>
                    <a:lstStyle/>
                    <a:p>
                      <a:endParaRPr lang="de-DE" sz="1400">
                        <a:latin typeface="EnBW DIN Pro" panose="020B0504020101020102" pitchFamily="34" charset="0"/>
                        <a:cs typeface="EnBW DIN Pro" panose="020B0504020101020102" pitchFamily="34" charset="0"/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>
                          <a:latin typeface="EnBW DIN Pro" panose="020B0504020101020102" pitchFamily="34" charset="0"/>
                          <a:cs typeface="EnBW DIN Pro" panose="020B0504020101020102" pitchFamily="34" charset="0"/>
                        </a:rPr>
                        <a:t>2018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>
                          <a:latin typeface="EnBW DIN Pro" panose="020B0504020101020102" pitchFamily="34" charset="0"/>
                          <a:cs typeface="EnBW DIN Pro" panose="020B0504020101020102" pitchFamily="34" charset="0"/>
                        </a:rPr>
                        <a:t>2020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88473164"/>
                  </a:ext>
                </a:extLst>
              </a:tr>
              <a:tr h="353414">
                <a:tc>
                  <a:txBody>
                    <a:bodyPr/>
                    <a:lstStyle/>
                    <a:p>
                      <a:r>
                        <a:rPr lang="de-DE" sz="1400">
                          <a:latin typeface="EnBW DIN Pro" panose="020B0504020101020102" pitchFamily="34" charset="0"/>
                          <a:cs typeface="EnBW DIN Pro" panose="020B0504020101020102" pitchFamily="34" charset="0"/>
                        </a:rPr>
                        <a:t>Freileit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kern="0">
                          <a:cs typeface="EnBW DIN Pro Medium" panose="020B0604020101020102" pitchFamily="34" charset="0"/>
                        </a:rPr>
                        <a:t>117,8</a:t>
                      </a:r>
                      <a:r>
                        <a:rPr lang="de-DE" sz="1400" kern="1200">
                          <a:solidFill>
                            <a:schemeClr val="tx1"/>
                          </a:solidFill>
                          <a:latin typeface="EnBW DIN Pro" panose="020B0504020101020102" pitchFamily="34" charset="0"/>
                          <a:ea typeface="+mn-ea"/>
                          <a:cs typeface="EnBW DIN Pro" panose="020B0504020101020102" pitchFamily="34" charset="0"/>
                        </a:rPr>
                        <a:t> km</a:t>
                      </a:r>
                      <a:endParaRPr lang="de-DE" sz="1400" kern="1200" dirty="0">
                        <a:solidFill>
                          <a:schemeClr val="tx1"/>
                        </a:solidFill>
                        <a:latin typeface="EnBW DIN Pro" panose="020B0504020101020102" pitchFamily="34" charset="0"/>
                        <a:ea typeface="+mn-ea"/>
                        <a:cs typeface="EnBW DIN Pro" panose="020B0504020101020102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kern="0">
                          <a:cs typeface="EnBW DIN Pro Medium" panose="020B0604020101020102" pitchFamily="34" charset="0"/>
                        </a:rPr>
                        <a:t>116,3</a:t>
                      </a:r>
                      <a:r>
                        <a:rPr lang="de-DE" sz="1400" kern="1200">
                          <a:solidFill>
                            <a:schemeClr val="tx1"/>
                          </a:solidFill>
                          <a:latin typeface="EnBW DIN Pro" panose="020B0504020101020102" pitchFamily="34" charset="0"/>
                          <a:ea typeface="+mn-ea"/>
                          <a:cs typeface="EnBW DIN Pro" panose="020B0504020101020102" pitchFamily="34" charset="0"/>
                        </a:rPr>
                        <a:t> km</a:t>
                      </a:r>
                      <a:endParaRPr lang="de-DE" sz="1400" kern="1200" dirty="0">
                        <a:solidFill>
                          <a:schemeClr val="tx1"/>
                        </a:solidFill>
                        <a:latin typeface="EnBW DIN Pro" panose="020B0504020101020102" pitchFamily="34" charset="0"/>
                        <a:ea typeface="+mn-ea"/>
                        <a:cs typeface="EnBW DIN Pro" panose="020B0504020101020102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515529352"/>
                  </a:ext>
                </a:extLst>
              </a:tr>
              <a:tr h="353414">
                <a:tc>
                  <a:txBody>
                    <a:bodyPr/>
                    <a:lstStyle/>
                    <a:p>
                      <a:r>
                        <a:rPr lang="de-DE" sz="1400">
                          <a:latin typeface="EnBW DIN Pro" panose="020B0504020101020102" pitchFamily="34" charset="0"/>
                          <a:cs typeface="EnBW DIN Pro" panose="020B0504020101020102" pitchFamily="34" charset="0"/>
                        </a:rPr>
                        <a:t>Kabe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kern="0">
                          <a:solidFill>
                            <a:schemeClr val="tx1"/>
                          </a:solidFill>
                          <a:latin typeface="EnBW DIN Pro" panose="020B0504020101020102" pitchFamily="34" charset="0"/>
                          <a:ea typeface="+mn-ea"/>
                          <a:cs typeface="EnBW DIN Pro Medium" panose="020B0604020101020102" pitchFamily="34" charset="0"/>
                        </a:rPr>
                        <a:t>88,1</a:t>
                      </a:r>
                      <a:r>
                        <a:rPr lang="de-DE" sz="1400" kern="1200">
                          <a:solidFill>
                            <a:schemeClr val="tx1"/>
                          </a:solidFill>
                          <a:latin typeface="EnBW DIN Pro" panose="020B0504020101020102" pitchFamily="34" charset="0"/>
                          <a:ea typeface="+mn-ea"/>
                          <a:cs typeface="EnBW DIN Pro" panose="020B0504020101020102" pitchFamily="34" charset="0"/>
                        </a:rPr>
                        <a:t> km</a:t>
                      </a:r>
                      <a:endParaRPr lang="de-DE" sz="1400" kern="1200" dirty="0">
                        <a:solidFill>
                          <a:schemeClr val="tx1"/>
                        </a:solidFill>
                        <a:latin typeface="EnBW DIN Pro" panose="020B0504020101020102" pitchFamily="34" charset="0"/>
                        <a:ea typeface="+mn-ea"/>
                        <a:cs typeface="EnBW DIN Pro" panose="020B0504020101020102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kern="0">
                          <a:cs typeface="EnBW DIN Pro Medium" panose="020B0604020101020102" pitchFamily="34" charset="0"/>
                        </a:rPr>
                        <a:t>89,7</a:t>
                      </a:r>
                      <a:r>
                        <a:rPr lang="de-DE" sz="1400" kern="1200">
                          <a:solidFill>
                            <a:schemeClr val="tx1"/>
                          </a:solidFill>
                          <a:latin typeface="EnBW DIN Pro" panose="020B0504020101020102" pitchFamily="34" charset="0"/>
                          <a:ea typeface="+mn-ea"/>
                          <a:cs typeface="EnBW DIN Pro" panose="020B0504020101020102" pitchFamily="34" charset="0"/>
                        </a:rPr>
                        <a:t> km</a:t>
                      </a:r>
                      <a:endParaRPr lang="de-DE" sz="1400" kern="1200" dirty="0">
                        <a:solidFill>
                          <a:schemeClr val="tx1"/>
                        </a:solidFill>
                        <a:latin typeface="EnBW DIN Pro" panose="020B0504020101020102" pitchFamily="34" charset="0"/>
                        <a:ea typeface="+mn-ea"/>
                        <a:cs typeface="EnBW DIN Pro" panose="020B0504020101020102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7302075"/>
                  </a:ext>
                </a:extLst>
              </a:tr>
              <a:tr h="353414">
                <a:tc>
                  <a:txBody>
                    <a:bodyPr/>
                    <a:lstStyle/>
                    <a:p>
                      <a:r>
                        <a:rPr lang="de-DE" sz="1400">
                          <a:latin typeface="EnBW DIN Pro" panose="020B0504020101020102" pitchFamily="34" charset="0"/>
                          <a:cs typeface="EnBW DIN Pro" panose="020B0504020101020102" pitchFamily="34" charset="0"/>
                        </a:rPr>
                        <a:t>Anteil Kabe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kern="0">
                          <a:cs typeface="EnBW DIN Pro Medium" panose="020B0604020101020102" pitchFamily="34" charset="0"/>
                        </a:rPr>
                        <a:t>42,8</a:t>
                      </a:r>
                      <a:r>
                        <a:rPr lang="de-DE" sz="1400">
                          <a:latin typeface="EnBW DIN Pro" panose="020B0504020101020102" pitchFamily="34" charset="0"/>
                          <a:cs typeface="EnBW DIN Pro" panose="020B0504020101020102" pitchFamily="34" charset="0"/>
                        </a:rPr>
                        <a:t> %</a:t>
                      </a:r>
                      <a:endParaRPr lang="de-DE" sz="1400" dirty="0">
                        <a:latin typeface="EnBW DIN Pro" panose="020B0504020101020102" pitchFamily="34" charset="0"/>
                        <a:cs typeface="EnBW DIN Pro" panose="020B0504020101020102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kern="0">
                          <a:cs typeface="EnBW DIN Pro Medium" panose="020B0604020101020102" pitchFamily="34" charset="0"/>
                        </a:rPr>
                        <a:t>43,5</a:t>
                      </a:r>
                      <a:r>
                        <a:rPr lang="de-DE" sz="1400">
                          <a:latin typeface="EnBW DIN Pro" panose="020B0504020101020102" pitchFamily="34" charset="0"/>
                          <a:cs typeface="EnBW DIN Pro" panose="020B0504020101020102" pitchFamily="34" charset="0"/>
                        </a:rPr>
                        <a:t> %</a:t>
                      </a:r>
                      <a:endParaRPr lang="de-DE" sz="1400" dirty="0">
                        <a:latin typeface="EnBW DIN Pro" panose="020B0504020101020102" pitchFamily="34" charset="0"/>
                        <a:cs typeface="EnBW DIN Pro" panose="020B0504020101020102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88151409"/>
                  </a:ext>
                </a:extLst>
              </a:tr>
            </a:tbl>
          </a:graphicData>
        </a:graphic>
      </p:graphicFrame>
      <p:sp>
        <p:nvSpPr>
          <p:cNvPr id="40" name="Inhaltsplatzhalter 1">
            <a:extLst>
              <a:ext uri="{FF2B5EF4-FFF2-40B4-BE49-F238E27FC236}">
                <a16:creationId xmlns:a16="http://schemas.microsoft.com/office/drawing/2014/main" id="{6A3B9D75-2A60-4425-915F-83E8BD19801D}"/>
              </a:ext>
            </a:extLst>
          </p:cNvPr>
          <p:cNvSpPr txBox="1">
            <a:spLocks/>
          </p:cNvSpPr>
          <p:nvPr/>
        </p:nvSpPr>
        <p:spPr bwMode="auto">
          <a:xfrm>
            <a:off x="7157879" y="4411639"/>
            <a:ext cx="1964790" cy="23976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SzPct val="100000"/>
              <a:buFontTx/>
              <a:buNone/>
              <a:defRPr sz="1600" b="1" baseline="0">
                <a:solidFill>
                  <a:schemeClr val="tx2"/>
                </a:solidFill>
                <a:latin typeface="EnBW DIN Pro"/>
                <a:ea typeface="EnBW DIN Pro"/>
                <a:cs typeface="EnBW DIN Pro"/>
                <a:sym typeface="EnBW DIN Pro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SzPct val="140000"/>
              <a:buFont typeface="DIN-Medium" panose="020B0600010101020104" pitchFamily="34" charset="0"/>
              <a:buNone/>
              <a:defRPr sz="1600">
                <a:solidFill>
                  <a:schemeClr val="tx1"/>
                </a:solidFill>
                <a:latin typeface="+mn-lt"/>
                <a:ea typeface="EnBW DIN Pro"/>
              </a:defRPr>
            </a:lvl2pPr>
            <a:lvl3pPr marL="162000" indent="-16200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  <a:defRPr sz="1600">
                <a:solidFill>
                  <a:schemeClr val="tx1"/>
                </a:solidFill>
                <a:latin typeface="+mn-lt"/>
                <a:ea typeface="EnBW DIN Pro"/>
              </a:defRPr>
            </a:lvl3pPr>
            <a:lvl4pPr marL="324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lang="de-DE" sz="1400" dirty="0" smtClean="0">
                <a:solidFill>
                  <a:schemeClr val="tx1"/>
                </a:solidFill>
                <a:latin typeface="+mn-lt"/>
                <a:ea typeface="EnBW DIN Pro"/>
              </a:defRPr>
            </a:lvl4pPr>
            <a:lvl5pPr marL="486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+mn-lt"/>
                <a:ea typeface="EnBW DIN Pro"/>
              </a:defRPr>
            </a:lvl5pPr>
            <a:lvl6pPr marL="648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25257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7pPr>
            <a:lvl8pPr marL="29829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8pPr>
            <a:lvl9pPr marL="34401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 kern="0" dirty="0">
                <a:solidFill>
                  <a:srgbClr val="061671"/>
                </a:solidFill>
              </a:rPr>
              <a:t>Hausanschlüsse + </a:t>
            </a:r>
            <a:r>
              <a:rPr lang="de-DE" kern="0" dirty="0">
                <a:solidFill>
                  <a:srgbClr val="061671"/>
                </a:solidFill>
                <a:cs typeface="EnBW DIN Pro Medium" panose="020B0604020101020102" pitchFamily="34" charset="0"/>
              </a:rPr>
              <a:t>84</a:t>
            </a:r>
            <a:endParaRPr lang="de-DE" kern="0" dirty="0">
              <a:solidFill>
                <a:srgbClr val="061671"/>
              </a:solidFill>
            </a:endParaRPr>
          </a:p>
        </p:txBody>
      </p:sp>
      <p:graphicFrame>
        <p:nvGraphicFramePr>
          <p:cNvPr id="41" name="Tabelle 7">
            <a:extLst>
              <a:ext uri="{FF2B5EF4-FFF2-40B4-BE49-F238E27FC236}">
                <a16:creationId xmlns:a16="http://schemas.microsoft.com/office/drawing/2014/main" id="{BA0FA46D-D23F-4B79-AD09-8261BE21CF0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58412800"/>
              </p:ext>
            </p:extLst>
          </p:nvPr>
        </p:nvGraphicFramePr>
        <p:xfrm>
          <a:off x="6762206" y="4833757"/>
          <a:ext cx="4633644" cy="106024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44548">
                  <a:extLst>
                    <a:ext uri="{9D8B030D-6E8A-4147-A177-3AD203B41FA5}">
                      <a16:colId xmlns:a16="http://schemas.microsoft.com/office/drawing/2014/main" val="3645150872"/>
                    </a:ext>
                  </a:extLst>
                </a:gridCol>
                <a:gridCol w="1544548">
                  <a:extLst>
                    <a:ext uri="{9D8B030D-6E8A-4147-A177-3AD203B41FA5}">
                      <a16:colId xmlns:a16="http://schemas.microsoft.com/office/drawing/2014/main" val="3657734173"/>
                    </a:ext>
                  </a:extLst>
                </a:gridCol>
                <a:gridCol w="1544548">
                  <a:extLst>
                    <a:ext uri="{9D8B030D-6E8A-4147-A177-3AD203B41FA5}">
                      <a16:colId xmlns:a16="http://schemas.microsoft.com/office/drawing/2014/main" val="896984787"/>
                    </a:ext>
                  </a:extLst>
                </a:gridCol>
              </a:tblGrid>
              <a:tr h="353414">
                <a:tc>
                  <a:txBody>
                    <a:bodyPr/>
                    <a:lstStyle/>
                    <a:p>
                      <a:endParaRPr lang="de-DE" sz="1400">
                        <a:latin typeface="EnBW DIN Pro" panose="020B0504020101020102" pitchFamily="34" charset="0"/>
                        <a:cs typeface="EnBW DIN Pro" panose="020B0504020101020102" pitchFamily="34" charset="0"/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>
                          <a:latin typeface="EnBW DIN Pro" panose="020B0504020101020102" pitchFamily="34" charset="0"/>
                          <a:cs typeface="EnBW DIN Pro" panose="020B0504020101020102" pitchFamily="34" charset="0"/>
                        </a:rPr>
                        <a:t>2018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>
                          <a:latin typeface="EnBW DIN Pro" panose="020B0504020101020102" pitchFamily="34" charset="0"/>
                          <a:cs typeface="EnBW DIN Pro" panose="020B0504020101020102" pitchFamily="34" charset="0"/>
                        </a:rPr>
                        <a:t>2020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88473164"/>
                  </a:ext>
                </a:extLst>
              </a:tr>
              <a:tr h="353414">
                <a:tc>
                  <a:txBody>
                    <a:bodyPr/>
                    <a:lstStyle/>
                    <a:p>
                      <a:r>
                        <a:rPr lang="de-DE" sz="1400" kern="1200">
                          <a:solidFill>
                            <a:schemeClr val="dk1"/>
                          </a:solidFill>
                          <a:latin typeface="EnBW DIN Pro" panose="020B0504020101020102" pitchFamily="34" charset="0"/>
                          <a:ea typeface="+mn-ea"/>
                          <a:cs typeface="EnBW DIN Pro" panose="020B0504020101020102" pitchFamily="34" charset="0"/>
                        </a:rPr>
                        <a:t>Freileitu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>
                          <a:solidFill>
                            <a:schemeClr val="tx1"/>
                          </a:solidFill>
                          <a:latin typeface="EnBW DIN Pro" panose="020B0504020101020102" pitchFamily="34" charset="0"/>
                          <a:cs typeface="EnBW DIN Pro" panose="020B0504020101020102" pitchFamily="34" charset="0"/>
                        </a:rPr>
                        <a:t>1.232</a:t>
                      </a:r>
                      <a:endParaRPr lang="de-DE" sz="1400" dirty="0">
                        <a:solidFill>
                          <a:schemeClr val="tx1"/>
                        </a:solidFill>
                        <a:latin typeface="EnBW DIN Pro" panose="020B0504020101020102" pitchFamily="34" charset="0"/>
                        <a:cs typeface="EnBW DIN Pro" panose="020B0504020101020102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>
                          <a:solidFill>
                            <a:schemeClr val="tx1"/>
                          </a:solidFill>
                          <a:latin typeface="EnBW DIN Pro" panose="020B0504020101020102" pitchFamily="34" charset="0"/>
                          <a:cs typeface="EnBW DIN Pro" panose="020B0504020101020102" pitchFamily="34" charset="0"/>
                        </a:rPr>
                        <a:t>1.192</a:t>
                      </a:r>
                      <a:endParaRPr lang="de-DE" sz="1400" dirty="0">
                        <a:solidFill>
                          <a:schemeClr val="tx1"/>
                        </a:solidFill>
                        <a:latin typeface="EnBW DIN Pro" panose="020B0504020101020102" pitchFamily="34" charset="0"/>
                        <a:cs typeface="EnBW DIN Pro" panose="020B0504020101020102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88151409"/>
                  </a:ext>
                </a:extLst>
              </a:tr>
              <a:tr h="353414">
                <a:tc>
                  <a:txBody>
                    <a:bodyPr/>
                    <a:lstStyle/>
                    <a:p>
                      <a:r>
                        <a:rPr lang="de-DE" sz="1400" kern="1200" dirty="0">
                          <a:solidFill>
                            <a:schemeClr val="dk1"/>
                          </a:solidFill>
                          <a:latin typeface="EnBW DIN Pro" panose="020B0504020101020102" pitchFamily="34" charset="0"/>
                          <a:ea typeface="+mn-ea"/>
                          <a:cs typeface="EnBW DIN Pro" panose="020B0504020101020102" pitchFamily="34" charset="0"/>
                        </a:rPr>
                        <a:t>Kabe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kern="1200">
                          <a:solidFill>
                            <a:schemeClr val="tx1"/>
                          </a:solidFill>
                          <a:latin typeface="EnBW DIN Pro" panose="020B0504020101020102" pitchFamily="34" charset="0"/>
                          <a:ea typeface="+mn-ea"/>
                          <a:cs typeface="EnBW DIN Pro" panose="020B0504020101020102" pitchFamily="34" charset="0"/>
                        </a:rPr>
                        <a:t>3.467</a:t>
                      </a:r>
                      <a:endParaRPr lang="de-DE" sz="1400" kern="1200" dirty="0">
                        <a:solidFill>
                          <a:schemeClr val="tx1"/>
                        </a:solidFill>
                        <a:latin typeface="EnBW DIN Pro" panose="020B0504020101020102" pitchFamily="34" charset="0"/>
                        <a:ea typeface="+mn-ea"/>
                        <a:cs typeface="EnBW DIN Pro" panose="020B0504020101020102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kern="1200">
                          <a:solidFill>
                            <a:schemeClr val="tx1"/>
                          </a:solidFill>
                          <a:latin typeface="EnBW DIN Pro" panose="020B0504020101020102" pitchFamily="34" charset="0"/>
                          <a:ea typeface="+mn-ea"/>
                          <a:cs typeface="EnBW DIN Pro" panose="020B0504020101020102" pitchFamily="34" charset="0"/>
                        </a:rPr>
                        <a:t>3.591</a:t>
                      </a:r>
                      <a:endParaRPr lang="de-DE" sz="1400" kern="1200" dirty="0">
                        <a:solidFill>
                          <a:schemeClr val="tx1"/>
                        </a:solidFill>
                        <a:latin typeface="EnBW DIN Pro" panose="020B0504020101020102" pitchFamily="34" charset="0"/>
                        <a:ea typeface="+mn-ea"/>
                        <a:cs typeface="EnBW DIN Pro" panose="020B0504020101020102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86286987"/>
                  </a:ext>
                </a:extLst>
              </a:tr>
            </a:tbl>
          </a:graphicData>
        </a:graphic>
      </p:graphicFrame>
      <p:graphicFrame>
        <p:nvGraphicFramePr>
          <p:cNvPr id="46" name="Tabelle 7">
            <a:extLst>
              <a:ext uri="{FF2B5EF4-FFF2-40B4-BE49-F238E27FC236}">
                <a16:creationId xmlns:a16="http://schemas.microsoft.com/office/drawing/2014/main" id="{DCB9FD13-7D6B-4445-BCF4-503D539AEA2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47602009"/>
              </p:ext>
            </p:extLst>
          </p:nvPr>
        </p:nvGraphicFramePr>
        <p:xfrm>
          <a:off x="772880" y="4833757"/>
          <a:ext cx="4633644" cy="7068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44548">
                  <a:extLst>
                    <a:ext uri="{9D8B030D-6E8A-4147-A177-3AD203B41FA5}">
                      <a16:colId xmlns:a16="http://schemas.microsoft.com/office/drawing/2014/main" val="3645150872"/>
                    </a:ext>
                  </a:extLst>
                </a:gridCol>
                <a:gridCol w="1544548">
                  <a:extLst>
                    <a:ext uri="{9D8B030D-6E8A-4147-A177-3AD203B41FA5}">
                      <a16:colId xmlns:a16="http://schemas.microsoft.com/office/drawing/2014/main" val="3657734173"/>
                    </a:ext>
                  </a:extLst>
                </a:gridCol>
                <a:gridCol w="1544548">
                  <a:extLst>
                    <a:ext uri="{9D8B030D-6E8A-4147-A177-3AD203B41FA5}">
                      <a16:colId xmlns:a16="http://schemas.microsoft.com/office/drawing/2014/main" val="896984787"/>
                    </a:ext>
                  </a:extLst>
                </a:gridCol>
              </a:tblGrid>
              <a:tr h="353414">
                <a:tc>
                  <a:txBody>
                    <a:bodyPr/>
                    <a:lstStyle/>
                    <a:p>
                      <a:endParaRPr lang="de-DE" sz="1400">
                        <a:latin typeface="EnBW DIN Pro" panose="020B0504020101020102" pitchFamily="34" charset="0"/>
                        <a:cs typeface="EnBW DIN Pro" panose="020B0504020101020102" pitchFamily="34" charset="0"/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>
                          <a:latin typeface="EnBW DIN Pro" panose="020B0504020101020102" pitchFamily="34" charset="0"/>
                          <a:cs typeface="EnBW DIN Pro" panose="020B0504020101020102" pitchFamily="34" charset="0"/>
                        </a:rPr>
                        <a:t>2018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>
                          <a:latin typeface="EnBW DIN Pro" panose="020B0504020101020102" pitchFamily="34" charset="0"/>
                          <a:cs typeface="EnBW DIN Pro" panose="020B0504020101020102" pitchFamily="34" charset="0"/>
                        </a:rPr>
                        <a:t>2020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88473164"/>
                  </a:ext>
                </a:extLst>
              </a:tr>
              <a:tr h="353414">
                <a:tc>
                  <a:txBody>
                    <a:bodyPr/>
                    <a:lstStyle/>
                    <a:p>
                      <a:r>
                        <a:rPr lang="de-DE" sz="1400">
                          <a:latin typeface="EnBW DIN Pro" panose="020B0504020101020102" pitchFamily="34" charset="0"/>
                          <a:cs typeface="EnBW DIN Pro" panose="020B0504020101020102" pitchFamily="34" charset="0"/>
                        </a:rPr>
                        <a:t>Anzah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>
                          <a:latin typeface="EnBW DIN Pro" panose="020B0504020101020102" pitchFamily="34" charset="0"/>
                          <a:cs typeface="EnBW DIN Pro" panose="020B0504020101020102" pitchFamily="34" charset="0"/>
                        </a:rPr>
                        <a:t>202</a:t>
                      </a:r>
                      <a:endParaRPr lang="de-DE" sz="1400" dirty="0">
                        <a:latin typeface="EnBW DIN Pro" panose="020B0504020101020102" pitchFamily="34" charset="0"/>
                        <a:cs typeface="EnBW DIN Pro" panose="020B0504020101020102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>
                          <a:latin typeface="EnBW DIN Pro" panose="020B0504020101020102" pitchFamily="34" charset="0"/>
                          <a:cs typeface="EnBW DIN Pro" panose="020B0504020101020102" pitchFamily="34" charset="0"/>
                        </a:rPr>
                        <a:t>202</a:t>
                      </a:r>
                      <a:endParaRPr lang="de-DE" sz="1400" dirty="0">
                        <a:latin typeface="EnBW DIN Pro" panose="020B0504020101020102" pitchFamily="34" charset="0"/>
                        <a:cs typeface="EnBW DIN Pro" panose="020B0504020101020102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15529352"/>
                  </a:ext>
                </a:extLst>
              </a:tr>
            </a:tbl>
          </a:graphicData>
        </a:graphic>
      </p:graphicFrame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0096272C-E1B4-44B0-A769-735609C01E81}"/>
              </a:ext>
            </a:extLst>
          </p:cNvPr>
          <p:cNvGrpSpPr/>
          <p:nvPr/>
        </p:nvGrpSpPr>
        <p:grpSpPr>
          <a:xfrm>
            <a:off x="657208" y="4332291"/>
            <a:ext cx="389267" cy="383610"/>
            <a:chOff x="1123306" y="4734511"/>
            <a:chExt cx="1184074" cy="1166866"/>
          </a:xfrm>
        </p:grpSpPr>
        <p:pic>
          <p:nvPicPr>
            <p:cNvPr id="25" name="Grafik 24" descr="Ein Bild, das Schild enthält.&#10;&#10;Automatisch generierte Beschreibung">
              <a:extLst>
                <a:ext uri="{FF2B5EF4-FFF2-40B4-BE49-F238E27FC236}">
                  <a16:creationId xmlns:a16="http://schemas.microsoft.com/office/drawing/2014/main" id="{BD039E69-3C56-4F5A-83AA-34253DEEF16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123306" y="4914274"/>
              <a:ext cx="1184074" cy="987103"/>
            </a:xfrm>
            <a:prstGeom prst="rect">
              <a:avLst/>
            </a:prstGeom>
          </p:spPr>
        </p:pic>
        <p:grpSp>
          <p:nvGrpSpPr>
            <p:cNvPr id="37" name="Gruppieren 36">
              <a:extLst>
                <a:ext uri="{FF2B5EF4-FFF2-40B4-BE49-F238E27FC236}">
                  <a16:creationId xmlns:a16="http://schemas.microsoft.com/office/drawing/2014/main" id="{2E173B18-93AE-4D05-8238-F2044501493D}"/>
                </a:ext>
              </a:extLst>
            </p:cNvPr>
            <p:cNvGrpSpPr/>
            <p:nvPr/>
          </p:nvGrpSpPr>
          <p:grpSpPr>
            <a:xfrm>
              <a:off x="1154772" y="4734511"/>
              <a:ext cx="1098929" cy="922965"/>
              <a:chOff x="1154772" y="4734511"/>
              <a:chExt cx="1098929" cy="922965"/>
            </a:xfrm>
          </p:grpSpPr>
          <p:pic>
            <p:nvPicPr>
              <p:cNvPr id="32" name="Grafik 31" descr="Ein Bild, das Schild, Zaun enthält.&#10;&#10;Automatisch generierte Beschreibung">
                <a:extLst>
                  <a:ext uri="{FF2B5EF4-FFF2-40B4-BE49-F238E27FC236}">
                    <a16:creationId xmlns:a16="http://schemas.microsoft.com/office/drawing/2014/main" id="{456A441C-6A03-41D3-B16C-20477CECACC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154772" y="4734511"/>
                <a:ext cx="1098929" cy="257972"/>
              </a:xfrm>
              <a:prstGeom prst="rect">
                <a:avLst/>
              </a:prstGeom>
            </p:spPr>
          </p:pic>
          <p:pic>
            <p:nvPicPr>
              <p:cNvPr id="34" name="Grafik 33" descr="Ein Bild, das Schild, Uhr enthält.&#10;&#10;Automatisch generierte Beschreibung">
                <a:extLst>
                  <a:ext uri="{FF2B5EF4-FFF2-40B4-BE49-F238E27FC236}">
                    <a16:creationId xmlns:a16="http://schemas.microsoft.com/office/drawing/2014/main" id="{FE10C70D-338B-4946-BF14-9CAEACC9B02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screen">
                <a:biLevel thresh="50000"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381125" y="5060567"/>
                <a:ext cx="596909" cy="596909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452916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B748118-5318-4694-8187-778B2D97059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2363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86" name="think-cell Folie" r:id="rId5" imgW="592" imgH="591" progId="TCLayout.ActiveDocument.1">
                  <p:embed/>
                </p:oleObj>
              </mc:Choice>
              <mc:Fallback>
                <p:oleObj name="think-cell Folie" r:id="rId5" imgW="592" imgH="591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3B748118-5318-4694-8187-778B2D9705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>
            <a:extLst>
              <a:ext uri="{FF2B5EF4-FFF2-40B4-BE49-F238E27FC236}">
                <a16:creationId xmlns:a16="http://schemas.microsoft.com/office/drawing/2014/main" id="{B95B7F8D-9130-4491-AA5C-856888ACE914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Aft>
                <a:spcPct val="0"/>
              </a:spcAft>
            </a:pPr>
            <a:endParaRPr kumimoji="0" lang="de-DE" sz="22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EnBW DIN Pro" panose="020B0504020101020102" pitchFamily="34" charset="0"/>
              <a:cs typeface="+mj-cs"/>
              <a:sym typeface="EnBW DIN Pro" panose="020B0504020101020102" pitchFamily="34" charset="0"/>
            </a:endParaRP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C4029A63-E840-458A-9883-FD14E8474E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11" y="502224"/>
            <a:ext cx="9445626" cy="615553"/>
          </a:xfrm>
        </p:spPr>
        <p:txBody>
          <a:bodyPr vert="horz"/>
          <a:lstStyle/>
          <a:p>
            <a:r>
              <a:rPr lang="de-DE" dirty="0"/>
              <a:t>Einbindungskarte – Bad Wurzach</a:t>
            </a:r>
            <a:br>
              <a:rPr lang="de-DE" dirty="0"/>
            </a:br>
            <a:r>
              <a:rPr lang="de-DE" sz="1800" kern="1200" dirty="0">
                <a:solidFill>
                  <a:schemeClr val="tx2"/>
                </a:solidFill>
                <a:cs typeface="EnBW DIN Pro Medium" panose="020B0604020101020102" pitchFamily="34" charset="0"/>
              </a:rPr>
              <a:t>Stromnetz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C8ED384-F4AA-4651-943B-4A872B7D864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3D4A45-F672-4474-BA28-E624C64DA635}" type="slidenum">
              <a:rPr lang="de-DE" smtClean="0"/>
              <a:t>14</a:t>
            </a:fld>
            <a:endParaRPr lang="de-DE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5D9DEFC8-35E1-4B86-A7D5-7A3965D14AC5}"/>
              </a:ext>
            </a:extLst>
          </p:cNvPr>
          <p:cNvSpPr/>
          <p:nvPr/>
        </p:nvSpPr>
        <p:spPr bwMode="auto">
          <a:xfrm>
            <a:off x="468311" y="1973740"/>
            <a:ext cx="4255477" cy="438203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216000" tIns="288000" rIns="288000" bIns="288000" numCol="1" anchor="t" anchorCtr="0" compatLnSpc="1">
            <a:prstTxWarp prst="textNoShape">
              <a:avLst/>
            </a:prstTxWarp>
            <a:noAutofit/>
          </a:bodyPr>
          <a:lstStyle/>
          <a:p>
            <a:pPr>
              <a:buClr>
                <a:schemeClr val="accent6"/>
              </a:buClr>
              <a:buSzPct val="140000"/>
            </a:pPr>
            <a:endParaRPr lang="de-DE" sz="1400" dirty="0">
              <a:latin typeface="EnBW DIN Pro Medium" panose="020B0604020101020102" pitchFamily="34" charset="0"/>
              <a:ea typeface="DIN-Regular" panose="020B0500010101010101" pitchFamily="34" charset="0"/>
              <a:cs typeface="EnBW DIN Pro Medium" panose="020B0604020101020102" pitchFamily="34" charset="0"/>
            </a:endParaRPr>
          </a:p>
          <a:p>
            <a:pPr marL="285750" indent="-285750">
              <a:buClr>
                <a:schemeClr val="accent6"/>
              </a:buClr>
              <a:buSzPct val="140000"/>
              <a:buFont typeface="EnBW DIN Pro" panose="020B0504020101020102" pitchFamily="34" charset="0"/>
              <a:buChar char="›"/>
            </a:pPr>
            <a:endParaRPr lang="de-DE" sz="1400" dirty="0">
              <a:latin typeface="EnBW DIN Pro Medium" panose="020B0604020101020102" pitchFamily="34" charset="0"/>
              <a:ea typeface="DIN-Regular" panose="020B0500010101010101" pitchFamily="34" charset="0"/>
              <a:cs typeface="EnBW DIN Pro Medium" panose="020B0604020101020102" pitchFamily="34" charset="0"/>
            </a:endParaRPr>
          </a:p>
          <a:p>
            <a:pPr marL="285750" indent="-285750">
              <a:buClr>
                <a:schemeClr val="accent6"/>
              </a:buClr>
              <a:buFont typeface="EnBW DIN Pro" panose="020B0504020101020102" pitchFamily="34" charset="0"/>
              <a:buChar char="›"/>
            </a:pPr>
            <a:r>
              <a:rPr lang="de-DE" sz="1400" b="1" dirty="0"/>
              <a:t>Netzbetrieb:</a:t>
            </a:r>
            <a:br>
              <a:rPr lang="de-DE" sz="1400" dirty="0"/>
            </a:br>
            <a:r>
              <a:rPr lang="de-DE" sz="1400" dirty="0"/>
              <a:t>Betriebsservice Allgäu Ost</a:t>
            </a:r>
          </a:p>
          <a:p>
            <a:pPr marL="285750" indent="-285750">
              <a:buClr>
                <a:schemeClr val="accent6"/>
              </a:buClr>
              <a:buFont typeface="EnBW DIN Pro" panose="020B0504020101020102" pitchFamily="34" charset="0"/>
              <a:buChar char="›"/>
            </a:pPr>
            <a:endParaRPr lang="de-DE" sz="1400" dirty="0"/>
          </a:p>
          <a:p>
            <a:pPr marL="285750" indent="-285750">
              <a:buClr>
                <a:schemeClr val="accent6"/>
              </a:buClr>
              <a:buFont typeface="EnBW DIN Pro" panose="020B0504020101020102" pitchFamily="34" charset="0"/>
              <a:buChar char="›"/>
            </a:pPr>
            <a:r>
              <a:rPr lang="de-DE" sz="1400" b="1" dirty="0"/>
              <a:t>Strom:</a:t>
            </a:r>
            <a:br>
              <a:rPr lang="de-DE" sz="1400" dirty="0"/>
            </a:br>
            <a:r>
              <a:rPr lang="de-DE" sz="1400" dirty="0"/>
              <a:t>161.245.213 kWh</a:t>
            </a:r>
          </a:p>
          <a:p>
            <a:pPr marL="285750" indent="-285750">
              <a:buClr>
                <a:schemeClr val="accent6"/>
              </a:buClr>
              <a:buFont typeface="EnBW DIN Pro" panose="020B0504020101020102" pitchFamily="34" charset="0"/>
              <a:buChar char="›"/>
            </a:pPr>
            <a:endParaRPr lang="de-DE" sz="1400" dirty="0"/>
          </a:p>
          <a:p>
            <a:pPr marL="285750" indent="-285750">
              <a:buClr>
                <a:schemeClr val="accent6"/>
              </a:buClr>
              <a:buFont typeface="EnBW DIN Pro" panose="020B0504020101020102" pitchFamily="34" charset="0"/>
              <a:buChar char="›"/>
            </a:pPr>
            <a:r>
              <a:rPr lang="de-DE" sz="1400" b="1" dirty="0"/>
              <a:t>Konzessionsabgabe 2021:</a:t>
            </a:r>
            <a:br>
              <a:rPr lang="de-DE" sz="1400" dirty="0"/>
            </a:br>
            <a:r>
              <a:rPr lang="de-DE" sz="1400" dirty="0"/>
              <a:t>519.326,50 €</a:t>
            </a:r>
          </a:p>
          <a:p>
            <a:pPr marL="285750" indent="-285750">
              <a:buClr>
                <a:schemeClr val="accent6"/>
              </a:buClr>
              <a:buFont typeface="EnBW DIN Pro" panose="020B0504020101020102" pitchFamily="34" charset="0"/>
              <a:buChar char="›"/>
            </a:pPr>
            <a:endParaRPr lang="de-DE" sz="1400" dirty="0"/>
          </a:p>
          <a:p>
            <a:pPr marL="285750" indent="-285750">
              <a:buClr>
                <a:schemeClr val="accent6"/>
              </a:buClr>
              <a:buFont typeface="EnBW DIN Pro" panose="020B0504020101020102" pitchFamily="34" charset="0"/>
              <a:buChar char="›"/>
            </a:pPr>
            <a:r>
              <a:rPr lang="de-DE" sz="1400" b="1" dirty="0"/>
              <a:t>Stromversorgung Bad Wurzach:</a:t>
            </a:r>
          </a:p>
          <a:p>
            <a:pPr marL="285750" indent="-285750">
              <a:buClr>
                <a:schemeClr val="accent6"/>
              </a:buClr>
              <a:buFont typeface="EnBW DIN Pro" panose="020B0504020101020102" pitchFamily="34" charset="0"/>
              <a:buChar char="›"/>
            </a:pPr>
            <a:r>
              <a:rPr lang="de-DE" sz="1400" dirty="0"/>
              <a:t>Netzverknüpfungen aus dem       Umspannwerk </a:t>
            </a:r>
            <a:r>
              <a:rPr lang="de-DE" sz="1400" dirty="0" err="1"/>
              <a:t>Haisterkirch</a:t>
            </a:r>
            <a:r>
              <a:rPr lang="de-DE" sz="1400" dirty="0"/>
              <a:t> und Leutkirch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D552A783-0B65-4695-AD1D-2ABFC8991B33}"/>
              </a:ext>
            </a:extLst>
          </p:cNvPr>
          <p:cNvSpPr/>
          <p:nvPr/>
        </p:nvSpPr>
        <p:spPr>
          <a:xfrm>
            <a:off x="468311" y="1635186"/>
            <a:ext cx="1462516" cy="338554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pPr>
              <a:spcBef>
                <a:spcPts val="0"/>
              </a:spcBef>
              <a:buClr>
                <a:schemeClr val="accent6"/>
              </a:buClr>
              <a:buSzPct val="140000"/>
            </a:pPr>
            <a:r>
              <a:rPr lang="de-DE" sz="1600" b="1" dirty="0">
                <a:solidFill>
                  <a:srgbClr val="061671"/>
                </a:solidFill>
                <a:latin typeface="EnBW DIN Pro Medium" panose="020B0604020101020102" pitchFamily="34" charset="0"/>
                <a:ea typeface="DIN-Regular" panose="020B0500010101010101" pitchFamily="34" charset="0"/>
                <a:cs typeface="EnBW DIN Pro Medium" panose="020B0604020101020102" pitchFamily="34" charset="0"/>
              </a:rPr>
              <a:t>Ihr Stromnetz</a:t>
            </a:r>
          </a:p>
        </p:txBody>
      </p:sp>
      <p:pic>
        <p:nvPicPr>
          <p:cNvPr id="2" name="Grafik 2">
            <a:extLst>
              <a:ext uri="{FF2B5EF4-FFF2-40B4-BE49-F238E27FC236}">
                <a16:creationId xmlns:a16="http://schemas.microsoft.com/office/drawing/2014/main" id="{1BA41B49-E881-464E-AE1E-5175B67F5F9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040087" y="2173334"/>
            <a:ext cx="6820341" cy="387421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45586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DB0768B8-BB1E-4E22-B2DE-3D7706B7FB3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58368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0" name="think-cell Folie" r:id="rId5" imgW="592" imgH="591" progId="TCLayout.ActiveDocument.1">
                  <p:embed/>
                </p:oleObj>
              </mc:Choice>
              <mc:Fallback>
                <p:oleObj name="think-cell Folie" r:id="rId5" imgW="592" imgH="591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DB0768B8-BB1E-4E22-B2DE-3D7706B7FB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25844DC1-15FE-42F9-8107-3DA7D9B471D0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Aft>
                <a:spcPct val="0"/>
              </a:spcAft>
            </a:pPr>
            <a:endParaRPr kumimoji="0" lang="de-DE" sz="22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EnBW DIN Pro" panose="020B0504020101020102" pitchFamily="34" charset="0"/>
              <a:cs typeface="+mj-cs"/>
              <a:sym typeface="EnBW DIN Pro" panose="020B0504020101020102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F4236CE-924A-4BC7-AFF1-EB8F8D5ED8F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3D4A45-F672-4474-BA28-E624C64DA635}" type="slidenum">
              <a:rPr lang="de-DE" smtClean="0"/>
              <a:t>15</a:t>
            </a:fld>
            <a:endParaRPr lang="de-DE"/>
          </a:p>
        </p:txBody>
      </p:sp>
      <p:sp>
        <p:nvSpPr>
          <p:cNvPr id="7" name="Titel 2">
            <a:extLst>
              <a:ext uri="{FF2B5EF4-FFF2-40B4-BE49-F238E27FC236}">
                <a16:creationId xmlns:a16="http://schemas.microsoft.com/office/drawing/2014/main" id="{E31DB7BC-D747-401F-A7FE-04B080BC29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11" y="502225"/>
            <a:ext cx="9445626" cy="615553"/>
          </a:xfrm>
        </p:spPr>
        <p:txBody>
          <a:bodyPr vert="horz"/>
          <a:lstStyle/>
          <a:p>
            <a:r>
              <a:rPr lang="de-DE" dirty="0"/>
              <a:t>Höchste Sicherheit durch mehrfach redundante Leitstellen</a:t>
            </a:r>
            <a:br>
              <a:rPr lang="de-DE" dirty="0"/>
            </a:br>
            <a:r>
              <a:rPr lang="de-DE" sz="1798" kern="1200" dirty="0">
                <a:solidFill>
                  <a:schemeClr val="tx2"/>
                </a:solidFill>
              </a:rPr>
              <a:t>Ganz Baden-Württemberg auf einen Blick</a:t>
            </a:r>
            <a:endParaRPr lang="de-DE" sz="1800" kern="1200" dirty="0">
              <a:solidFill>
                <a:schemeClr val="tx2"/>
              </a:solidFill>
              <a:cs typeface="EnBW DIN Pro Medium" panose="020B0604020101020102" pitchFamily="34" charset="0"/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D1EFD46C-2188-4A83-B35A-9D59908F2F41}"/>
              </a:ext>
            </a:extLst>
          </p:cNvPr>
          <p:cNvSpPr/>
          <p:nvPr/>
        </p:nvSpPr>
        <p:spPr bwMode="auto">
          <a:xfrm>
            <a:off x="5916465" y="1681649"/>
            <a:ext cx="5561432" cy="195996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8000" tIns="108000" rIns="108000" bIns="108000" numCol="1" rtlCol="0" anchor="ctr" anchorCtr="0" compatLnSpc="1">
            <a:prstTxWarp prst="textNoShape">
              <a:avLst/>
            </a:prstTxWarp>
          </a:bodyPr>
          <a:lstStyle/>
          <a:p>
            <a:pPr lvl="1" indent="-457200">
              <a:spcBef>
                <a:spcPts val="600"/>
              </a:spcBef>
              <a:buClr>
                <a:schemeClr val="accent6"/>
              </a:buClr>
              <a:buFont typeface="EnBW DIN Pro" panose="020B0504020101020102" pitchFamily="34" charset="0"/>
              <a:buChar char="›"/>
              <a:tabLst>
                <a:tab pos="355600" algn="l"/>
              </a:tabLst>
            </a:pPr>
            <a:r>
              <a:rPr lang="de-DE" sz="1200" dirty="0"/>
              <a:t>Aufrechterhalten &amp; Wiederherstellen der Versorgungssicherheit rund um die Uhr über alle Spannungsebenen</a:t>
            </a:r>
          </a:p>
          <a:p>
            <a:pPr lvl="1" indent="-457200">
              <a:spcBef>
                <a:spcPts val="600"/>
              </a:spcBef>
              <a:buClr>
                <a:schemeClr val="accent6"/>
              </a:buClr>
              <a:buFont typeface="EnBW DIN Pro" panose="020B0504020101020102" pitchFamily="34" charset="0"/>
              <a:buChar char="›"/>
              <a:tabLst>
                <a:tab pos="355600" algn="l"/>
              </a:tabLst>
            </a:pPr>
            <a:r>
              <a:rPr lang="de-DE" sz="1200" dirty="0"/>
              <a:t>Modernste und sicherste Leitstellentechnik (in Europa) </a:t>
            </a:r>
          </a:p>
          <a:p>
            <a:pPr lvl="1" indent="-457200">
              <a:spcBef>
                <a:spcPts val="600"/>
              </a:spcBef>
              <a:buClr>
                <a:schemeClr val="accent6"/>
              </a:buClr>
              <a:buFont typeface="EnBW DIN Pro" panose="020B0504020101020102" pitchFamily="34" charset="0"/>
              <a:buChar char="›"/>
              <a:tabLst>
                <a:tab pos="355600" algn="l"/>
              </a:tabLst>
            </a:pPr>
            <a:r>
              <a:rPr lang="de-DE" sz="1200" dirty="0">
                <a:solidFill>
                  <a:schemeClr val="tx1">
                    <a:lumMod val="50000"/>
                  </a:schemeClr>
                </a:solidFill>
                <a:ea typeface="DIN-Regular" panose="020B0500010101010101" pitchFamily="34" charset="0"/>
              </a:rPr>
              <a:t>Höchster Schutz unserer Leitstellen und IT-Systeme durch bspw. regelmäßige Penetrationstests von Dritten</a:t>
            </a:r>
          </a:p>
          <a:p>
            <a:pPr lvl="1" indent="-457200">
              <a:spcBef>
                <a:spcPts val="600"/>
              </a:spcBef>
              <a:buClr>
                <a:schemeClr val="accent6"/>
              </a:buClr>
              <a:buFont typeface="EnBW DIN Pro" panose="020B0504020101020102" pitchFamily="34" charset="0"/>
              <a:buChar char="›"/>
              <a:tabLst>
                <a:tab pos="355600" algn="l"/>
              </a:tabLst>
            </a:pPr>
            <a:r>
              <a:rPr lang="de-DE" sz="1200" dirty="0"/>
              <a:t>Transparenz der Energieflüsse im Netz und damit aktive und vorrausschauende Sicherung Ihrer Energieversorgung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214E421A-28EE-4DD0-A8F7-76FB302CC954}"/>
              </a:ext>
            </a:extLst>
          </p:cNvPr>
          <p:cNvSpPr txBox="1"/>
          <p:nvPr/>
        </p:nvSpPr>
        <p:spPr bwMode="gray">
          <a:xfrm>
            <a:off x="6009954" y="1553847"/>
            <a:ext cx="1795244" cy="2154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0"/>
              </a:spcBef>
              <a:buClr>
                <a:schemeClr val="accent6"/>
              </a:buClr>
              <a:buSzPct val="140000"/>
              <a:buNone/>
            </a:pPr>
            <a:r>
              <a:rPr lang="de-DE" sz="1400" b="1" dirty="0">
                <a:solidFill>
                  <a:srgbClr val="061671"/>
                </a:solidFill>
                <a:latin typeface="+mn-lt"/>
                <a:ea typeface="DIN-Regular" panose="020B0500010101010101" pitchFamily="34" charset="0"/>
              </a:rPr>
              <a:t>Das bedeutet für Sie: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D856E635-5458-4200-95ED-27D6EA72561A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16465" y="3769414"/>
            <a:ext cx="5561432" cy="264660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03E9982B-5C0D-4B3F-B3AF-5D24686EF341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0863" y="1681649"/>
            <a:ext cx="5300744" cy="47343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9488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DB0768B8-BB1E-4E22-B2DE-3D7706B7FB3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4" name="think-cell Folie" r:id="rId5" imgW="592" imgH="591" progId="TCLayout.ActiveDocument.1">
                  <p:embed/>
                </p:oleObj>
              </mc:Choice>
              <mc:Fallback>
                <p:oleObj name="think-cell Folie" r:id="rId5" imgW="592" imgH="591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DB0768B8-BB1E-4E22-B2DE-3D7706B7FB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25844DC1-15FE-42F9-8107-3DA7D9B471D0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Aft>
                <a:spcPct val="0"/>
              </a:spcAft>
            </a:pPr>
            <a:endParaRPr kumimoji="0" lang="de-DE" sz="22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EnBW DIN Pro" panose="020B0504020101020102" pitchFamily="34" charset="0"/>
              <a:cs typeface="+mj-cs"/>
              <a:sym typeface="EnBW DIN Pro" panose="020B0504020101020102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F4236CE-924A-4BC7-AFF1-EB8F8D5ED8F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3D4A45-F672-4474-BA28-E624C64DA635}" type="slidenum">
              <a:rPr lang="de-DE" smtClean="0"/>
              <a:t>16</a:t>
            </a:fld>
            <a:endParaRPr lang="de-DE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3A5841B3-6B34-459B-A4C8-3F374BB1E018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837473B0-CC2E-450A-ABE3-18F120FF3D39}">
                <a1611:picAttrSrcUrl xmlns:a1611="http://schemas.microsoft.com/office/drawing/2016/11/main" r:id="rId8"/>
              </a:ext>
            </a:extLst>
          </a:blip>
          <a:srcRect/>
          <a:stretch/>
        </p:blipFill>
        <p:spPr>
          <a:xfrm>
            <a:off x="8512207" y="1526722"/>
            <a:ext cx="2671302" cy="1960951"/>
          </a:xfrm>
          <a:prstGeom prst="rect">
            <a:avLst/>
          </a:prstGeom>
        </p:spPr>
      </p:pic>
      <p:grpSp>
        <p:nvGrpSpPr>
          <p:cNvPr id="8" name="Group 3">
            <a:extLst>
              <a:ext uri="{FF2B5EF4-FFF2-40B4-BE49-F238E27FC236}">
                <a16:creationId xmlns:a16="http://schemas.microsoft.com/office/drawing/2014/main" id="{33E8BC2E-B627-4537-A4D7-A286067B8D83}"/>
              </a:ext>
            </a:extLst>
          </p:cNvPr>
          <p:cNvGrpSpPr>
            <a:grpSpLocks/>
          </p:cNvGrpSpPr>
          <p:nvPr/>
        </p:nvGrpSpPr>
        <p:grpSpPr bwMode="gray">
          <a:xfrm>
            <a:off x="5441192" y="1523964"/>
            <a:ext cx="1401083" cy="2118388"/>
            <a:chOff x="1980" y="1077"/>
            <a:chExt cx="2052" cy="2760"/>
          </a:xfrm>
          <a:solidFill>
            <a:schemeClr val="accent1"/>
          </a:solidFill>
        </p:grpSpPr>
        <p:sp>
          <p:nvSpPr>
            <p:cNvPr id="9" name="Freeform 4">
              <a:extLst>
                <a:ext uri="{FF2B5EF4-FFF2-40B4-BE49-F238E27FC236}">
                  <a16:creationId xmlns:a16="http://schemas.microsoft.com/office/drawing/2014/main" id="{CE3E64C7-521E-4883-B3EF-7A03AC48BFF6}"/>
                </a:ext>
              </a:extLst>
            </p:cNvPr>
            <p:cNvSpPr>
              <a:spLocks/>
            </p:cNvSpPr>
            <p:nvPr/>
          </p:nvSpPr>
          <p:spPr bwMode="gray">
            <a:xfrm>
              <a:off x="2186" y="1501"/>
              <a:ext cx="1066" cy="916"/>
            </a:xfrm>
            <a:custGeom>
              <a:avLst/>
              <a:gdLst>
                <a:gd name="T0" fmla="*/ 796 w 1066"/>
                <a:gd name="T1" fmla="*/ 810 h 916"/>
                <a:gd name="T2" fmla="*/ 676 w 1066"/>
                <a:gd name="T3" fmla="*/ 882 h 916"/>
                <a:gd name="T4" fmla="*/ 658 w 1066"/>
                <a:gd name="T5" fmla="*/ 912 h 916"/>
                <a:gd name="T6" fmla="*/ 634 w 1066"/>
                <a:gd name="T7" fmla="*/ 864 h 916"/>
                <a:gd name="T8" fmla="*/ 606 w 1066"/>
                <a:gd name="T9" fmla="*/ 802 h 916"/>
                <a:gd name="T10" fmla="*/ 576 w 1066"/>
                <a:gd name="T11" fmla="*/ 720 h 916"/>
                <a:gd name="T12" fmla="*/ 546 w 1066"/>
                <a:gd name="T13" fmla="*/ 642 h 916"/>
                <a:gd name="T14" fmla="*/ 500 w 1066"/>
                <a:gd name="T15" fmla="*/ 568 h 916"/>
                <a:gd name="T16" fmla="*/ 514 w 1066"/>
                <a:gd name="T17" fmla="*/ 456 h 916"/>
                <a:gd name="T18" fmla="*/ 428 w 1066"/>
                <a:gd name="T19" fmla="*/ 492 h 916"/>
                <a:gd name="T20" fmla="*/ 374 w 1066"/>
                <a:gd name="T21" fmla="*/ 478 h 916"/>
                <a:gd name="T22" fmla="*/ 376 w 1066"/>
                <a:gd name="T23" fmla="*/ 568 h 916"/>
                <a:gd name="T24" fmla="*/ 328 w 1066"/>
                <a:gd name="T25" fmla="*/ 610 h 916"/>
                <a:gd name="T26" fmla="*/ 262 w 1066"/>
                <a:gd name="T27" fmla="*/ 592 h 916"/>
                <a:gd name="T28" fmla="*/ 260 w 1066"/>
                <a:gd name="T29" fmla="*/ 548 h 916"/>
                <a:gd name="T30" fmla="*/ 216 w 1066"/>
                <a:gd name="T31" fmla="*/ 464 h 916"/>
                <a:gd name="T32" fmla="*/ 120 w 1066"/>
                <a:gd name="T33" fmla="*/ 550 h 916"/>
                <a:gd name="T34" fmla="*/ 4 w 1066"/>
                <a:gd name="T35" fmla="*/ 492 h 916"/>
                <a:gd name="T36" fmla="*/ 90 w 1066"/>
                <a:gd name="T37" fmla="*/ 394 h 916"/>
                <a:gd name="T38" fmla="*/ 112 w 1066"/>
                <a:gd name="T39" fmla="*/ 212 h 916"/>
                <a:gd name="T40" fmla="*/ 128 w 1066"/>
                <a:gd name="T41" fmla="*/ 194 h 916"/>
                <a:gd name="T42" fmla="*/ 68 w 1066"/>
                <a:gd name="T43" fmla="*/ 176 h 916"/>
                <a:gd name="T44" fmla="*/ 60 w 1066"/>
                <a:gd name="T45" fmla="*/ 136 h 916"/>
                <a:gd name="T46" fmla="*/ 86 w 1066"/>
                <a:gd name="T47" fmla="*/ 120 h 916"/>
                <a:gd name="T48" fmla="*/ 86 w 1066"/>
                <a:gd name="T49" fmla="*/ 104 h 916"/>
                <a:gd name="T50" fmla="*/ 90 w 1066"/>
                <a:gd name="T51" fmla="*/ 82 h 916"/>
                <a:gd name="T52" fmla="*/ 130 w 1066"/>
                <a:gd name="T53" fmla="*/ 62 h 916"/>
                <a:gd name="T54" fmla="*/ 196 w 1066"/>
                <a:gd name="T55" fmla="*/ 66 h 916"/>
                <a:gd name="T56" fmla="*/ 276 w 1066"/>
                <a:gd name="T57" fmla="*/ 60 h 916"/>
                <a:gd name="T58" fmla="*/ 296 w 1066"/>
                <a:gd name="T59" fmla="*/ 98 h 916"/>
                <a:gd name="T60" fmla="*/ 310 w 1066"/>
                <a:gd name="T61" fmla="*/ 134 h 916"/>
                <a:gd name="T62" fmla="*/ 284 w 1066"/>
                <a:gd name="T63" fmla="*/ 136 h 916"/>
                <a:gd name="T64" fmla="*/ 294 w 1066"/>
                <a:gd name="T65" fmla="*/ 150 h 916"/>
                <a:gd name="T66" fmla="*/ 328 w 1066"/>
                <a:gd name="T67" fmla="*/ 164 h 916"/>
                <a:gd name="T68" fmla="*/ 344 w 1066"/>
                <a:gd name="T69" fmla="*/ 136 h 916"/>
                <a:gd name="T70" fmla="*/ 326 w 1066"/>
                <a:gd name="T71" fmla="*/ 120 h 916"/>
                <a:gd name="T72" fmla="*/ 340 w 1066"/>
                <a:gd name="T73" fmla="*/ 96 h 916"/>
                <a:gd name="T74" fmla="*/ 386 w 1066"/>
                <a:gd name="T75" fmla="*/ 126 h 916"/>
                <a:gd name="T76" fmla="*/ 390 w 1066"/>
                <a:gd name="T77" fmla="*/ 106 h 916"/>
                <a:gd name="T78" fmla="*/ 378 w 1066"/>
                <a:gd name="T79" fmla="*/ 70 h 916"/>
                <a:gd name="T80" fmla="*/ 412 w 1066"/>
                <a:gd name="T81" fmla="*/ 4 h 916"/>
                <a:gd name="T82" fmla="*/ 434 w 1066"/>
                <a:gd name="T83" fmla="*/ 6 h 916"/>
                <a:gd name="T84" fmla="*/ 462 w 1066"/>
                <a:gd name="T85" fmla="*/ 20 h 916"/>
                <a:gd name="T86" fmla="*/ 556 w 1066"/>
                <a:gd name="T87" fmla="*/ 20 h 916"/>
                <a:gd name="T88" fmla="*/ 578 w 1066"/>
                <a:gd name="T89" fmla="*/ 44 h 916"/>
                <a:gd name="T90" fmla="*/ 600 w 1066"/>
                <a:gd name="T91" fmla="*/ 68 h 916"/>
                <a:gd name="T92" fmla="*/ 622 w 1066"/>
                <a:gd name="T93" fmla="*/ 108 h 916"/>
                <a:gd name="T94" fmla="*/ 674 w 1066"/>
                <a:gd name="T95" fmla="*/ 154 h 916"/>
                <a:gd name="T96" fmla="*/ 726 w 1066"/>
                <a:gd name="T97" fmla="*/ 188 h 916"/>
                <a:gd name="T98" fmla="*/ 818 w 1066"/>
                <a:gd name="T99" fmla="*/ 184 h 916"/>
                <a:gd name="T100" fmla="*/ 860 w 1066"/>
                <a:gd name="T101" fmla="*/ 190 h 916"/>
                <a:gd name="T102" fmla="*/ 882 w 1066"/>
                <a:gd name="T103" fmla="*/ 214 h 916"/>
                <a:gd name="T104" fmla="*/ 922 w 1066"/>
                <a:gd name="T105" fmla="*/ 242 h 916"/>
                <a:gd name="T106" fmla="*/ 968 w 1066"/>
                <a:gd name="T107" fmla="*/ 256 h 916"/>
                <a:gd name="T108" fmla="*/ 1002 w 1066"/>
                <a:gd name="T109" fmla="*/ 286 h 916"/>
                <a:gd name="T110" fmla="*/ 1028 w 1066"/>
                <a:gd name="T111" fmla="*/ 282 h 916"/>
                <a:gd name="T112" fmla="*/ 1032 w 1066"/>
                <a:gd name="T113" fmla="*/ 336 h 916"/>
                <a:gd name="T114" fmla="*/ 904 w 1066"/>
                <a:gd name="T115" fmla="*/ 370 h 916"/>
                <a:gd name="T116" fmla="*/ 922 w 1066"/>
                <a:gd name="T117" fmla="*/ 484 h 916"/>
                <a:gd name="T118" fmla="*/ 924 w 1066"/>
                <a:gd name="T119" fmla="*/ 640 h 916"/>
                <a:gd name="T120" fmla="*/ 854 w 1066"/>
                <a:gd name="T121" fmla="*/ 796 h 9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066" h="916">
                  <a:moveTo>
                    <a:pt x="850" y="812"/>
                  </a:moveTo>
                  <a:lnTo>
                    <a:pt x="830" y="814"/>
                  </a:lnTo>
                  <a:lnTo>
                    <a:pt x="814" y="798"/>
                  </a:lnTo>
                  <a:lnTo>
                    <a:pt x="798" y="792"/>
                  </a:lnTo>
                  <a:lnTo>
                    <a:pt x="796" y="798"/>
                  </a:lnTo>
                  <a:lnTo>
                    <a:pt x="796" y="810"/>
                  </a:lnTo>
                  <a:lnTo>
                    <a:pt x="782" y="826"/>
                  </a:lnTo>
                  <a:lnTo>
                    <a:pt x="786" y="846"/>
                  </a:lnTo>
                  <a:lnTo>
                    <a:pt x="706" y="888"/>
                  </a:lnTo>
                  <a:lnTo>
                    <a:pt x="688" y="866"/>
                  </a:lnTo>
                  <a:lnTo>
                    <a:pt x="674" y="870"/>
                  </a:lnTo>
                  <a:lnTo>
                    <a:pt x="676" y="882"/>
                  </a:lnTo>
                  <a:lnTo>
                    <a:pt x="672" y="884"/>
                  </a:lnTo>
                  <a:lnTo>
                    <a:pt x="654" y="874"/>
                  </a:lnTo>
                  <a:lnTo>
                    <a:pt x="628" y="886"/>
                  </a:lnTo>
                  <a:lnTo>
                    <a:pt x="638" y="898"/>
                  </a:lnTo>
                  <a:lnTo>
                    <a:pt x="652" y="902"/>
                  </a:lnTo>
                  <a:lnTo>
                    <a:pt x="658" y="912"/>
                  </a:lnTo>
                  <a:lnTo>
                    <a:pt x="654" y="916"/>
                  </a:lnTo>
                  <a:lnTo>
                    <a:pt x="620" y="908"/>
                  </a:lnTo>
                  <a:lnTo>
                    <a:pt x="604" y="888"/>
                  </a:lnTo>
                  <a:lnTo>
                    <a:pt x="620" y="874"/>
                  </a:lnTo>
                  <a:lnTo>
                    <a:pt x="630" y="874"/>
                  </a:lnTo>
                  <a:lnTo>
                    <a:pt x="634" y="864"/>
                  </a:lnTo>
                  <a:lnTo>
                    <a:pt x="624" y="848"/>
                  </a:lnTo>
                  <a:lnTo>
                    <a:pt x="628" y="832"/>
                  </a:lnTo>
                  <a:lnTo>
                    <a:pt x="636" y="828"/>
                  </a:lnTo>
                  <a:lnTo>
                    <a:pt x="642" y="818"/>
                  </a:lnTo>
                  <a:lnTo>
                    <a:pt x="636" y="792"/>
                  </a:lnTo>
                  <a:lnTo>
                    <a:pt x="606" y="802"/>
                  </a:lnTo>
                  <a:lnTo>
                    <a:pt x="592" y="798"/>
                  </a:lnTo>
                  <a:lnTo>
                    <a:pt x="576" y="800"/>
                  </a:lnTo>
                  <a:lnTo>
                    <a:pt x="564" y="796"/>
                  </a:lnTo>
                  <a:lnTo>
                    <a:pt x="568" y="758"/>
                  </a:lnTo>
                  <a:lnTo>
                    <a:pt x="578" y="736"/>
                  </a:lnTo>
                  <a:lnTo>
                    <a:pt x="576" y="720"/>
                  </a:lnTo>
                  <a:lnTo>
                    <a:pt x="562" y="716"/>
                  </a:lnTo>
                  <a:lnTo>
                    <a:pt x="570" y="700"/>
                  </a:lnTo>
                  <a:lnTo>
                    <a:pt x="556" y="676"/>
                  </a:lnTo>
                  <a:lnTo>
                    <a:pt x="542" y="680"/>
                  </a:lnTo>
                  <a:lnTo>
                    <a:pt x="540" y="658"/>
                  </a:lnTo>
                  <a:lnTo>
                    <a:pt x="546" y="642"/>
                  </a:lnTo>
                  <a:lnTo>
                    <a:pt x="530" y="626"/>
                  </a:lnTo>
                  <a:lnTo>
                    <a:pt x="508" y="620"/>
                  </a:lnTo>
                  <a:lnTo>
                    <a:pt x="506" y="592"/>
                  </a:lnTo>
                  <a:lnTo>
                    <a:pt x="526" y="596"/>
                  </a:lnTo>
                  <a:lnTo>
                    <a:pt x="528" y="572"/>
                  </a:lnTo>
                  <a:lnTo>
                    <a:pt x="500" y="568"/>
                  </a:lnTo>
                  <a:lnTo>
                    <a:pt x="512" y="528"/>
                  </a:lnTo>
                  <a:lnTo>
                    <a:pt x="526" y="520"/>
                  </a:lnTo>
                  <a:lnTo>
                    <a:pt x="532" y="492"/>
                  </a:lnTo>
                  <a:lnTo>
                    <a:pt x="528" y="482"/>
                  </a:lnTo>
                  <a:lnTo>
                    <a:pt x="534" y="468"/>
                  </a:lnTo>
                  <a:lnTo>
                    <a:pt x="514" y="456"/>
                  </a:lnTo>
                  <a:lnTo>
                    <a:pt x="486" y="482"/>
                  </a:lnTo>
                  <a:lnTo>
                    <a:pt x="486" y="492"/>
                  </a:lnTo>
                  <a:lnTo>
                    <a:pt x="474" y="496"/>
                  </a:lnTo>
                  <a:lnTo>
                    <a:pt x="464" y="494"/>
                  </a:lnTo>
                  <a:lnTo>
                    <a:pt x="432" y="500"/>
                  </a:lnTo>
                  <a:lnTo>
                    <a:pt x="428" y="492"/>
                  </a:lnTo>
                  <a:lnTo>
                    <a:pt x="424" y="462"/>
                  </a:lnTo>
                  <a:lnTo>
                    <a:pt x="416" y="456"/>
                  </a:lnTo>
                  <a:lnTo>
                    <a:pt x="398" y="466"/>
                  </a:lnTo>
                  <a:lnTo>
                    <a:pt x="386" y="464"/>
                  </a:lnTo>
                  <a:lnTo>
                    <a:pt x="376" y="470"/>
                  </a:lnTo>
                  <a:lnTo>
                    <a:pt x="374" y="478"/>
                  </a:lnTo>
                  <a:lnTo>
                    <a:pt x="360" y="484"/>
                  </a:lnTo>
                  <a:lnTo>
                    <a:pt x="346" y="480"/>
                  </a:lnTo>
                  <a:lnTo>
                    <a:pt x="342" y="496"/>
                  </a:lnTo>
                  <a:lnTo>
                    <a:pt x="356" y="498"/>
                  </a:lnTo>
                  <a:lnTo>
                    <a:pt x="380" y="524"/>
                  </a:lnTo>
                  <a:lnTo>
                    <a:pt x="376" y="568"/>
                  </a:lnTo>
                  <a:lnTo>
                    <a:pt x="390" y="572"/>
                  </a:lnTo>
                  <a:lnTo>
                    <a:pt x="392" y="582"/>
                  </a:lnTo>
                  <a:lnTo>
                    <a:pt x="368" y="602"/>
                  </a:lnTo>
                  <a:lnTo>
                    <a:pt x="348" y="592"/>
                  </a:lnTo>
                  <a:lnTo>
                    <a:pt x="336" y="598"/>
                  </a:lnTo>
                  <a:lnTo>
                    <a:pt x="328" y="610"/>
                  </a:lnTo>
                  <a:lnTo>
                    <a:pt x="300" y="614"/>
                  </a:lnTo>
                  <a:lnTo>
                    <a:pt x="290" y="610"/>
                  </a:lnTo>
                  <a:lnTo>
                    <a:pt x="268" y="620"/>
                  </a:lnTo>
                  <a:lnTo>
                    <a:pt x="250" y="620"/>
                  </a:lnTo>
                  <a:lnTo>
                    <a:pt x="246" y="602"/>
                  </a:lnTo>
                  <a:lnTo>
                    <a:pt x="262" y="592"/>
                  </a:lnTo>
                  <a:lnTo>
                    <a:pt x="276" y="592"/>
                  </a:lnTo>
                  <a:lnTo>
                    <a:pt x="282" y="582"/>
                  </a:lnTo>
                  <a:lnTo>
                    <a:pt x="292" y="582"/>
                  </a:lnTo>
                  <a:lnTo>
                    <a:pt x="286" y="558"/>
                  </a:lnTo>
                  <a:lnTo>
                    <a:pt x="266" y="558"/>
                  </a:lnTo>
                  <a:lnTo>
                    <a:pt x="260" y="548"/>
                  </a:lnTo>
                  <a:lnTo>
                    <a:pt x="282" y="514"/>
                  </a:lnTo>
                  <a:lnTo>
                    <a:pt x="280" y="500"/>
                  </a:lnTo>
                  <a:lnTo>
                    <a:pt x="260" y="488"/>
                  </a:lnTo>
                  <a:lnTo>
                    <a:pt x="244" y="490"/>
                  </a:lnTo>
                  <a:lnTo>
                    <a:pt x="220" y="478"/>
                  </a:lnTo>
                  <a:lnTo>
                    <a:pt x="216" y="464"/>
                  </a:lnTo>
                  <a:lnTo>
                    <a:pt x="190" y="452"/>
                  </a:lnTo>
                  <a:lnTo>
                    <a:pt x="172" y="472"/>
                  </a:lnTo>
                  <a:lnTo>
                    <a:pt x="188" y="480"/>
                  </a:lnTo>
                  <a:lnTo>
                    <a:pt x="170" y="502"/>
                  </a:lnTo>
                  <a:lnTo>
                    <a:pt x="174" y="514"/>
                  </a:lnTo>
                  <a:lnTo>
                    <a:pt x="120" y="550"/>
                  </a:lnTo>
                  <a:lnTo>
                    <a:pt x="86" y="550"/>
                  </a:lnTo>
                  <a:lnTo>
                    <a:pt x="74" y="530"/>
                  </a:lnTo>
                  <a:lnTo>
                    <a:pt x="84" y="518"/>
                  </a:lnTo>
                  <a:lnTo>
                    <a:pt x="66" y="496"/>
                  </a:lnTo>
                  <a:lnTo>
                    <a:pt x="54" y="510"/>
                  </a:lnTo>
                  <a:lnTo>
                    <a:pt x="4" y="492"/>
                  </a:lnTo>
                  <a:lnTo>
                    <a:pt x="0" y="464"/>
                  </a:lnTo>
                  <a:lnTo>
                    <a:pt x="10" y="432"/>
                  </a:lnTo>
                  <a:lnTo>
                    <a:pt x="32" y="426"/>
                  </a:lnTo>
                  <a:lnTo>
                    <a:pt x="80" y="438"/>
                  </a:lnTo>
                  <a:lnTo>
                    <a:pt x="90" y="430"/>
                  </a:lnTo>
                  <a:lnTo>
                    <a:pt x="90" y="394"/>
                  </a:lnTo>
                  <a:lnTo>
                    <a:pt x="118" y="314"/>
                  </a:lnTo>
                  <a:lnTo>
                    <a:pt x="112" y="288"/>
                  </a:lnTo>
                  <a:lnTo>
                    <a:pt x="112" y="288"/>
                  </a:lnTo>
                  <a:lnTo>
                    <a:pt x="112" y="216"/>
                  </a:lnTo>
                  <a:lnTo>
                    <a:pt x="112" y="216"/>
                  </a:lnTo>
                  <a:lnTo>
                    <a:pt x="112" y="212"/>
                  </a:lnTo>
                  <a:lnTo>
                    <a:pt x="114" y="206"/>
                  </a:lnTo>
                  <a:lnTo>
                    <a:pt x="118" y="204"/>
                  </a:lnTo>
                  <a:lnTo>
                    <a:pt x="122" y="200"/>
                  </a:lnTo>
                  <a:lnTo>
                    <a:pt x="122" y="200"/>
                  </a:lnTo>
                  <a:lnTo>
                    <a:pt x="126" y="196"/>
                  </a:lnTo>
                  <a:lnTo>
                    <a:pt x="128" y="194"/>
                  </a:lnTo>
                  <a:lnTo>
                    <a:pt x="128" y="190"/>
                  </a:lnTo>
                  <a:lnTo>
                    <a:pt x="122" y="188"/>
                  </a:lnTo>
                  <a:lnTo>
                    <a:pt x="122" y="188"/>
                  </a:lnTo>
                  <a:lnTo>
                    <a:pt x="98" y="182"/>
                  </a:lnTo>
                  <a:lnTo>
                    <a:pt x="78" y="178"/>
                  </a:lnTo>
                  <a:lnTo>
                    <a:pt x="68" y="176"/>
                  </a:lnTo>
                  <a:lnTo>
                    <a:pt x="62" y="174"/>
                  </a:lnTo>
                  <a:lnTo>
                    <a:pt x="58" y="170"/>
                  </a:lnTo>
                  <a:lnTo>
                    <a:pt x="58" y="164"/>
                  </a:lnTo>
                  <a:lnTo>
                    <a:pt x="58" y="164"/>
                  </a:lnTo>
                  <a:lnTo>
                    <a:pt x="58" y="150"/>
                  </a:lnTo>
                  <a:lnTo>
                    <a:pt x="60" y="136"/>
                  </a:lnTo>
                  <a:lnTo>
                    <a:pt x="62" y="130"/>
                  </a:lnTo>
                  <a:lnTo>
                    <a:pt x="64" y="126"/>
                  </a:lnTo>
                  <a:lnTo>
                    <a:pt x="68" y="122"/>
                  </a:lnTo>
                  <a:lnTo>
                    <a:pt x="72" y="122"/>
                  </a:lnTo>
                  <a:lnTo>
                    <a:pt x="72" y="122"/>
                  </a:lnTo>
                  <a:lnTo>
                    <a:pt x="86" y="120"/>
                  </a:lnTo>
                  <a:lnTo>
                    <a:pt x="88" y="118"/>
                  </a:lnTo>
                  <a:lnTo>
                    <a:pt x="90" y="114"/>
                  </a:lnTo>
                  <a:lnTo>
                    <a:pt x="90" y="114"/>
                  </a:lnTo>
                  <a:lnTo>
                    <a:pt x="90" y="108"/>
                  </a:lnTo>
                  <a:lnTo>
                    <a:pt x="86" y="104"/>
                  </a:lnTo>
                  <a:lnTo>
                    <a:pt x="86" y="104"/>
                  </a:lnTo>
                  <a:lnTo>
                    <a:pt x="82" y="102"/>
                  </a:lnTo>
                  <a:lnTo>
                    <a:pt x="78" y="100"/>
                  </a:lnTo>
                  <a:lnTo>
                    <a:pt x="80" y="96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90" y="82"/>
                  </a:lnTo>
                  <a:lnTo>
                    <a:pt x="100" y="74"/>
                  </a:lnTo>
                  <a:lnTo>
                    <a:pt x="106" y="68"/>
                  </a:lnTo>
                  <a:lnTo>
                    <a:pt x="114" y="66"/>
                  </a:lnTo>
                  <a:lnTo>
                    <a:pt x="122" y="64"/>
                  </a:lnTo>
                  <a:lnTo>
                    <a:pt x="130" y="62"/>
                  </a:lnTo>
                  <a:lnTo>
                    <a:pt x="130" y="62"/>
                  </a:lnTo>
                  <a:lnTo>
                    <a:pt x="154" y="64"/>
                  </a:lnTo>
                  <a:lnTo>
                    <a:pt x="168" y="66"/>
                  </a:lnTo>
                  <a:lnTo>
                    <a:pt x="168" y="66"/>
                  </a:lnTo>
                  <a:lnTo>
                    <a:pt x="182" y="68"/>
                  </a:lnTo>
                  <a:lnTo>
                    <a:pt x="196" y="66"/>
                  </a:lnTo>
                  <a:lnTo>
                    <a:pt x="196" y="66"/>
                  </a:lnTo>
                  <a:lnTo>
                    <a:pt x="212" y="62"/>
                  </a:lnTo>
                  <a:lnTo>
                    <a:pt x="238" y="56"/>
                  </a:lnTo>
                  <a:lnTo>
                    <a:pt x="252" y="56"/>
                  </a:lnTo>
                  <a:lnTo>
                    <a:pt x="264" y="56"/>
                  </a:lnTo>
                  <a:lnTo>
                    <a:pt x="274" y="58"/>
                  </a:lnTo>
                  <a:lnTo>
                    <a:pt x="276" y="60"/>
                  </a:lnTo>
                  <a:lnTo>
                    <a:pt x="280" y="62"/>
                  </a:lnTo>
                  <a:lnTo>
                    <a:pt x="280" y="62"/>
                  </a:lnTo>
                  <a:lnTo>
                    <a:pt x="290" y="80"/>
                  </a:lnTo>
                  <a:lnTo>
                    <a:pt x="294" y="88"/>
                  </a:lnTo>
                  <a:lnTo>
                    <a:pt x="296" y="98"/>
                  </a:lnTo>
                  <a:lnTo>
                    <a:pt x="296" y="98"/>
                  </a:lnTo>
                  <a:lnTo>
                    <a:pt x="300" y="108"/>
                  </a:lnTo>
                  <a:lnTo>
                    <a:pt x="304" y="120"/>
                  </a:lnTo>
                  <a:lnTo>
                    <a:pt x="310" y="128"/>
                  </a:lnTo>
                  <a:lnTo>
                    <a:pt x="310" y="132"/>
                  </a:lnTo>
                  <a:lnTo>
                    <a:pt x="310" y="134"/>
                  </a:lnTo>
                  <a:lnTo>
                    <a:pt x="310" y="134"/>
                  </a:lnTo>
                  <a:lnTo>
                    <a:pt x="306" y="134"/>
                  </a:lnTo>
                  <a:lnTo>
                    <a:pt x="302" y="136"/>
                  </a:lnTo>
                  <a:lnTo>
                    <a:pt x="292" y="134"/>
                  </a:lnTo>
                  <a:lnTo>
                    <a:pt x="292" y="134"/>
                  </a:lnTo>
                  <a:lnTo>
                    <a:pt x="286" y="134"/>
                  </a:lnTo>
                  <a:lnTo>
                    <a:pt x="284" y="136"/>
                  </a:lnTo>
                  <a:lnTo>
                    <a:pt x="282" y="144"/>
                  </a:lnTo>
                  <a:lnTo>
                    <a:pt x="282" y="144"/>
                  </a:lnTo>
                  <a:lnTo>
                    <a:pt x="284" y="148"/>
                  </a:lnTo>
                  <a:lnTo>
                    <a:pt x="286" y="148"/>
                  </a:lnTo>
                  <a:lnTo>
                    <a:pt x="294" y="150"/>
                  </a:lnTo>
                  <a:lnTo>
                    <a:pt x="294" y="150"/>
                  </a:lnTo>
                  <a:lnTo>
                    <a:pt x="300" y="154"/>
                  </a:lnTo>
                  <a:lnTo>
                    <a:pt x="310" y="158"/>
                  </a:lnTo>
                  <a:lnTo>
                    <a:pt x="310" y="158"/>
                  </a:lnTo>
                  <a:lnTo>
                    <a:pt x="316" y="162"/>
                  </a:lnTo>
                  <a:lnTo>
                    <a:pt x="324" y="164"/>
                  </a:lnTo>
                  <a:lnTo>
                    <a:pt x="328" y="164"/>
                  </a:lnTo>
                  <a:lnTo>
                    <a:pt x="332" y="164"/>
                  </a:lnTo>
                  <a:lnTo>
                    <a:pt x="334" y="160"/>
                  </a:lnTo>
                  <a:lnTo>
                    <a:pt x="338" y="156"/>
                  </a:lnTo>
                  <a:lnTo>
                    <a:pt x="338" y="156"/>
                  </a:lnTo>
                  <a:lnTo>
                    <a:pt x="342" y="144"/>
                  </a:lnTo>
                  <a:lnTo>
                    <a:pt x="344" y="136"/>
                  </a:lnTo>
                  <a:lnTo>
                    <a:pt x="344" y="130"/>
                  </a:lnTo>
                  <a:lnTo>
                    <a:pt x="340" y="126"/>
                  </a:lnTo>
                  <a:lnTo>
                    <a:pt x="340" y="126"/>
                  </a:lnTo>
                  <a:lnTo>
                    <a:pt x="334" y="124"/>
                  </a:lnTo>
                  <a:lnTo>
                    <a:pt x="328" y="122"/>
                  </a:lnTo>
                  <a:lnTo>
                    <a:pt x="326" y="120"/>
                  </a:lnTo>
                  <a:lnTo>
                    <a:pt x="326" y="118"/>
                  </a:lnTo>
                  <a:lnTo>
                    <a:pt x="326" y="114"/>
                  </a:lnTo>
                  <a:lnTo>
                    <a:pt x="328" y="108"/>
                  </a:lnTo>
                  <a:lnTo>
                    <a:pt x="328" y="108"/>
                  </a:lnTo>
                  <a:lnTo>
                    <a:pt x="334" y="100"/>
                  </a:lnTo>
                  <a:lnTo>
                    <a:pt x="340" y="96"/>
                  </a:lnTo>
                  <a:lnTo>
                    <a:pt x="346" y="98"/>
                  </a:lnTo>
                  <a:lnTo>
                    <a:pt x="352" y="102"/>
                  </a:lnTo>
                  <a:lnTo>
                    <a:pt x="352" y="102"/>
                  </a:lnTo>
                  <a:lnTo>
                    <a:pt x="368" y="116"/>
                  </a:lnTo>
                  <a:lnTo>
                    <a:pt x="378" y="124"/>
                  </a:lnTo>
                  <a:lnTo>
                    <a:pt x="386" y="126"/>
                  </a:lnTo>
                  <a:lnTo>
                    <a:pt x="386" y="126"/>
                  </a:lnTo>
                  <a:lnTo>
                    <a:pt x="392" y="124"/>
                  </a:lnTo>
                  <a:lnTo>
                    <a:pt x="396" y="122"/>
                  </a:lnTo>
                  <a:lnTo>
                    <a:pt x="396" y="114"/>
                  </a:lnTo>
                  <a:lnTo>
                    <a:pt x="390" y="106"/>
                  </a:lnTo>
                  <a:lnTo>
                    <a:pt x="390" y="106"/>
                  </a:lnTo>
                  <a:lnTo>
                    <a:pt x="386" y="100"/>
                  </a:lnTo>
                  <a:lnTo>
                    <a:pt x="380" y="90"/>
                  </a:lnTo>
                  <a:lnTo>
                    <a:pt x="376" y="80"/>
                  </a:lnTo>
                  <a:lnTo>
                    <a:pt x="376" y="76"/>
                  </a:lnTo>
                  <a:lnTo>
                    <a:pt x="378" y="70"/>
                  </a:lnTo>
                  <a:lnTo>
                    <a:pt x="378" y="70"/>
                  </a:lnTo>
                  <a:lnTo>
                    <a:pt x="388" y="54"/>
                  </a:lnTo>
                  <a:lnTo>
                    <a:pt x="392" y="46"/>
                  </a:lnTo>
                  <a:lnTo>
                    <a:pt x="398" y="34"/>
                  </a:lnTo>
                  <a:lnTo>
                    <a:pt x="398" y="34"/>
                  </a:lnTo>
                  <a:lnTo>
                    <a:pt x="406" y="10"/>
                  </a:lnTo>
                  <a:lnTo>
                    <a:pt x="412" y="4"/>
                  </a:lnTo>
                  <a:lnTo>
                    <a:pt x="416" y="0"/>
                  </a:lnTo>
                  <a:lnTo>
                    <a:pt x="420" y="0"/>
                  </a:lnTo>
                  <a:lnTo>
                    <a:pt x="420" y="0"/>
                  </a:lnTo>
                  <a:lnTo>
                    <a:pt x="426" y="0"/>
                  </a:lnTo>
                  <a:lnTo>
                    <a:pt x="432" y="2"/>
                  </a:lnTo>
                  <a:lnTo>
                    <a:pt x="434" y="6"/>
                  </a:lnTo>
                  <a:lnTo>
                    <a:pt x="436" y="10"/>
                  </a:lnTo>
                  <a:lnTo>
                    <a:pt x="436" y="10"/>
                  </a:lnTo>
                  <a:lnTo>
                    <a:pt x="438" y="12"/>
                  </a:lnTo>
                  <a:lnTo>
                    <a:pt x="442" y="16"/>
                  </a:lnTo>
                  <a:lnTo>
                    <a:pt x="448" y="18"/>
                  </a:lnTo>
                  <a:lnTo>
                    <a:pt x="462" y="20"/>
                  </a:lnTo>
                  <a:lnTo>
                    <a:pt x="462" y="20"/>
                  </a:lnTo>
                  <a:lnTo>
                    <a:pt x="496" y="18"/>
                  </a:lnTo>
                  <a:lnTo>
                    <a:pt x="532" y="18"/>
                  </a:lnTo>
                  <a:lnTo>
                    <a:pt x="532" y="18"/>
                  </a:lnTo>
                  <a:lnTo>
                    <a:pt x="548" y="20"/>
                  </a:lnTo>
                  <a:lnTo>
                    <a:pt x="556" y="20"/>
                  </a:lnTo>
                  <a:lnTo>
                    <a:pt x="558" y="18"/>
                  </a:lnTo>
                  <a:lnTo>
                    <a:pt x="558" y="18"/>
                  </a:lnTo>
                  <a:lnTo>
                    <a:pt x="558" y="18"/>
                  </a:lnTo>
                  <a:lnTo>
                    <a:pt x="566" y="22"/>
                  </a:lnTo>
                  <a:lnTo>
                    <a:pt x="572" y="30"/>
                  </a:lnTo>
                  <a:lnTo>
                    <a:pt x="578" y="44"/>
                  </a:lnTo>
                  <a:lnTo>
                    <a:pt x="578" y="44"/>
                  </a:lnTo>
                  <a:lnTo>
                    <a:pt x="584" y="56"/>
                  </a:lnTo>
                  <a:lnTo>
                    <a:pt x="588" y="60"/>
                  </a:lnTo>
                  <a:lnTo>
                    <a:pt x="594" y="64"/>
                  </a:lnTo>
                  <a:lnTo>
                    <a:pt x="594" y="64"/>
                  </a:lnTo>
                  <a:lnTo>
                    <a:pt x="600" y="68"/>
                  </a:lnTo>
                  <a:lnTo>
                    <a:pt x="602" y="72"/>
                  </a:lnTo>
                  <a:lnTo>
                    <a:pt x="608" y="90"/>
                  </a:lnTo>
                  <a:lnTo>
                    <a:pt x="608" y="90"/>
                  </a:lnTo>
                  <a:lnTo>
                    <a:pt x="614" y="102"/>
                  </a:lnTo>
                  <a:lnTo>
                    <a:pt x="622" y="108"/>
                  </a:lnTo>
                  <a:lnTo>
                    <a:pt x="622" y="108"/>
                  </a:lnTo>
                  <a:lnTo>
                    <a:pt x="634" y="116"/>
                  </a:lnTo>
                  <a:lnTo>
                    <a:pt x="648" y="122"/>
                  </a:lnTo>
                  <a:lnTo>
                    <a:pt x="648" y="122"/>
                  </a:lnTo>
                  <a:lnTo>
                    <a:pt x="662" y="124"/>
                  </a:lnTo>
                  <a:lnTo>
                    <a:pt x="662" y="144"/>
                  </a:lnTo>
                  <a:lnTo>
                    <a:pt x="674" y="154"/>
                  </a:lnTo>
                  <a:lnTo>
                    <a:pt x="678" y="174"/>
                  </a:lnTo>
                  <a:lnTo>
                    <a:pt x="688" y="178"/>
                  </a:lnTo>
                  <a:lnTo>
                    <a:pt x="692" y="166"/>
                  </a:lnTo>
                  <a:lnTo>
                    <a:pt x="704" y="172"/>
                  </a:lnTo>
                  <a:lnTo>
                    <a:pt x="706" y="188"/>
                  </a:lnTo>
                  <a:lnTo>
                    <a:pt x="726" y="188"/>
                  </a:lnTo>
                  <a:lnTo>
                    <a:pt x="744" y="172"/>
                  </a:lnTo>
                  <a:lnTo>
                    <a:pt x="766" y="186"/>
                  </a:lnTo>
                  <a:lnTo>
                    <a:pt x="792" y="180"/>
                  </a:lnTo>
                  <a:lnTo>
                    <a:pt x="800" y="172"/>
                  </a:lnTo>
                  <a:lnTo>
                    <a:pt x="800" y="172"/>
                  </a:lnTo>
                  <a:lnTo>
                    <a:pt x="818" y="184"/>
                  </a:lnTo>
                  <a:lnTo>
                    <a:pt x="828" y="188"/>
                  </a:lnTo>
                  <a:lnTo>
                    <a:pt x="838" y="190"/>
                  </a:lnTo>
                  <a:lnTo>
                    <a:pt x="838" y="190"/>
                  </a:lnTo>
                  <a:lnTo>
                    <a:pt x="850" y="190"/>
                  </a:lnTo>
                  <a:lnTo>
                    <a:pt x="860" y="190"/>
                  </a:lnTo>
                  <a:lnTo>
                    <a:pt x="860" y="190"/>
                  </a:lnTo>
                  <a:lnTo>
                    <a:pt x="868" y="194"/>
                  </a:lnTo>
                  <a:lnTo>
                    <a:pt x="872" y="196"/>
                  </a:lnTo>
                  <a:lnTo>
                    <a:pt x="874" y="200"/>
                  </a:lnTo>
                  <a:lnTo>
                    <a:pt x="876" y="206"/>
                  </a:lnTo>
                  <a:lnTo>
                    <a:pt x="876" y="206"/>
                  </a:lnTo>
                  <a:lnTo>
                    <a:pt x="882" y="214"/>
                  </a:lnTo>
                  <a:lnTo>
                    <a:pt x="886" y="218"/>
                  </a:lnTo>
                  <a:lnTo>
                    <a:pt x="892" y="222"/>
                  </a:lnTo>
                  <a:lnTo>
                    <a:pt x="892" y="222"/>
                  </a:lnTo>
                  <a:lnTo>
                    <a:pt x="906" y="230"/>
                  </a:lnTo>
                  <a:lnTo>
                    <a:pt x="922" y="242"/>
                  </a:lnTo>
                  <a:lnTo>
                    <a:pt x="922" y="242"/>
                  </a:lnTo>
                  <a:lnTo>
                    <a:pt x="936" y="256"/>
                  </a:lnTo>
                  <a:lnTo>
                    <a:pt x="944" y="258"/>
                  </a:lnTo>
                  <a:lnTo>
                    <a:pt x="950" y="258"/>
                  </a:lnTo>
                  <a:lnTo>
                    <a:pt x="950" y="258"/>
                  </a:lnTo>
                  <a:lnTo>
                    <a:pt x="962" y="256"/>
                  </a:lnTo>
                  <a:lnTo>
                    <a:pt x="968" y="256"/>
                  </a:lnTo>
                  <a:lnTo>
                    <a:pt x="972" y="260"/>
                  </a:lnTo>
                  <a:lnTo>
                    <a:pt x="972" y="260"/>
                  </a:lnTo>
                  <a:lnTo>
                    <a:pt x="984" y="276"/>
                  </a:lnTo>
                  <a:lnTo>
                    <a:pt x="992" y="284"/>
                  </a:lnTo>
                  <a:lnTo>
                    <a:pt x="998" y="286"/>
                  </a:lnTo>
                  <a:lnTo>
                    <a:pt x="1002" y="286"/>
                  </a:lnTo>
                  <a:lnTo>
                    <a:pt x="1002" y="286"/>
                  </a:lnTo>
                  <a:lnTo>
                    <a:pt x="1010" y="284"/>
                  </a:lnTo>
                  <a:lnTo>
                    <a:pt x="1018" y="282"/>
                  </a:lnTo>
                  <a:lnTo>
                    <a:pt x="1024" y="280"/>
                  </a:lnTo>
                  <a:lnTo>
                    <a:pt x="1028" y="282"/>
                  </a:lnTo>
                  <a:lnTo>
                    <a:pt x="1028" y="282"/>
                  </a:lnTo>
                  <a:lnTo>
                    <a:pt x="1040" y="290"/>
                  </a:lnTo>
                  <a:lnTo>
                    <a:pt x="1056" y="294"/>
                  </a:lnTo>
                  <a:lnTo>
                    <a:pt x="1056" y="294"/>
                  </a:lnTo>
                  <a:lnTo>
                    <a:pt x="1066" y="298"/>
                  </a:lnTo>
                  <a:lnTo>
                    <a:pt x="1064" y="310"/>
                  </a:lnTo>
                  <a:lnTo>
                    <a:pt x="1032" y="336"/>
                  </a:lnTo>
                  <a:lnTo>
                    <a:pt x="1034" y="348"/>
                  </a:lnTo>
                  <a:lnTo>
                    <a:pt x="988" y="362"/>
                  </a:lnTo>
                  <a:lnTo>
                    <a:pt x="970" y="354"/>
                  </a:lnTo>
                  <a:lnTo>
                    <a:pt x="926" y="364"/>
                  </a:lnTo>
                  <a:lnTo>
                    <a:pt x="926" y="374"/>
                  </a:lnTo>
                  <a:lnTo>
                    <a:pt x="904" y="370"/>
                  </a:lnTo>
                  <a:lnTo>
                    <a:pt x="886" y="376"/>
                  </a:lnTo>
                  <a:lnTo>
                    <a:pt x="880" y="404"/>
                  </a:lnTo>
                  <a:lnTo>
                    <a:pt x="894" y="414"/>
                  </a:lnTo>
                  <a:lnTo>
                    <a:pt x="900" y="432"/>
                  </a:lnTo>
                  <a:lnTo>
                    <a:pt x="920" y="436"/>
                  </a:lnTo>
                  <a:lnTo>
                    <a:pt x="922" y="484"/>
                  </a:lnTo>
                  <a:lnTo>
                    <a:pt x="938" y="504"/>
                  </a:lnTo>
                  <a:lnTo>
                    <a:pt x="924" y="516"/>
                  </a:lnTo>
                  <a:lnTo>
                    <a:pt x="930" y="528"/>
                  </a:lnTo>
                  <a:lnTo>
                    <a:pt x="930" y="588"/>
                  </a:lnTo>
                  <a:lnTo>
                    <a:pt x="940" y="598"/>
                  </a:lnTo>
                  <a:lnTo>
                    <a:pt x="924" y="640"/>
                  </a:lnTo>
                  <a:lnTo>
                    <a:pt x="864" y="650"/>
                  </a:lnTo>
                  <a:lnTo>
                    <a:pt x="846" y="682"/>
                  </a:lnTo>
                  <a:lnTo>
                    <a:pt x="860" y="716"/>
                  </a:lnTo>
                  <a:lnTo>
                    <a:pt x="838" y="752"/>
                  </a:lnTo>
                  <a:lnTo>
                    <a:pt x="840" y="764"/>
                  </a:lnTo>
                  <a:lnTo>
                    <a:pt x="854" y="796"/>
                  </a:lnTo>
                  <a:lnTo>
                    <a:pt x="850" y="81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4126"/>
              <a:endParaRPr lang="de-DE" sz="1799" dirty="0">
                <a:solidFill>
                  <a:srgbClr val="3B3B3B"/>
                </a:solidFill>
                <a:latin typeface="EnBW DIN Pro"/>
              </a:endParaRPr>
            </a:p>
          </p:txBody>
        </p:sp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50111814-A705-45C1-BA39-5E6DB8865795}"/>
                </a:ext>
              </a:extLst>
            </p:cNvPr>
            <p:cNvSpPr>
              <a:spLocks/>
            </p:cNvSpPr>
            <p:nvPr/>
          </p:nvSpPr>
          <p:spPr bwMode="gray">
            <a:xfrm>
              <a:off x="3242" y="1641"/>
              <a:ext cx="718" cy="738"/>
            </a:xfrm>
            <a:custGeom>
              <a:avLst/>
              <a:gdLst>
                <a:gd name="T0" fmla="*/ 386 w 718"/>
                <a:gd name="T1" fmla="*/ 732 h 738"/>
                <a:gd name="T2" fmla="*/ 524 w 718"/>
                <a:gd name="T3" fmla="*/ 734 h 738"/>
                <a:gd name="T4" fmla="*/ 568 w 718"/>
                <a:gd name="T5" fmla="*/ 696 h 738"/>
                <a:gd name="T6" fmla="*/ 712 w 718"/>
                <a:gd name="T7" fmla="*/ 656 h 738"/>
                <a:gd name="T8" fmla="*/ 712 w 718"/>
                <a:gd name="T9" fmla="*/ 644 h 738"/>
                <a:gd name="T10" fmla="*/ 718 w 718"/>
                <a:gd name="T11" fmla="*/ 630 h 738"/>
                <a:gd name="T12" fmla="*/ 702 w 718"/>
                <a:gd name="T13" fmla="*/ 608 h 738"/>
                <a:gd name="T14" fmla="*/ 682 w 718"/>
                <a:gd name="T15" fmla="*/ 580 h 738"/>
                <a:gd name="T16" fmla="*/ 684 w 718"/>
                <a:gd name="T17" fmla="*/ 546 h 738"/>
                <a:gd name="T18" fmla="*/ 702 w 718"/>
                <a:gd name="T19" fmla="*/ 526 h 738"/>
                <a:gd name="T20" fmla="*/ 704 w 718"/>
                <a:gd name="T21" fmla="*/ 492 h 738"/>
                <a:gd name="T22" fmla="*/ 702 w 718"/>
                <a:gd name="T23" fmla="*/ 476 h 738"/>
                <a:gd name="T24" fmla="*/ 682 w 718"/>
                <a:gd name="T25" fmla="*/ 460 h 738"/>
                <a:gd name="T26" fmla="*/ 680 w 718"/>
                <a:gd name="T27" fmla="*/ 428 h 738"/>
                <a:gd name="T28" fmla="*/ 668 w 718"/>
                <a:gd name="T29" fmla="*/ 418 h 738"/>
                <a:gd name="T30" fmla="*/ 652 w 718"/>
                <a:gd name="T31" fmla="*/ 390 h 738"/>
                <a:gd name="T32" fmla="*/ 654 w 718"/>
                <a:gd name="T33" fmla="*/ 348 h 738"/>
                <a:gd name="T34" fmla="*/ 656 w 718"/>
                <a:gd name="T35" fmla="*/ 312 h 738"/>
                <a:gd name="T36" fmla="*/ 620 w 718"/>
                <a:gd name="T37" fmla="*/ 276 h 738"/>
                <a:gd name="T38" fmla="*/ 596 w 718"/>
                <a:gd name="T39" fmla="*/ 248 h 738"/>
                <a:gd name="T40" fmla="*/ 562 w 718"/>
                <a:gd name="T41" fmla="*/ 234 h 738"/>
                <a:gd name="T42" fmla="*/ 546 w 718"/>
                <a:gd name="T43" fmla="*/ 212 h 738"/>
                <a:gd name="T44" fmla="*/ 554 w 718"/>
                <a:gd name="T45" fmla="*/ 170 h 738"/>
                <a:gd name="T46" fmla="*/ 570 w 718"/>
                <a:gd name="T47" fmla="*/ 154 h 738"/>
                <a:gd name="T48" fmla="*/ 580 w 718"/>
                <a:gd name="T49" fmla="*/ 136 h 738"/>
                <a:gd name="T50" fmla="*/ 592 w 718"/>
                <a:gd name="T51" fmla="*/ 128 h 738"/>
                <a:gd name="T52" fmla="*/ 600 w 718"/>
                <a:gd name="T53" fmla="*/ 108 h 738"/>
                <a:gd name="T54" fmla="*/ 596 w 718"/>
                <a:gd name="T55" fmla="*/ 68 h 738"/>
                <a:gd name="T56" fmla="*/ 592 w 718"/>
                <a:gd name="T57" fmla="*/ 34 h 738"/>
                <a:gd name="T58" fmla="*/ 526 w 718"/>
                <a:gd name="T59" fmla="*/ 0 h 738"/>
                <a:gd name="T60" fmla="*/ 418 w 718"/>
                <a:gd name="T61" fmla="*/ 64 h 738"/>
                <a:gd name="T62" fmla="*/ 370 w 718"/>
                <a:gd name="T63" fmla="*/ 78 h 738"/>
                <a:gd name="T64" fmla="*/ 336 w 718"/>
                <a:gd name="T65" fmla="*/ 88 h 738"/>
                <a:gd name="T66" fmla="*/ 278 w 718"/>
                <a:gd name="T67" fmla="*/ 106 h 738"/>
                <a:gd name="T68" fmla="*/ 124 w 718"/>
                <a:gd name="T69" fmla="*/ 48 h 738"/>
                <a:gd name="T70" fmla="*/ 58 w 718"/>
                <a:gd name="T71" fmla="*/ 80 h 738"/>
                <a:gd name="T72" fmla="*/ 28 w 718"/>
                <a:gd name="T73" fmla="*/ 88 h 738"/>
                <a:gd name="T74" fmla="*/ 18 w 718"/>
                <a:gd name="T75" fmla="*/ 134 h 738"/>
                <a:gd name="T76" fmla="*/ 20 w 718"/>
                <a:gd name="T77" fmla="*/ 168 h 738"/>
                <a:gd name="T78" fmla="*/ 38 w 718"/>
                <a:gd name="T79" fmla="*/ 178 h 738"/>
                <a:gd name="T80" fmla="*/ 64 w 718"/>
                <a:gd name="T81" fmla="*/ 192 h 738"/>
                <a:gd name="T82" fmla="*/ 80 w 718"/>
                <a:gd name="T83" fmla="*/ 208 h 738"/>
                <a:gd name="T84" fmla="*/ 132 w 718"/>
                <a:gd name="T85" fmla="*/ 220 h 738"/>
                <a:gd name="T86" fmla="*/ 154 w 718"/>
                <a:gd name="T87" fmla="*/ 288 h 738"/>
                <a:gd name="T88" fmla="*/ 136 w 718"/>
                <a:gd name="T89" fmla="*/ 338 h 738"/>
                <a:gd name="T90" fmla="*/ 172 w 718"/>
                <a:gd name="T91" fmla="*/ 366 h 738"/>
                <a:gd name="T92" fmla="*/ 162 w 718"/>
                <a:gd name="T93" fmla="*/ 436 h 738"/>
                <a:gd name="T94" fmla="*/ 208 w 718"/>
                <a:gd name="T95" fmla="*/ 510 h 738"/>
                <a:gd name="T96" fmla="*/ 320 w 718"/>
                <a:gd name="T97" fmla="*/ 548 h 738"/>
                <a:gd name="T98" fmla="*/ 362 w 718"/>
                <a:gd name="T99" fmla="*/ 666 h 7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718" h="738">
                  <a:moveTo>
                    <a:pt x="362" y="666"/>
                  </a:moveTo>
                  <a:lnTo>
                    <a:pt x="386" y="688"/>
                  </a:lnTo>
                  <a:lnTo>
                    <a:pt x="378" y="712"/>
                  </a:lnTo>
                  <a:lnTo>
                    <a:pt x="386" y="732"/>
                  </a:lnTo>
                  <a:lnTo>
                    <a:pt x="410" y="720"/>
                  </a:lnTo>
                  <a:lnTo>
                    <a:pt x="444" y="718"/>
                  </a:lnTo>
                  <a:lnTo>
                    <a:pt x="470" y="738"/>
                  </a:lnTo>
                  <a:lnTo>
                    <a:pt x="524" y="734"/>
                  </a:lnTo>
                  <a:lnTo>
                    <a:pt x="546" y="724"/>
                  </a:lnTo>
                  <a:lnTo>
                    <a:pt x="564" y="728"/>
                  </a:lnTo>
                  <a:lnTo>
                    <a:pt x="572" y="710"/>
                  </a:lnTo>
                  <a:lnTo>
                    <a:pt x="568" y="696"/>
                  </a:lnTo>
                  <a:lnTo>
                    <a:pt x="588" y="674"/>
                  </a:lnTo>
                  <a:lnTo>
                    <a:pt x="624" y="680"/>
                  </a:lnTo>
                  <a:lnTo>
                    <a:pt x="650" y="668"/>
                  </a:lnTo>
                  <a:lnTo>
                    <a:pt x="712" y="656"/>
                  </a:lnTo>
                  <a:lnTo>
                    <a:pt x="712" y="656"/>
                  </a:lnTo>
                  <a:lnTo>
                    <a:pt x="710" y="652"/>
                  </a:lnTo>
                  <a:lnTo>
                    <a:pt x="710" y="652"/>
                  </a:lnTo>
                  <a:lnTo>
                    <a:pt x="712" y="644"/>
                  </a:lnTo>
                  <a:lnTo>
                    <a:pt x="714" y="640"/>
                  </a:lnTo>
                  <a:lnTo>
                    <a:pt x="716" y="636"/>
                  </a:lnTo>
                  <a:lnTo>
                    <a:pt x="718" y="630"/>
                  </a:lnTo>
                  <a:lnTo>
                    <a:pt x="718" y="630"/>
                  </a:lnTo>
                  <a:lnTo>
                    <a:pt x="716" y="624"/>
                  </a:lnTo>
                  <a:lnTo>
                    <a:pt x="714" y="620"/>
                  </a:lnTo>
                  <a:lnTo>
                    <a:pt x="708" y="614"/>
                  </a:lnTo>
                  <a:lnTo>
                    <a:pt x="702" y="608"/>
                  </a:lnTo>
                  <a:lnTo>
                    <a:pt x="696" y="602"/>
                  </a:lnTo>
                  <a:lnTo>
                    <a:pt x="696" y="602"/>
                  </a:lnTo>
                  <a:lnTo>
                    <a:pt x="686" y="588"/>
                  </a:lnTo>
                  <a:lnTo>
                    <a:pt x="682" y="580"/>
                  </a:lnTo>
                  <a:lnTo>
                    <a:pt x="680" y="570"/>
                  </a:lnTo>
                  <a:lnTo>
                    <a:pt x="680" y="570"/>
                  </a:lnTo>
                  <a:lnTo>
                    <a:pt x="682" y="554"/>
                  </a:lnTo>
                  <a:lnTo>
                    <a:pt x="684" y="546"/>
                  </a:lnTo>
                  <a:lnTo>
                    <a:pt x="690" y="538"/>
                  </a:lnTo>
                  <a:lnTo>
                    <a:pt x="690" y="538"/>
                  </a:lnTo>
                  <a:lnTo>
                    <a:pt x="698" y="532"/>
                  </a:lnTo>
                  <a:lnTo>
                    <a:pt x="702" y="526"/>
                  </a:lnTo>
                  <a:lnTo>
                    <a:pt x="702" y="520"/>
                  </a:lnTo>
                  <a:lnTo>
                    <a:pt x="702" y="520"/>
                  </a:lnTo>
                  <a:lnTo>
                    <a:pt x="702" y="506"/>
                  </a:lnTo>
                  <a:lnTo>
                    <a:pt x="704" y="492"/>
                  </a:lnTo>
                  <a:lnTo>
                    <a:pt x="704" y="492"/>
                  </a:lnTo>
                  <a:lnTo>
                    <a:pt x="706" y="486"/>
                  </a:lnTo>
                  <a:lnTo>
                    <a:pt x="704" y="480"/>
                  </a:lnTo>
                  <a:lnTo>
                    <a:pt x="702" y="476"/>
                  </a:lnTo>
                  <a:lnTo>
                    <a:pt x="694" y="470"/>
                  </a:lnTo>
                  <a:lnTo>
                    <a:pt x="694" y="470"/>
                  </a:lnTo>
                  <a:lnTo>
                    <a:pt x="688" y="464"/>
                  </a:lnTo>
                  <a:lnTo>
                    <a:pt x="682" y="460"/>
                  </a:lnTo>
                  <a:lnTo>
                    <a:pt x="680" y="454"/>
                  </a:lnTo>
                  <a:lnTo>
                    <a:pt x="680" y="446"/>
                  </a:lnTo>
                  <a:lnTo>
                    <a:pt x="680" y="446"/>
                  </a:lnTo>
                  <a:lnTo>
                    <a:pt x="680" y="428"/>
                  </a:lnTo>
                  <a:lnTo>
                    <a:pt x="678" y="424"/>
                  </a:lnTo>
                  <a:lnTo>
                    <a:pt x="674" y="420"/>
                  </a:lnTo>
                  <a:lnTo>
                    <a:pt x="674" y="420"/>
                  </a:lnTo>
                  <a:lnTo>
                    <a:pt x="668" y="418"/>
                  </a:lnTo>
                  <a:lnTo>
                    <a:pt x="660" y="412"/>
                  </a:lnTo>
                  <a:lnTo>
                    <a:pt x="656" y="404"/>
                  </a:lnTo>
                  <a:lnTo>
                    <a:pt x="652" y="390"/>
                  </a:lnTo>
                  <a:lnTo>
                    <a:pt x="652" y="390"/>
                  </a:lnTo>
                  <a:lnTo>
                    <a:pt x="650" y="364"/>
                  </a:lnTo>
                  <a:lnTo>
                    <a:pt x="650" y="354"/>
                  </a:lnTo>
                  <a:lnTo>
                    <a:pt x="654" y="348"/>
                  </a:lnTo>
                  <a:lnTo>
                    <a:pt x="654" y="348"/>
                  </a:lnTo>
                  <a:lnTo>
                    <a:pt x="658" y="340"/>
                  </a:lnTo>
                  <a:lnTo>
                    <a:pt x="660" y="332"/>
                  </a:lnTo>
                  <a:lnTo>
                    <a:pt x="660" y="322"/>
                  </a:lnTo>
                  <a:lnTo>
                    <a:pt x="656" y="312"/>
                  </a:lnTo>
                  <a:lnTo>
                    <a:pt x="656" y="312"/>
                  </a:lnTo>
                  <a:lnTo>
                    <a:pt x="648" y="302"/>
                  </a:lnTo>
                  <a:lnTo>
                    <a:pt x="634" y="288"/>
                  </a:lnTo>
                  <a:lnTo>
                    <a:pt x="620" y="276"/>
                  </a:lnTo>
                  <a:lnTo>
                    <a:pt x="612" y="266"/>
                  </a:lnTo>
                  <a:lnTo>
                    <a:pt x="612" y="266"/>
                  </a:lnTo>
                  <a:lnTo>
                    <a:pt x="604" y="258"/>
                  </a:lnTo>
                  <a:lnTo>
                    <a:pt x="596" y="248"/>
                  </a:lnTo>
                  <a:lnTo>
                    <a:pt x="584" y="242"/>
                  </a:lnTo>
                  <a:lnTo>
                    <a:pt x="572" y="238"/>
                  </a:lnTo>
                  <a:lnTo>
                    <a:pt x="572" y="238"/>
                  </a:lnTo>
                  <a:lnTo>
                    <a:pt x="562" y="234"/>
                  </a:lnTo>
                  <a:lnTo>
                    <a:pt x="554" y="226"/>
                  </a:lnTo>
                  <a:lnTo>
                    <a:pt x="550" y="222"/>
                  </a:lnTo>
                  <a:lnTo>
                    <a:pt x="548" y="216"/>
                  </a:lnTo>
                  <a:lnTo>
                    <a:pt x="546" y="212"/>
                  </a:lnTo>
                  <a:lnTo>
                    <a:pt x="548" y="204"/>
                  </a:lnTo>
                  <a:lnTo>
                    <a:pt x="548" y="204"/>
                  </a:lnTo>
                  <a:lnTo>
                    <a:pt x="550" y="178"/>
                  </a:lnTo>
                  <a:lnTo>
                    <a:pt x="554" y="170"/>
                  </a:lnTo>
                  <a:lnTo>
                    <a:pt x="556" y="166"/>
                  </a:lnTo>
                  <a:lnTo>
                    <a:pt x="558" y="164"/>
                  </a:lnTo>
                  <a:lnTo>
                    <a:pt x="558" y="164"/>
                  </a:lnTo>
                  <a:lnTo>
                    <a:pt x="570" y="154"/>
                  </a:lnTo>
                  <a:lnTo>
                    <a:pt x="574" y="150"/>
                  </a:lnTo>
                  <a:lnTo>
                    <a:pt x="576" y="146"/>
                  </a:lnTo>
                  <a:lnTo>
                    <a:pt x="576" y="146"/>
                  </a:lnTo>
                  <a:lnTo>
                    <a:pt x="580" y="136"/>
                  </a:lnTo>
                  <a:lnTo>
                    <a:pt x="584" y="132"/>
                  </a:lnTo>
                  <a:lnTo>
                    <a:pt x="588" y="130"/>
                  </a:lnTo>
                  <a:lnTo>
                    <a:pt x="588" y="130"/>
                  </a:lnTo>
                  <a:lnTo>
                    <a:pt x="592" y="128"/>
                  </a:lnTo>
                  <a:lnTo>
                    <a:pt x="596" y="122"/>
                  </a:lnTo>
                  <a:lnTo>
                    <a:pt x="600" y="116"/>
                  </a:lnTo>
                  <a:lnTo>
                    <a:pt x="600" y="108"/>
                  </a:lnTo>
                  <a:lnTo>
                    <a:pt x="600" y="108"/>
                  </a:lnTo>
                  <a:lnTo>
                    <a:pt x="600" y="100"/>
                  </a:lnTo>
                  <a:lnTo>
                    <a:pt x="596" y="90"/>
                  </a:lnTo>
                  <a:lnTo>
                    <a:pt x="594" y="80"/>
                  </a:lnTo>
                  <a:lnTo>
                    <a:pt x="596" y="68"/>
                  </a:lnTo>
                  <a:lnTo>
                    <a:pt x="596" y="68"/>
                  </a:lnTo>
                  <a:lnTo>
                    <a:pt x="602" y="44"/>
                  </a:lnTo>
                  <a:lnTo>
                    <a:pt x="604" y="34"/>
                  </a:lnTo>
                  <a:lnTo>
                    <a:pt x="592" y="34"/>
                  </a:lnTo>
                  <a:lnTo>
                    <a:pt x="574" y="64"/>
                  </a:lnTo>
                  <a:lnTo>
                    <a:pt x="558" y="62"/>
                  </a:lnTo>
                  <a:lnTo>
                    <a:pt x="560" y="38"/>
                  </a:lnTo>
                  <a:lnTo>
                    <a:pt x="526" y="0"/>
                  </a:lnTo>
                  <a:lnTo>
                    <a:pt x="508" y="2"/>
                  </a:lnTo>
                  <a:lnTo>
                    <a:pt x="494" y="24"/>
                  </a:lnTo>
                  <a:lnTo>
                    <a:pt x="436" y="20"/>
                  </a:lnTo>
                  <a:lnTo>
                    <a:pt x="418" y="64"/>
                  </a:lnTo>
                  <a:lnTo>
                    <a:pt x="408" y="66"/>
                  </a:lnTo>
                  <a:lnTo>
                    <a:pt x="400" y="80"/>
                  </a:lnTo>
                  <a:lnTo>
                    <a:pt x="388" y="72"/>
                  </a:lnTo>
                  <a:lnTo>
                    <a:pt x="370" y="78"/>
                  </a:lnTo>
                  <a:lnTo>
                    <a:pt x="366" y="90"/>
                  </a:lnTo>
                  <a:lnTo>
                    <a:pt x="356" y="88"/>
                  </a:lnTo>
                  <a:lnTo>
                    <a:pt x="350" y="82"/>
                  </a:lnTo>
                  <a:lnTo>
                    <a:pt x="336" y="88"/>
                  </a:lnTo>
                  <a:lnTo>
                    <a:pt x="334" y="104"/>
                  </a:lnTo>
                  <a:lnTo>
                    <a:pt x="306" y="116"/>
                  </a:lnTo>
                  <a:lnTo>
                    <a:pt x="302" y="102"/>
                  </a:lnTo>
                  <a:lnTo>
                    <a:pt x="278" y="106"/>
                  </a:lnTo>
                  <a:lnTo>
                    <a:pt x="236" y="86"/>
                  </a:lnTo>
                  <a:lnTo>
                    <a:pt x="190" y="82"/>
                  </a:lnTo>
                  <a:lnTo>
                    <a:pt x="148" y="50"/>
                  </a:lnTo>
                  <a:lnTo>
                    <a:pt x="124" y="48"/>
                  </a:lnTo>
                  <a:lnTo>
                    <a:pt x="116" y="44"/>
                  </a:lnTo>
                  <a:lnTo>
                    <a:pt x="102" y="52"/>
                  </a:lnTo>
                  <a:lnTo>
                    <a:pt x="102" y="66"/>
                  </a:lnTo>
                  <a:lnTo>
                    <a:pt x="58" y="80"/>
                  </a:lnTo>
                  <a:lnTo>
                    <a:pt x="58" y="72"/>
                  </a:lnTo>
                  <a:lnTo>
                    <a:pt x="46" y="72"/>
                  </a:lnTo>
                  <a:lnTo>
                    <a:pt x="34" y="90"/>
                  </a:lnTo>
                  <a:lnTo>
                    <a:pt x="28" y="88"/>
                  </a:lnTo>
                  <a:lnTo>
                    <a:pt x="4" y="100"/>
                  </a:lnTo>
                  <a:lnTo>
                    <a:pt x="0" y="110"/>
                  </a:lnTo>
                  <a:lnTo>
                    <a:pt x="6" y="130"/>
                  </a:lnTo>
                  <a:lnTo>
                    <a:pt x="18" y="134"/>
                  </a:lnTo>
                  <a:lnTo>
                    <a:pt x="30" y="152"/>
                  </a:lnTo>
                  <a:lnTo>
                    <a:pt x="18" y="164"/>
                  </a:lnTo>
                  <a:lnTo>
                    <a:pt x="18" y="164"/>
                  </a:lnTo>
                  <a:lnTo>
                    <a:pt x="20" y="168"/>
                  </a:lnTo>
                  <a:lnTo>
                    <a:pt x="24" y="172"/>
                  </a:lnTo>
                  <a:lnTo>
                    <a:pt x="30" y="176"/>
                  </a:lnTo>
                  <a:lnTo>
                    <a:pt x="38" y="178"/>
                  </a:lnTo>
                  <a:lnTo>
                    <a:pt x="38" y="178"/>
                  </a:lnTo>
                  <a:lnTo>
                    <a:pt x="54" y="186"/>
                  </a:lnTo>
                  <a:lnTo>
                    <a:pt x="60" y="188"/>
                  </a:lnTo>
                  <a:lnTo>
                    <a:pt x="64" y="192"/>
                  </a:lnTo>
                  <a:lnTo>
                    <a:pt x="64" y="192"/>
                  </a:lnTo>
                  <a:lnTo>
                    <a:pt x="70" y="202"/>
                  </a:lnTo>
                  <a:lnTo>
                    <a:pt x="74" y="206"/>
                  </a:lnTo>
                  <a:lnTo>
                    <a:pt x="80" y="208"/>
                  </a:lnTo>
                  <a:lnTo>
                    <a:pt x="80" y="208"/>
                  </a:lnTo>
                  <a:lnTo>
                    <a:pt x="94" y="214"/>
                  </a:lnTo>
                  <a:lnTo>
                    <a:pt x="104" y="206"/>
                  </a:lnTo>
                  <a:lnTo>
                    <a:pt x="124" y="210"/>
                  </a:lnTo>
                  <a:lnTo>
                    <a:pt x="132" y="220"/>
                  </a:lnTo>
                  <a:lnTo>
                    <a:pt x="150" y="220"/>
                  </a:lnTo>
                  <a:lnTo>
                    <a:pt x="160" y="250"/>
                  </a:lnTo>
                  <a:lnTo>
                    <a:pt x="142" y="262"/>
                  </a:lnTo>
                  <a:lnTo>
                    <a:pt x="154" y="288"/>
                  </a:lnTo>
                  <a:lnTo>
                    <a:pt x="148" y="306"/>
                  </a:lnTo>
                  <a:lnTo>
                    <a:pt x="140" y="308"/>
                  </a:lnTo>
                  <a:lnTo>
                    <a:pt x="130" y="320"/>
                  </a:lnTo>
                  <a:lnTo>
                    <a:pt x="136" y="338"/>
                  </a:lnTo>
                  <a:lnTo>
                    <a:pt x="142" y="344"/>
                  </a:lnTo>
                  <a:lnTo>
                    <a:pt x="150" y="340"/>
                  </a:lnTo>
                  <a:lnTo>
                    <a:pt x="170" y="352"/>
                  </a:lnTo>
                  <a:lnTo>
                    <a:pt x="172" y="366"/>
                  </a:lnTo>
                  <a:lnTo>
                    <a:pt x="166" y="380"/>
                  </a:lnTo>
                  <a:lnTo>
                    <a:pt x="166" y="400"/>
                  </a:lnTo>
                  <a:lnTo>
                    <a:pt x="170" y="416"/>
                  </a:lnTo>
                  <a:lnTo>
                    <a:pt x="162" y="436"/>
                  </a:lnTo>
                  <a:lnTo>
                    <a:pt x="172" y="448"/>
                  </a:lnTo>
                  <a:lnTo>
                    <a:pt x="154" y="466"/>
                  </a:lnTo>
                  <a:lnTo>
                    <a:pt x="196" y="516"/>
                  </a:lnTo>
                  <a:lnTo>
                    <a:pt x="208" y="510"/>
                  </a:lnTo>
                  <a:lnTo>
                    <a:pt x="232" y="530"/>
                  </a:lnTo>
                  <a:lnTo>
                    <a:pt x="256" y="518"/>
                  </a:lnTo>
                  <a:lnTo>
                    <a:pt x="306" y="548"/>
                  </a:lnTo>
                  <a:lnTo>
                    <a:pt x="320" y="548"/>
                  </a:lnTo>
                  <a:lnTo>
                    <a:pt x="360" y="574"/>
                  </a:lnTo>
                  <a:lnTo>
                    <a:pt x="372" y="620"/>
                  </a:lnTo>
                  <a:lnTo>
                    <a:pt x="354" y="650"/>
                  </a:lnTo>
                  <a:lnTo>
                    <a:pt x="362" y="66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4126"/>
              <a:endParaRPr lang="de-DE" sz="1799" dirty="0">
                <a:solidFill>
                  <a:srgbClr val="3B3B3B"/>
                </a:solidFill>
                <a:latin typeface="EnBW DIN Pro"/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D680DE6E-DEB4-42F6-9F24-8326054702AB}"/>
                </a:ext>
              </a:extLst>
            </p:cNvPr>
            <p:cNvSpPr>
              <a:spLocks/>
            </p:cNvSpPr>
            <p:nvPr/>
          </p:nvSpPr>
          <p:spPr bwMode="gray">
            <a:xfrm>
              <a:off x="2564" y="1193"/>
              <a:ext cx="42" cy="28"/>
            </a:xfrm>
            <a:custGeom>
              <a:avLst/>
              <a:gdLst>
                <a:gd name="T0" fmla="*/ 26 w 42"/>
                <a:gd name="T1" fmla="*/ 28 h 28"/>
                <a:gd name="T2" fmla="*/ 26 w 42"/>
                <a:gd name="T3" fmla="*/ 28 h 28"/>
                <a:gd name="T4" fmla="*/ 34 w 42"/>
                <a:gd name="T5" fmla="*/ 28 h 28"/>
                <a:gd name="T6" fmla="*/ 36 w 42"/>
                <a:gd name="T7" fmla="*/ 26 h 28"/>
                <a:gd name="T8" fmla="*/ 38 w 42"/>
                <a:gd name="T9" fmla="*/ 22 h 28"/>
                <a:gd name="T10" fmla="*/ 38 w 42"/>
                <a:gd name="T11" fmla="*/ 22 h 28"/>
                <a:gd name="T12" fmla="*/ 40 w 42"/>
                <a:gd name="T13" fmla="*/ 18 h 28"/>
                <a:gd name="T14" fmla="*/ 42 w 42"/>
                <a:gd name="T15" fmla="*/ 10 h 28"/>
                <a:gd name="T16" fmla="*/ 40 w 42"/>
                <a:gd name="T17" fmla="*/ 4 h 28"/>
                <a:gd name="T18" fmla="*/ 38 w 42"/>
                <a:gd name="T19" fmla="*/ 4 h 28"/>
                <a:gd name="T20" fmla="*/ 36 w 42"/>
                <a:gd name="T21" fmla="*/ 2 h 28"/>
                <a:gd name="T22" fmla="*/ 36 w 42"/>
                <a:gd name="T23" fmla="*/ 2 h 28"/>
                <a:gd name="T24" fmla="*/ 16 w 42"/>
                <a:gd name="T25" fmla="*/ 0 h 28"/>
                <a:gd name="T26" fmla="*/ 8 w 42"/>
                <a:gd name="T27" fmla="*/ 2 h 28"/>
                <a:gd name="T28" fmla="*/ 4 w 42"/>
                <a:gd name="T29" fmla="*/ 4 h 28"/>
                <a:gd name="T30" fmla="*/ 2 w 42"/>
                <a:gd name="T31" fmla="*/ 8 h 28"/>
                <a:gd name="T32" fmla="*/ 2 w 42"/>
                <a:gd name="T33" fmla="*/ 8 h 28"/>
                <a:gd name="T34" fmla="*/ 0 w 42"/>
                <a:gd name="T35" fmla="*/ 12 h 28"/>
                <a:gd name="T36" fmla="*/ 0 w 42"/>
                <a:gd name="T37" fmla="*/ 16 h 28"/>
                <a:gd name="T38" fmla="*/ 2 w 42"/>
                <a:gd name="T39" fmla="*/ 18 h 28"/>
                <a:gd name="T40" fmla="*/ 6 w 42"/>
                <a:gd name="T41" fmla="*/ 20 h 28"/>
                <a:gd name="T42" fmla="*/ 6 w 42"/>
                <a:gd name="T43" fmla="*/ 20 h 28"/>
                <a:gd name="T44" fmla="*/ 10 w 42"/>
                <a:gd name="T45" fmla="*/ 22 h 28"/>
                <a:gd name="T46" fmla="*/ 14 w 42"/>
                <a:gd name="T47" fmla="*/ 24 h 28"/>
                <a:gd name="T48" fmla="*/ 14 w 42"/>
                <a:gd name="T49" fmla="*/ 24 h 28"/>
                <a:gd name="T50" fmla="*/ 18 w 42"/>
                <a:gd name="T51" fmla="*/ 28 h 28"/>
                <a:gd name="T52" fmla="*/ 26 w 42"/>
                <a:gd name="T53" fmla="*/ 28 h 28"/>
                <a:gd name="T54" fmla="*/ 26 w 42"/>
                <a:gd name="T5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2" h="28">
                  <a:moveTo>
                    <a:pt x="26" y="28"/>
                  </a:moveTo>
                  <a:lnTo>
                    <a:pt x="26" y="28"/>
                  </a:lnTo>
                  <a:lnTo>
                    <a:pt x="34" y="28"/>
                  </a:lnTo>
                  <a:lnTo>
                    <a:pt x="36" y="26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40" y="18"/>
                  </a:lnTo>
                  <a:lnTo>
                    <a:pt x="42" y="10"/>
                  </a:lnTo>
                  <a:lnTo>
                    <a:pt x="40" y="4"/>
                  </a:lnTo>
                  <a:lnTo>
                    <a:pt x="38" y="4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16" y="0"/>
                  </a:lnTo>
                  <a:lnTo>
                    <a:pt x="8" y="2"/>
                  </a:lnTo>
                  <a:lnTo>
                    <a:pt x="4" y="4"/>
                  </a:lnTo>
                  <a:lnTo>
                    <a:pt x="2" y="8"/>
                  </a:lnTo>
                  <a:lnTo>
                    <a:pt x="2" y="8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2" y="18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10" y="22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8" y="28"/>
                  </a:lnTo>
                  <a:lnTo>
                    <a:pt x="26" y="28"/>
                  </a:lnTo>
                  <a:lnTo>
                    <a:pt x="26" y="28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4126"/>
              <a:endParaRPr lang="de-DE" sz="1799" dirty="0">
                <a:solidFill>
                  <a:srgbClr val="3B3B3B"/>
                </a:solidFill>
                <a:latin typeface="EnBW DIN Pro"/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22477391-4494-46B3-8255-099D49411237}"/>
                </a:ext>
              </a:extLst>
            </p:cNvPr>
            <p:cNvSpPr>
              <a:spLocks/>
            </p:cNvSpPr>
            <p:nvPr/>
          </p:nvSpPr>
          <p:spPr bwMode="gray">
            <a:xfrm>
              <a:off x="2538" y="1205"/>
              <a:ext cx="22" cy="36"/>
            </a:xfrm>
            <a:custGeom>
              <a:avLst/>
              <a:gdLst>
                <a:gd name="T0" fmla="*/ 4 w 22"/>
                <a:gd name="T1" fmla="*/ 8 h 36"/>
                <a:gd name="T2" fmla="*/ 4 w 22"/>
                <a:gd name="T3" fmla="*/ 8 h 36"/>
                <a:gd name="T4" fmla="*/ 0 w 22"/>
                <a:gd name="T5" fmla="*/ 16 h 36"/>
                <a:gd name="T6" fmla="*/ 0 w 22"/>
                <a:gd name="T7" fmla="*/ 20 h 36"/>
                <a:gd name="T8" fmla="*/ 2 w 22"/>
                <a:gd name="T9" fmla="*/ 26 h 36"/>
                <a:gd name="T10" fmla="*/ 2 w 22"/>
                <a:gd name="T11" fmla="*/ 26 h 36"/>
                <a:gd name="T12" fmla="*/ 6 w 22"/>
                <a:gd name="T13" fmla="*/ 34 h 36"/>
                <a:gd name="T14" fmla="*/ 8 w 22"/>
                <a:gd name="T15" fmla="*/ 34 h 36"/>
                <a:gd name="T16" fmla="*/ 12 w 22"/>
                <a:gd name="T17" fmla="*/ 36 h 36"/>
                <a:gd name="T18" fmla="*/ 12 w 22"/>
                <a:gd name="T19" fmla="*/ 36 h 36"/>
                <a:gd name="T20" fmla="*/ 20 w 22"/>
                <a:gd name="T21" fmla="*/ 34 h 36"/>
                <a:gd name="T22" fmla="*/ 22 w 22"/>
                <a:gd name="T23" fmla="*/ 30 h 36"/>
                <a:gd name="T24" fmla="*/ 22 w 22"/>
                <a:gd name="T25" fmla="*/ 28 h 36"/>
                <a:gd name="T26" fmla="*/ 22 w 22"/>
                <a:gd name="T27" fmla="*/ 28 h 36"/>
                <a:gd name="T28" fmla="*/ 14 w 22"/>
                <a:gd name="T29" fmla="*/ 18 h 36"/>
                <a:gd name="T30" fmla="*/ 12 w 22"/>
                <a:gd name="T31" fmla="*/ 14 h 36"/>
                <a:gd name="T32" fmla="*/ 12 w 22"/>
                <a:gd name="T33" fmla="*/ 10 h 36"/>
                <a:gd name="T34" fmla="*/ 12 w 22"/>
                <a:gd name="T35" fmla="*/ 10 h 36"/>
                <a:gd name="T36" fmla="*/ 16 w 22"/>
                <a:gd name="T37" fmla="*/ 4 h 36"/>
                <a:gd name="T38" fmla="*/ 16 w 22"/>
                <a:gd name="T39" fmla="*/ 2 h 36"/>
                <a:gd name="T40" fmla="*/ 16 w 22"/>
                <a:gd name="T41" fmla="*/ 0 h 36"/>
                <a:gd name="T42" fmla="*/ 16 w 22"/>
                <a:gd name="T43" fmla="*/ 0 h 36"/>
                <a:gd name="T44" fmla="*/ 14 w 22"/>
                <a:gd name="T45" fmla="*/ 0 h 36"/>
                <a:gd name="T46" fmla="*/ 12 w 22"/>
                <a:gd name="T47" fmla="*/ 0 h 36"/>
                <a:gd name="T48" fmla="*/ 4 w 22"/>
                <a:gd name="T49" fmla="*/ 8 h 36"/>
                <a:gd name="T50" fmla="*/ 4 w 22"/>
                <a:gd name="T51" fmla="*/ 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2" h="36">
                  <a:moveTo>
                    <a:pt x="4" y="8"/>
                  </a:moveTo>
                  <a:lnTo>
                    <a:pt x="4" y="8"/>
                  </a:lnTo>
                  <a:lnTo>
                    <a:pt x="0" y="16"/>
                  </a:lnTo>
                  <a:lnTo>
                    <a:pt x="0" y="20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6" y="34"/>
                  </a:lnTo>
                  <a:lnTo>
                    <a:pt x="8" y="34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20" y="34"/>
                  </a:lnTo>
                  <a:lnTo>
                    <a:pt x="22" y="30"/>
                  </a:lnTo>
                  <a:lnTo>
                    <a:pt x="22" y="28"/>
                  </a:lnTo>
                  <a:lnTo>
                    <a:pt x="22" y="28"/>
                  </a:lnTo>
                  <a:lnTo>
                    <a:pt x="14" y="18"/>
                  </a:lnTo>
                  <a:lnTo>
                    <a:pt x="12" y="14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6" y="4"/>
                  </a:lnTo>
                  <a:lnTo>
                    <a:pt x="16" y="2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12" y="0"/>
                  </a:lnTo>
                  <a:lnTo>
                    <a:pt x="4" y="8"/>
                  </a:lnTo>
                  <a:lnTo>
                    <a:pt x="4" y="8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4126"/>
              <a:endParaRPr lang="de-DE" sz="1799" dirty="0">
                <a:solidFill>
                  <a:srgbClr val="3B3B3B"/>
                </a:solidFill>
                <a:latin typeface="EnBW DIN Pro"/>
              </a:endParaRPr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8C058223-8773-4878-9E46-B74D45C7FF92}"/>
                </a:ext>
              </a:extLst>
            </p:cNvPr>
            <p:cNvSpPr>
              <a:spLocks/>
            </p:cNvSpPr>
            <p:nvPr/>
          </p:nvSpPr>
          <p:spPr bwMode="gray">
            <a:xfrm>
              <a:off x="2590" y="1229"/>
              <a:ext cx="26" cy="18"/>
            </a:xfrm>
            <a:custGeom>
              <a:avLst/>
              <a:gdLst>
                <a:gd name="T0" fmla="*/ 0 w 26"/>
                <a:gd name="T1" fmla="*/ 14 h 18"/>
                <a:gd name="T2" fmla="*/ 0 w 26"/>
                <a:gd name="T3" fmla="*/ 14 h 18"/>
                <a:gd name="T4" fmla="*/ 0 w 26"/>
                <a:gd name="T5" fmla="*/ 12 h 18"/>
                <a:gd name="T6" fmla="*/ 0 w 26"/>
                <a:gd name="T7" fmla="*/ 10 h 18"/>
                <a:gd name="T8" fmla="*/ 6 w 26"/>
                <a:gd name="T9" fmla="*/ 6 h 18"/>
                <a:gd name="T10" fmla="*/ 6 w 26"/>
                <a:gd name="T11" fmla="*/ 6 h 18"/>
                <a:gd name="T12" fmla="*/ 18 w 26"/>
                <a:gd name="T13" fmla="*/ 2 h 18"/>
                <a:gd name="T14" fmla="*/ 24 w 26"/>
                <a:gd name="T15" fmla="*/ 0 h 18"/>
                <a:gd name="T16" fmla="*/ 26 w 26"/>
                <a:gd name="T17" fmla="*/ 0 h 18"/>
                <a:gd name="T18" fmla="*/ 26 w 26"/>
                <a:gd name="T19" fmla="*/ 2 h 18"/>
                <a:gd name="T20" fmla="*/ 26 w 26"/>
                <a:gd name="T21" fmla="*/ 2 h 18"/>
                <a:gd name="T22" fmla="*/ 26 w 26"/>
                <a:gd name="T23" fmla="*/ 4 h 18"/>
                <a:gd name="T24" fmla="*/ 24 w 26"/>
                <a:gd name="T25" fmla="*/ 6 h 18"/>
                <a:gd name="T26" fmla="*/ 16 w 26"/>
                <a:gd name="T27" fmla="*/ 10 h 18"/>
                <a:gd name="T28" fmla="*/ 16 w 26"/>
                <a:gd name="T29" fmla="*/ 10 h 18"/>
                <a:gd name="T30" fmla="*/ 12 w 26"/>
                <a:gd name="T31" fmla="*/ 12 h 18"/>
                <a:gd name="T32" fmla="*/ 8 w 26"/>
                <a:gd name="T33" fmla="*/ 16 h 18"/>
                <a:gd name="T34" fmla="*/ 8 w 26"/>
                <a:gd name="T35" fmla="*/ 16 h 18"/>
                <a:gd name="T36" fmla="*/ 4 w 26"/>
                <a:gd name="T37" fmla="*/ 18 h 18"/>
                <a:gd name="T38" fmla="*/ 0 w 26"/>
                <a:gd name="T39" fmla="*/ 14 h 18"/>
                <a:gd name="T40" fmla="*/ 0 w 26"/>
                <a:gd name="T41" fmla="*/ 1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6" h="18">
                  <a:moveTo>
                    <a:pt x="0" y="14"/>
                  </a:moveTo>
                  <a:lnTo>
                    <a:pt x="0" y="14"/>
                  </a:lnTo>
                  <a:lnTo>
                    <a:pt x="0" y="12"/>
                  </a:lnTo>
                  <a:lnTo>
                    <a:pt x="0" y="10"/>
                  </a:lnTo>
                  <a:lnTo>
                    <a:pt x="6" y="6"/>
                  </a:lnTo>
                  <a:lnTo>
                    <a:pt x="6" y="6"/>
                  </a:lnTo>
                  <a:lnTo>
                    <a:pt x="18" y="2"/>
                  </a:lnTo>
                  <a:lnTo>
                    <a:pt x="24" y="0"/>
                  </a:lnTo>
                  <a:lnTo>
                    <a:pt x="26" y="0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26" y="4"/>
                  </a:lnTo>
                  <a:lnTo>
                    <a:pt x="24" y="6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2" y="12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4" y="18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4126"/>
              <a:endParaRPr lang="de-DE" sz="1799" dirty="0">
                <a:solidFill>
                  <a:srgbClr val="3B3B3B"/>
                </a:solidFill>
                <a:latin typeface="EnBW DIN Pro"/>
              </a:endParaRPr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CB4CF449-A147-434E-801F-57477795747D}"/>
                </a:ext>
              </a:extLst>
            </p:cNvPr>
            <p:cNvSpPr>
              <a:spLocks/>
            </p:cNvSpPr>
            <p:nvPr/>
          </p:nvSpPr>
          <p:spPr bwMode="gray">
            <a:xfrm>
              <a:off x="2604" y="1267"/>
              <a:ext cx="24" cy="26"/>
            </a:xfrm>
            <a:custGeom>
              <a:avLst/>
              <a:gdLst>
                <a:gd name="T0" fmla="*/ 6 w 24"/>
                <a:gd name="T1" fmla="*/ 6 h 26"/>
                <a:gd name="T2" fmla="*/ 6 w 24"/>
                <a:gd name="T3" fmla="*/ 6 h 26"/>
                <a:gd name="T4" fmla="*/ 14 w 24"/>
                <a:gd name="T5" fmla="*/ 0 h 26"/>
                <a:gd name="T6" fmla="*/ 18 w 24"/>
                <a:gd name="T7" fmla="*/ 0 h 26"/>
                <a:gd name="T8" fmla="*/ 20 w 24"/>
                <a:gd name="T9" fmla="*/ 2 h 26"/>
                <a:gd name="T10" fmla="*/ 20 w 24"/>
                <a:gd name="T11" fmla="*/ 2 h 26"/>
                <a:gd name="T12" fmla="*/ 24 w 24"/>
                <a:gd name="T13" fmla="*/ 8 h 26"/>
                <a:gd name="T14" fmla="*/ 20 w 24"/>
                <a:gd name="T15" fmla="*/ 14 h 26"/>
                <a:gd name="T16" fmla="*/ 20 w 24"/>
                <a:gd name="T17" fmla="*/ 14 h 26"/>
                <a:gd name="T18" fmla="*/ 14 w 24"/>
                <a:gd name="T19" fmla="*/ 24 h 26"/>
                <a:gd name="T20" fmla="*/ 10 w 24"/>
                <a:gd name="T21" fmla="*/ 26 h 26"/>
                <a:gd name="T22" fmla="*/ 6 w 24"/>
                <a:gd name="T23" fmla="*/ 24 h 26"/>
                <a:gd name="T24" fmla="*/ 6 w 24"/>
                <a:gd name="T25" fmla="*/ 24 h 26"/>
                <a:gd name="T26" fmla="*/ 2 w 24"/>
                <a:gd name="T27" fmla="*/ 20 h 26"/>
                <a:gd name="T28" fmla="*/ 0 w 24"/>
                <a:gd name="T29" fmla="*/ 16 h 26"/>
                <a:gd name="T30" fmla="*/ 2 w 24"/>
                <a:gd name="T31" fmla="*/ 12 h 26"/>
                <a:gd name="T32" fmla="*/ 6 w 24"/>
                <a:gd name="T33" fmla="*/ 6 h 26"/>
                <a:gd name="T34" fmla="*/ 6 w 24"/>
                <a:gd name="T35" fmla="*/ 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" h="26">
                  <a:moveTo>
                    <a:pt x="6" y="6"/>
                  </a:moveTo>
                  <a:lnTo>
                    <a:pt x="6" y="6"/>
                  </a:lnTo>
                  <a:lnTo>
                    <a:pt x="14" y="0"/>
                  </a:lnTo>
                  <a:lnTo>
                    <a:pt x="18" y="0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4" y="8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14" y="24"/>
                  </a:lnTo>
                  <a:lnTo>
                    <a:pt x="10" y="26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2" y="20"/>
                  </a:lnTo>
                  <a:lnTo>
                    <a:pt x="0" y="16"/>
                  </a:lnTo>
                  <a:lnTo>
                    <a:pt x="2" y="12"/>
                  </a:lnTo>
                  <a:lnTo>
                    <a:pt x="6" y="6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4126"/>
              <a:endParaRPr lang="de-DE" sz="1799" dirty="0">
                <a:solidFill>
                  <a:srgbClr val="3B3B3B"/>
                </a:solidFill>
                <a:latin typeface="EnBW DIN Pro"/>
              </a:endParaRPr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10B13C92-1E6C-43C6-AB8B-089E6FE677D6}"/>
                </a:ext>
              </a:extLst>
            </p:cNvPr>
            <p:cNvSpPr>
              <a:spLocks/>
            </p:cNvSpPr>
            <p:nvPr/>
          </p:nvSpPr>
          <p:spPr bwMode="gray">
            <a:xfrm>
              <a:off x="3124" y="1277"/>
              <a:ext cx="74" cy="48"/>
            </a:xfrm>
            <a:custGeom>
              <a:avLst/>
              <a:gdLst>
                <a:gd name="T0" fmla="*/ 2 w 74"/>
                <a:gd name="T1" fmla="*/ 20 h 48"/>
                <a:gd name="T2" fmla="*/ 2 w 74"/>
                <a:gd name="T3" fmla="*/ 20 h 48"/>
                <a:gd name="T4" fmla="*/ 4 w 74"/>
                <a:gd name="T5" fmla="*/ 6 h 48"/>
                <a:gd name="T6" fmla="*/ 8 w 74"/>
                <a:gd name="T7" fmla="*/ 0 h 48"/>
                <a:gd name="T8" fmla="*/ 10 w 74"/>
                <a:gd name="T9" fmla="*/ 0 h 48"/>
                <a:gd name="T10" fmla="*/ 12 w 74"/>
                <a:gd name="T11" fmla="*/ 0 h 48"/>
                <a:gd name="T12" fmla="*/ 12 w 74"/>
                <a:gd name="T13" fmla="*/ 0 h 48"/>
                <a:gd name="T14" fmla="*/ 38 w 74"/>
                <a:gd name="T15" fmla="*/ 6 h 48"/>
                <a:gd name="T16" fmla="*/ 38 w 74"/>
                <a:gd name="T17" fmla="*/ 6 h 48"/>
                <a:gd name="T18" fmla="*/ 44 w 74"/>
                <a:gd name="T19" fmla="*/ 6 h 48"/>
                <a:gd name="T20" fmla="*/ 52 w 74"/>
                <a:gd name="T21" fmla="*/ 10 h 48"/>
                <a:gd name="T22" fmla="*/ 58 w 74"/>
                <a:gd name="T23" fmla="*/ 16 h 48"/>
                <a:gd name="T24" fmla="*/ 64 w 74"/>
                <a:gd name="T25" fmla="*/ 24 h 48"/>
                <a:gd name="T26" fmla="*/ 64 w 74"/>
                <a:gd name="T27" fmla="*/ 24 h 48"/>
                <a:gd name="T28" fmla="*/ 72 w 74"/>
                <a:gd name="T29" fmla="*/ 38 h 48"/>
                <a:gd name="T30" fmla="*/ 74 w 74"/>
                <a:gd name="T31" fmla="*/ 40 h 48"/>
                <a:gd name="T32" fmla="*/ 72 w 74"/>
                <a:gd name="T33" fmla="*/ 44 h 48"/>
                <a:gd name="T34" fmla="*/ 72 w 74"/>
                <a:gd name="T35" fmla="*/ 44 h 48"/>
                <a:gd name="T36" fmla="*/ 70 w 74"/>
                <a:gd name="T37" fmla="*/ 46 h 48"/>
                <a:gd name="T38" fmla="*/ 64 w 74"/>
                <a:gd name="T39" fmla="*/ 46 h 48"/>
                <a:gd name="T40" fmla="*/ 48 w 74"/>
                <a:gd name="T41" fmla="*/ 44 h 48"/>
                <a:gd name="T42" fmla="*/ 48 w 74"/>
                <a:gd name="T43" fmla="*/ 44 h 48"/>
                <a:gd name="T44" fmla="*/ 42 w 74"/>
                <a:gd name="T45" fmla="*/ 46 h 48"/>
                <a:gd name="T46" fmla="*/ 38 w 74"/>
                <a:gd name="T47" fmla="*/ 48 h 48"/>
                <a:gd name="T48" fmla="*/ 34 w 74"/>
                <a:gd name="T49" fmla="*/ 48 h 48"/>
                <a:gd name="T50" fmla="*/ 28 w 74"/>
                <a:gd name="T51" fmla="*/ 46 h 48"/>
                <a:gd name="T52" fmla="*/ 28 w 74"/>
                <a:gd name="T53" fmla="*/ 46 h 48"/>
                <a:gd name="T54" fmla="*/ 20 w 74"/>
                <a:gd name="T55" fmla="*/ 42 h 48"/>
                <a:gd name="T56" fmla="*/ 18 w 74"/>
                <a:gd name="T57" fmla="*/ 38 h 48"/>
                <a:gd name="T58" fmla="*/ 18 w 74"/>
                <a:gd name="T59" fmla="*/ 36 h 48"/>
                <a:gd name="T60" fmla="*/ 18 w 74"/>
                <a:gd name="T61" fmla="*/ 36 h 48"/>
                <a:gd name="T62" fmla="*/ 18 w 74"/>
                <a:gd name="T63" fmla="*/ 32 h 48"/>
                <a:gd name="T64" fmla="*/ 16 w 74"/>
                <a:gd name="T65" fmla="*/ 28 h 48"/>
                <a:gd name="T66" fmla="*/ 14 w 74"/>
                <a:gd name="T67" fmla="*/ 28 h 48"/>
                <a:gd name="T68" fmla="*/ 12 w 74"/>
                <a:gd name="T69" fmla="*/ 28 h 48"/>
                <a:gd name="T70" fmla="*/ 12 w 74"/>
                <a:gd name="T71" fmla="*/ 28 h 48"/>
                <a:gd name="T72" fmla="*/ 8 w 74"/>
                <a:gd name="T73" fmla="*/ 32 h 48"/>
                <a:gd name="T74" fmla="*/ 6 w 74"/>
                <a:gd name="T75" fmla="*/ 34 h 48"/>
                <a:gd name="T76" fmla="*/ 2 w 74"/>
                <a:gd name="T77" fmla="*/ 32 h 48"/>
                <a:gd name="T78" fmla="*/ 2 w 74"/>
                <a:gd name="T79" fmla="*/ 32 h 48"/>
                <a:gd name="T80" fmla="*/ 0 w 74"/>
                <a:gd name="T81" fmla="*/ 32 h 48"/>
                <a:gd name="T82" fmla="*/ 0 w 74"/>
                <a:gd name="T83" fmla="*/ 28 h 48"/>
                <a:gd name="T84" fmla="*/ 2 w 74"/>
                <a:gd name="T85" fmla="*/ 20 h 48"/>
                <a:gd name="T86" fmla="*/ 2 w 74"/>
                <a:gd name="T87" fmla="*/ 2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74" h="48">
                  <a:moveTo>
                    <a:pt x="2" y="20"/>
                  </a:moveTo>
                  <a:lnTo>
                    <a:pt x="2" y="20"/>
                  </a:lnTo>
                  <a:lnTo>
                    <a:pt x="4" y="6"/>
                  </a:lnTo>
                  <a:lnTo>
                    <a:pt x="8" y="0"/>
                  </a:lnTo>
                  <a:lnTo>
                    <a:pt x="10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38" y="6"/>
                  </a:lnTo>
                  <a:lnTo>
                    <a:pt x="38" y="6"/>
                  </a:lnTo>
                  <a:lnTo>
                    <a:pt x="44" y="6"/>
                  </a:lnTo>
                  <a:lnTo>
                    <a:pt x="52" y="10"/>
                  </a:lnTo>
                  <a:lnTo>
                    <a:pt x="58" y="16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72" y="38"/>
                  </a:lnTo>
                  <a:lnTo>
                    <a:pt x="74" y="40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0" y="46"/>
                  </a:lnTo>
                  <a:lnTo>
                    <a:pt x="64" y="46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2" y="46"/>
                  </a:lnTo>
                  <a:lnTo>
                    <a:pt x="38" y="48"/>
                  </a:lnTo>
                  <a:lnTo>
                    <a:pt x="34" y="48"/>
                  </a:lnTo>
                  <a:lnTo>
                    <a:pt x="28" y="46"/>
                  </a:lnTo>
                  <a:lnTo>
                    <a:pt x="28" y="46"/>
                  </a:lnTo>
                  <a:lnTo>
                    <a:pt x="20" y="42"/>
                  </a:lnTo>
                  <a:lnTo>
                    <a:pt x="18" y="38"/>
                  </a:lnTo>
                  <a:lnTo>
                    <a:pt x="18" y="36"/>
                  </a:lnTo>
                  <a:lnTo>
                    <a:pt x="18" y="36"/>
                  </a:lnTo>
                  <a:lnTo>
                    <a:pt x="18" y="32"/>
                  </a:lnTo>
                  <a:lnTo>
                    <a:pt x="16" y="28"/>
                  </a:lnTo>
                  <a:lnTo>
                    <a:pt x="14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8" y="32"/>
                  </a:lnTo>
                  <a:lnTo>
                    <a:pt x="6" y="34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2" y="20"/>
                  </a:lnTo>
                  <a:lnTo>
                    <a:pt x="2" y="2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4126"/>
              <a:endParaRPr lang="de-DE" sz="1799" dirty="0">
                <a:solidFill>
                  <a:srgbClr val="3B3B3B"/>
                </a:solidFill>
                <a:latin typeface="EnBW DIN Pro"/>
              </a:endParaRPr>
            </a:p>
          </p:txBody>
        </p:sp>
        <p:sp>
          <p:nvSpPr>
            <p:cNvPr id="16" name="Freeform 11">
              <a:extLst>
                <a:ext uri="{FF2B5EF4-FFF2-40B4-BE49-F238E27FC236}">
                  <a16:creationId xmlns:a16="http://schemas.microsoft.com/office/drawing/2014/main" id="{EFE89F30-0BDB-4A95-B7D7-9E5451AA4E4B}"/>
                </a:ext>
              </a:extLst>
            </p:cNvPr>
            <p:cNvSpPr>
              <a:spLocks/>
            </p:cNvSpPr>
            <p:nvPr/>
          </p:nvSpPr>
          <p:spPr bwMode="gray">
            <a:xfrm>
              <a:off x="3554" y="1199"/>
              <a:ext cx="142" cy="170"/>
            </a:xfrm>
            <a:custGeom>
              <a:avLst/>
              <a:gdLst>
                <a:gd name="T0" fmla="*/ 14 w 142"/>
                <a:gd name="T1" fmla="*/ 38 h 170"/>
                <a:gd name="T2" fmla="*/ 20 w 142"/>
                <a:gd name="T3" fmla="*/ 24 h 170"/>
                <a:gd name="T4" fmla="*/ 30 w 142"/>
                <a:gd name="T5" fmla="*/ 8 h 170"/>
                <a:gd name="T6" fmla="*/ 72 w 142"/>
                <a:gd name="T7" fmla="*/ 2 h 170"/>
                <a:gd name="T8" fmla="*/ 62 w 142"/>
                <a:gd name="T9" fmla="*/ 14 h 170"/>
                <a:gd name="T10" fmla="*/ 60 w 142"/>
                <a:gd name="T11" fmla="*/ 34 h 170"/>
                <a:gd name="T12" fmla="*/ 84 w 142"/>
                <a:gd name="T13" fmla="*/ 40 h 170"/>
                <a:gd name="T14" fmla="*/ 110 w 142"/>
                <a:gd name="T15" fmla="*/ 38 h 170"/>
                <a:gd name="T16" fmla="*/ 118 w 142"/>
                <a:gd name="T17" fmla="*/ 62 h 170"/>
                <a:gd name="T18" fmla="*/ 100 w 142"/>
                <a:gd name="T19" fmla="*/ 74 h 170"/>
                <a:gd name="T20" fmla="*/ 104 w 142"/>
                <a:gd name="T21" fmla="*/ 100 h 170"/>
                <a:gd name="T22" fmla="*/ 124 w 142"/>
                <a:gd name="T23" fmla="*/ 100 h 170"/>
                <a:gd name="T24" fmla="*/ 142 w 142"/>
                <a:gd name="T25" fmla="*/ 126 h 170"/>
                <a:gd name="T26" fmla="*/ 136 w 142"/>
                <a:gd name="T27" fmla="*/ 144 h 170"/>
                <a:gd name="T28" fmla="*/ 130 w 142"/>
                <a:gd name="T29" fmla="*/ 150 h 170"/>
                <a:gd name="T30" fmla="*/ 116 w 142"/>
                <a:gd name="T31" fmla="*/ 142 h 170"/>
                <a:gd name="T32" fmla="*/ 124 w 142"/>
                <a:gd name="T33" fmla="*/ 130 h 170"/>
                <a:gd name="T34" fmla="*/ 114 w 142"/>
                <a:gd name="T35" fmla="*/ 126 h 170"/>
                <a:gd name="T36" fmla="*/ 104 w 142"/>
                <a:gd name="T37" fmla="*/ 128 h 170"/>
                <a:gd name="T38" fmla="*/ 80 w 142"/>
                <a:gd name="T39" fmla="*/ 130 h 170"/>
                <a:gd name="T40" fmla="*/ 68 w 142"/>
                <a:gd name="T41" fmla="*/ 146 h 170"/>
                <a:gd name="T42" fmla="*/ 60 w 142"/>
                <a:gd name="T43" fmla="*/ 152 h 170"/>
                <a:gd name="T44" fmla="*/ 64 w 142"/>
                <a:gd name="T45" fmla="*/ 156 h 170"/>
                <a:gd name="T46" fmla="*/ 74 w 142"/>
                <a:gd name="T47" fmla="*/ 156 h 170"/>
                <a:gd name="T48" fmla="*/ 64 w 142"/>
                <a:gd name="T49" fmla="*/ 168 h 170"/>
                <a:gd name="T50" fmla="*/ 48 w 142"/>
                <a:gd name="T51" fmla="*/ 162 h 170"/>
                <a:gd name="T52" fmla="*/ 50 w 142"/>
                <a:gd name="T53" fmla="*/ 150 h 170"/>
                <a:gd name="T54" fmla="*/ 42 w 142"/>
                <a:gd name="T55" fmla="*/ 154 h 170"/>
                <a:gd name="T56" fmla="*/ 24 w 142"/>
                <a:gd name="T57" fmla="*/ 148 h 170"/>
                <a:gd name="T58" fmla="*/ 12 w 142"/>
                <a:gd name="T59" fmla="*/ 150 h 170"/>
                <a:gd name="T60" fmla="*/ 12 w 142"/>
                <a:gd name="T61" fmla="*/ 142 h 170"/>
                <a:gd name="T62" fmla="*/ 20 w 142"/>
                <a:gd name="T63" fmla="*/ 140 h 170"/>
                <a:gd name="T64" fmla="*/ 8 w 142"/>
                <a:gd name="T65" fmla="*/ 134 h 170"/>
                <a:gd name="T66" fmla="*/ 4 w 142"/>
                <a:gd name="T67" fmla="*/ 116 h 170"/>
                <a:gd name="T68" fmla="*/ 20 w 142"/>
                <a:gd name="T69" fmla="*/ 116 h 170"/>
                <a:gd name="T70" fmla="*/ 26 w 142"/>
                <a:gd name="T71" fmla="*/ 102 h 170"/>
                <a:gd name="T72" fmla="*/ 8 w 142"/>
                <a:gd name="T73" fmla="*/ 100 h 170"/>
                <a:gd name="T74" fmla="*/ 12 w 142"/>
                <a:gd name="T75" fmla="*/ 94 h 170"/>
                <a:gd name="T76" fmla="*/ 28 w 142"/>
                <a:gd name="T77" fmla="*/ 72 h 170"/>
                <a:gd name="T78" fmla="*/ 6 w 142"/>
                <a:gd name="T79" fmla="*/ 70 h 170"/>
                <a:gd name="T80" fmla="*/ 12 w 142"/>
                <a:gd name="T81" fmla="*/ 58 h 170"/>
                <a:gd name="T82" fmla="*/ 32 w 142"/>
                <a:gd name="T83" fmla="*/ 58 h 170"/>
                <a:gd name="T84" fmla="*/ 42 w 142"/>
                <a:gd name="T85" fmla="*/ 66 h 170"/>
                <a:gd name="T86" fmla="*/ 42 w 142"/>
                <a:gd name="T87" fmla="*/ 50 h 170"/>
                <a:gd name="T88" fmla="*/ 52 w 142"/>
                <a:gd name="T89" fmla="*/ 46 h 170"/>
                <a:gd name="T90" fmla="*/ 66 w 142"/>
                <a:gd name="T91" fmla="*/ 72 h 170"/>
                <a:gd name="T92" fmla="*/ 84 w 142"/>
                <a:gd name="T93" fmla="*/ 68 h 170"/>
                <a:gd name="T94" fmla="*/ 80 w 142"/>
                <a:gd name="T95" fmla="*/ 50 h 170"/>
                <a:gd name="T96" fmla="*/ 68 w 142"/>
                <a:gd name="T97" fmla="*/ 48 h 170"/>
                <a:gd name="T98" fmla="*/ 50 w 142"/>
                <a:gd name="T99" fmla="*/ 34 h 170"/>
                <a:gd name="T100" fmla="*/ 32 w 142"/>
                <a:gd name="T101" fmla="*/ 48 h 170"/>
                <a:gd name="T102" fmla="*/ 24 w 142"/>
                <a:gd name="T103" fmla="*/ 48 h 170"/>
                <a:gd name="T104" fmla="*/ 36 w 142"/>
                <a:gd name="T105" fmla="*/ 26 h 170"/>
                <a:gd name="T106" fmla="*/ 32 w 142"/>
                <a:gd name="T107" fmla="*/ 16 h 170"/>
                <a:gd name="T108" fmla="*/ 26 w 142"/>
                <a:gd name="T109" fmla="*/ 34 h 170"/>
                <a:gd name="T110" fmla="*/ 8 w 142"/>
                <a:gd name="T111" fmla="*/ 52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42" h="170">
                  <a:moveTo>
                    <a:pt x="8" y="52"/>
                  </a:moveTo>
                  <a:lnTo>
                    <a:pt x="8" y="52"/>
                  </a:lnTo>
                  <a:lnTo>
                    <a:pt x="6" y="48"/>
                  </a:lnTo>
                  <a:lnTo>
                    <a:pt x="8" y="46"/>
                  </a:lnTo>
                  <a:lnTo>
                    <a:pt x="14" y="38"/>
                  </a:lnTo>
                  <a:lnTo>
                    <a:pt x="14" y="38"/>
                  </a:lnTo>
                  <a:lnTo>
                    <a:pt x="18" y="32"/>
                  </a:lnTo>
                  <a:lnTo>
                    <a:pt x="20" y="28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18"/>
                  </a:lnTo>
                  <a:lnTo>
                    <a:pt x="22" y="14"/>
                  </a:lnTo>
                  <a:lnTo>
                    <a:pt x="26" y="10"/>
                  </a:lnTo>
                  <a:lnTo>
                    <a:pt x="30" y="8"/>
                  </a:lnTo>
                  <a:lnTo>
                    <a:pt x="30" y="8"/>
                  </a:lnTo>
                  <a:lnTo>
                    <a:pt x="44" y="4"/>
                  </a:lnTo>
                  <a:lnTo>
                    <a:pt x="58" y="2"/>
                  </a:lnTo>
                  <a:lnTo>
                    <a:pt x="58" y="2"/>
                  </a:lnTo>
                  <a:lnTo>
                    <a:pt x="68" y="0"/>
                  </a:lnTo>
                  <a:lnTo>
                    <a:pt x="72" y="2"/>
                  </a:lnTo>
                  <a:lnTo>
                    <a:pt x="72" y="6"/>
                  </a:lnTo>
                  <a:lnTo>
                    <a:pt x="72" y="6"/>
                  </a:lnTo>
                  <a:lnTo>
                    <a:pt x="72" y="8"/>
                  </a:lnTo>
                  <a:lnTo>
                    <a:pt x="70" y="10"/>
                  </a:lnTo>
                  <a:lnTo>
                    <a:pt x="62" y="14"/>
                  </a:lnTo>
                  <a:lnTo>
                    <a:pt x="62" y="14"/>
                  </a:lnTo>
                  <a:lnTo>
                    <a:pt x="58" y="18"/>
                  </a:lnTo>
                  <a:lnTo>
                    <a:pt x="54" y="22"/>
                  </a:lnTo>
                  <a:lnTo>
                    <a:pt x="54" y="28"/>
                  </a:lnTo>
                  <a:lnTo>
                    <a:pt x="60" y="34"/>
                  </a:lnTo>
                  <a:lnTo>
                    <a:pt x="60" y="34"/>
                  </a:lnTo>
                  <a:lnTo>
                    <a:pt x="66" y="40"/>
                  </a:lnTo>
                  <a:lnTo>
                    <a:pt x="70" y="42"/>
                  </a:lnTo>
                  <a:lnTo>
                    <a:pt x="78" y="42"/>
                  </a:lnTo>
                  <a:lnTo>
                    <a:pt x="84" y="40"/>
                  </a:lnTo>
                  <a:lnTo>
                    <a:pt x="84" y="40"/>
                  </a:lnTo>
                  <a:lnTo>
                    <a:pt x="92" y="38"/>
                  </a:lnTo>
                  <a:lnTo>
                    <a:pt x="100" y="36"/>
                  </a:lnTo>
                  <a:lnTo>
                    <a:pt x="108" y="36"/>
                  </a:lnTo>
                  <a:lnTo>
                    <a:pt x="110" y="38"/>
                  </a:lnTo>
                  <a:lnTo>
                    <a:pt x="112" y="40"/>
                  </a:lnTo>
                  <a:lnTo>
                    <a:pt x="112" y="40"/>
                  </a:lnTo>
                  <a:lnTo>
                    <a:pt x="116" y="48"/>
                  </a:lnTo>
                  <a:lnTo>
                    <a:pt x="118" y="54"/>
                  </a:lnTo>
                  <a:lnTo>
                    <a:pt x="118" y="62"/>
                  </a:lnTo>
                  <a:lnTo>
                    <a:pt x="114" y="64"/>
                  </a:lnTo>
                  <a:lnTo>
                    <a:pt x="112" y="66"/>
                  </a:lnTo>
                  <a:lnTo>
                    <a:pt x="112" y="66"/>
                  </a:lnTo>
                  <a:lnTo>
                    <a:pt x="106" y="70"/>
                  </a:lnTo>
                  <a:lnTo>
                    <a:pt x="100" y="74"/>
                  </a:lnTo>
                  <a:lnTo>
                    <a:pt x="98" y="80"/>
                  </a:lnTo>
                  <a:lnTo>
                    <a:pt x="98" y="84"/>
                  </a:lnTo>
                  <a:lnTo>
                    <a:pt x="98" y="84"/>
                  </a:lnTo>
                  <a:lnTo>
                    <a:pt x="102" y="96"/>
                  </a:lnTo>
                  <a:lnTo>
                    <a:pt x="104" y="100"/>
                  </a:lnTo>
                  <a:lnTo>
                    <a:pt x="110" y="98"/>
                  </a:lnTo>
                  <a:lnTo>
                    <a:pt x="110" y="98"/>
                  </a:lnTo>
                  <a:lnTo>
                    <a:pt x="116" y="96"/>
                  </a:lnTo>
                  <a:lnTo>
                    <a:pt x="120" y="98"/>
                  </a:lnTo>
                  <a:lnTo>
                    <a:pt x="124" y="100"/>
                  </a:lnTo>
                  <a:lnTo>
                    <a:pt x="128" y="106"/>
                  </a:lnTo>
                  <a:lnTo>
                    <a:pt x="128" y="106"/>
                  </a:lnTo>
                  <a:lnTo>
                    <a:pt x="138" y="118"/>
                  </a:lnTo>
                  <a:lnTo>
                    <a:pt x="142" y="122"/>
                  </a:lnTo>
                  <a:lnTo>
                    <a:pt x="142" y="126"/>
                  </a:lnTo>
                  <a:lnTo>
                    <a:pt x="142" y="128"/>
                  </a:lnTo>
                  <a:lnTo>
                    <a:pt x="142" y="128"/>
                  </a:lnTo>
                  <a:lnTo>
                    <a:pt x="136" y="134"/>
                  </a:lnTo>
                  <a:lnTo>
                    <a:pt x="136" y="140"/>
                  </a:lnTo>
                  <a:lnTo>
                    <a:pt x="136" y="144"/>
                  </a:lnTo>
                  <a:lnTo>
                    <a:pt x="136" y="144"/>
                  </a:lnTo>
                  <a:lnTo>
                    <a:pt x="136" y="148"/>
                  </a:lnTo>
                  <a:lnTo>
                    <a:pt x="136" y="150"/>
                  </a:lnTo>
                  <a:lnTo>
                    <a:pt x="134" y="152"/>
                  </a:lnTo>
                  <a:lnTo>
                    <a:pt x="130" y="150"/>
                  </a:lnTo>
                  <a:lnTo>
                    <a:pt x="130" y="150"/>
                  </a:lnTo>
                  <a:lnTo>
                    <a:pt x="118" y="146"/>
                  </a:lnTo>
                  <a:lnTo>
                    <a:pt x="118" y="146"/>
                  </a:lnTo>
                  <a:lnTo>
                    <a:pt x="118" y="144"/>
                  </a:lnTo>
                  <a:lnTo>
                    <a:pt x="116" y="142"/>
                  </a:lnTo>
                  <a:lnTo>
                    <a:pt x="118" y="140"/>
                  </a:lnTo>
                  <a:lnTo>
                    <a:pt x="120" y="138"/>
                  </a:lnTo>
                  <a:lnTo>
                    <a:pt x="120" y="138"/>
                  </a:lnTo>
                  <a:lnTo>
                    <a:pt x="124" y="132"/>
                  </a:lnTo>
                  <a:lnTo>
                    <a:pt x="124" y="130"/>
                  </a:lnTo>
                  <a:lnTo>
                    <a:pt x="122" y="128"/>
                  </a:lnTo>
                  <a:lnTo>
                    <a:pt x="122" y="128"/>
                  </a:lnTo>
                  <a:lnTo>
                    <a:pt x="116" y="122"/>
                  </a:lnTo>
                  <a:lnTo>
                    <a:pt x="114" y="122"/>
                  </a:lnTo>
                  <a:lnTo>
                    <a:pt x="114" y="126"/>
                  </a:lnTo>
                  <a:lnTo>
                    <a:pt x="114" y="126"/>
                  </a:lnTo>
                  <a:lnTo>
                    <a:pt x="112" y="128"/>
                  </a:lnTo>
                  <a:lnTo>
                    <a:pt x="110" y="130"/>
                  </a:lnTo>
                  <a:lnTo>
                    <a:pt x="106" y="130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96" y="126"/>
                  </a:lnTo>
                  <a:lnTo>
                    <a:pt x="90" y="128"/>
                  </a:lnTo>
                  <a:lnTo>
                    <a:pt x="90" y="128"/>
                  </a:lnTo>
                  <a:lnTo>
                    <a:pt x="80" y="130"/>
                  </a:lnTo>
                  <a:lnTo>
                    <a:pt x="74" y="132"/>
                  </a:lnTo>
                  <a:lnTo>
                    <a:pt x="72" y="136"/>
                  </a:lnTo>
                  <a:lnTo>
                    <a:pt x="72" y="136"/>
                  </a:lnTo>
                  <a:lnTo>
                    <a:pt x="68" y="146"/>
                  </a:lnTo>
                  <a:lnTo>
                    <a:pt x="68" y="146"/>
                  </a:lnTo>
                  <a:lnTo>
                    <a:pt x="66" y="148"/>
                  </a:lnTo>
                  <a:lnTo>
                    <a:pt x="66" y="148"/>
                  </a:lnTo>
                  <a:lnTo>
                    <a:pt x="62" y="148"/>
                  </a:lnTo>
                  <a:lnTo>
                    <a:pt x="60" y="148"/>
                  </a:lnTo>
                  <a:lnTo>
                    <a:pt x="60" y="152"/>
                  </a:lnTo>
                  <a:lnTo>
                    <a:pt x="60" y="152"/>
                  </a:lnTo>
                  <a:lnTo>
                    <a:pt x="62" y="156"/>
                  </a:lnTo>
                  <a:lnTo>
                    <a:pt x="62" y="156"/>
                  </a:lnTo>
                  <a:lnTo>
                    <a:pt x="64" y="156"/>
                  </a:lnTo>
                  <a:lnTo>
                    <a:pt x="64" y="156"/>
                  </a:lnTo>
                  <a:lnTo>
                    <a:pt x="66" y="152"/>
                  </a:lnTo>
                  <a:lnTo>
                    <a:pt x="70" y="152"/>
                  </a:lnTo>
                  <a:lnTo>
                    <a:pt x="72" y="152"/>
                  </a:lnTo>
                  <a:lnTo>
                    <a:pt x="74" y="156"/>
                  </a:lnTo>
                  <a:lnTo>
                    <a:pt x="74" y="156"/>
                  </a:lnTo>
                  <a:lnTo>
                    <a:pt x="74" y="164"/>
                  </a:lnTo>
                  <a:lnTo>
                    <a:pt x="74" y="168"/>
                  </a:lnTo>
                  <a:lnTo>
                    <a:pt x="70" y="170"/>
                  </a:lnTo>
                  <a:lnTo>
                    <a:pt x="70" y="170"/>
                  </a:lnTo>
                  <a:lnTo>
                    <a:pt x="64" y="168"/>
                  </a:lnTo>
                  <a:lnTo>
                    <a:pt x="60" y="166"/>
                  </a:lnTo>
                  <a:lnTo>
                    <a:pt x="56" y="164"/>
                  </a:lnTo>
                  <a:lnTo>
                    <a:pt x="54" y="162"/>
                  </a:lnTo>
                  <a:lnTo>
                    <a:pt x="54" y="162"/>
                  </a:lnTo>
                  <a:lnTo>
                    <a:pt x="48" y="162"/>
                  </a:lnTo>
                  <a:lnTo>
                    <a:pt x="46" y="160"/>
                  </a:lnTo>
                  <a:lnTo>
                    <a:pt x="46" y="158"/>
                  </a:lnTo>
                  <a:lnTo>
                    <a:pt x="46" y="158"/>
                  </a:lnTo>
                  <a:lnTo>
                    <a:pt x="50" y="152"/>
                  </a:lnTo>
                  <a:lnTo>
                    <a:pt x="50" y="150"/>
                  </a:lnTo>
                  <a:lnTo>
                    <a:pt x="48" y="150"/>
                  </a:lnTo>
                  <a:lnTo>
                    <a:pt x="48" y="150"/>
                  </a:lnTo>
                  <a:lnTo>
                    <a:pt x="46" y="150"/>
                  </a:lnTo>
                  <a:lnTo>
                    <a:pt x="44" y="152"/>
                  </a:lnTo>
                  <a:lnTo>
                    <a:pt x="42" y="154"/>
                  </a:lnTo>
                  <a:lnTo>
                    <a:pt x="38" y="154"/>
                  </a:lnTo>
                  <a:lnTo>
                    <a:pt x="38" y="154"/>
                  </a:lnTo>
                  <a:lnTo>
                    <a:pt x="28" y="150"/>
                  </a:lnTo>
                  <a:lnTo>
                    <a:pt x="28" y="150"/>
                  </a:lnTo>
                  <a:lnTo>
                    <a:pt x="24" y="148"/>
                  </a:lnTo>
                  <a:lnTo>
                    <a:pt x="22" y="148"/>
                  </a:lnTo>
                  <a:lnTo>
                    <a:pt x="20" y="148"/>
                  </a:lnTo>
                  <a:lnTo>
                    <a:pt x="20" y="148"/>
                  </a:lnTo>
                  <a:lnTo>
                    <a:pt x="14" y="150"/>
                  </a:lnTo>
                  <a:lnTo>
                    <a:pt x="12" y="150"/>
                  </a:lnTo>
                  <a:lnTo>
                    <a:pt x="10" y="148"/>
                  </a:lnTo>
                  <a:lnTo>
                    <a:pt x="10" y="148"/>
                  </a:lnTo>
                  <a:lnTo>
                    <a:pt x="8" y="144"/>
                  </a:lnTo>
                  <a:lnTo>
                    <a:pt x="10" y="142"/>
                  </a:lnTo>
                  <a:lnTo>
                    <a:pt x="12" y="142"/>
                  </a:lnTo>
                  <a:lnTo>
                    <a:pt x="14" y="142"/>
                  </a:lnTo>
                  <a:lnTo>
                    <a:pt x="14" y="142"/>
                  </a:lnTo>
                  <a:lnTo>
                    <a:pt x="20" y="142"/>
                  </a:lnTo>
                  <a:lnTo>
                    <a:pt x="20" y="140"/>
                  </a:lnTo>
                  <a:lnTo>
                    <a:pt x="20" y="140"/>
                  </a:lnTo>
                  <a:lnTo>
                    <a:pt x="20" y="138"/>
                  </a:lnTo>
                  <a:lnTo>
                    <a:pt x="16" y="136"/>
                  </a:lnTo>
                  <a:lnTo>
                    <a:pt x="16" y="136"/>
                  </a:lnTo>
                  <a:lnTo>
                    <a:pt x="10" y="134"/>
                  </a:lnTo>
                  <a:lnTo>
                    <a:pt x="8" y="134"/>
                  </a:lnTo>
                  <a:lnTo>
                    <a:pt x="4" y="130"/>
                  </a:lnTo>
                  <a:lnTo>
                    <a:pt x="4" y="130"/>
                  </a:lnTo>
                  <a:lnTo>
                    <a:pt x="0" y="122"/>
                  </a:lnTo>
                  <a:lnTo>
                    <a:pt x="2" y="118"/>
                  </a:lnTo>
                  <a:lnTo>
                    <a:pt x="4" y="116"/>
                  </a:lnTo>
                  <a:lnTo>
                    <a:pt x="4" y="116"/>
                  </a:lnTo>
                  <a:lnTo>
                    <a:pt x="8" y="114"/>
                  </a:lnTo>
                  <a:lnTo>
                    <a:pt x="12" y="114"/>
                  </a:lnTo>
                  <a:lnTo>
                    <a:pt x="20" y="116"/>
                  </a:lnTo>
                  <a:lnTo>
                    <a:pt x="20" y="116"/>
                  </a:lnTo>
                  <a:lnTo>
                    <a:pt x="28" y="114"/>
                  </a:lnTo>
                  <a:lnTo>
                    <a:pt x="30" y="112"/>
                  </a:lnTo>
                  <a:lnTo>
                    <a:pt x="30" y="110"/>
                  </a:lnTo>
                  <a:lnTo>
                    <a:pt x="30" y="110"/>
                  </a:lnTo>
                  <a:lnTo>
                    <a:pt x="26" y="102"/>
                  </a:lnTo>
                  <a:lnTo>
                    <a:pt x="24" y="100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12" y="100"/>
                  </a:lnTo>
                  <a:lnTo>
                    <a:pt x="8" y="100"/>
                  </a:lnTo>
                  <a:lnTo>
                    <a:pt x="8" y="100"/>
                  </a:lnTo>
                  <a:lnTo>
                    <a:pt x="8" y="100"/>
                  </a:lnTo>
                  <a:lnTo>
                    <a:pt x="8" y="98"/>
                  </a:lnTo>
                  <a:lnTo>
                    <a:pt x="12" y="94"/>
                  </a:lnTo>
                  <a:lnTo>
                    <a:pt x="12" y="94"/>
                  </a:lnTo>
                  <a:lnTo>
                    <a:pt x="24" y="86"/>
                  </a:lnTo>
                  <a:lnTo>
                    <a:pt x="28" y="82"/>
                  </a:lnTo>
                  <a:lnTo>
                    <a:pt x="30" y="78"/>
                  </a:lnTo>
                  <a:lnTo>
                    <a:pt x="30" y="78"/>
                  </a:lnTo>
                  <a:lnTo>
                    <a:pt x="28" y="72"/>
                  </a:lnTo>
                  <a:lnTo>
                    <a:pt x="24" y="70"/>
                  </a:lnTo>
                  <a:lnTo>
                    <a:pt x="20" y="70"/>
                  </a:lnTo>
                  <a:lnTo>
                    <a:pt x="20" y="70"/>
                  </a:lnTo>
                  <a:lnTo>
                    <a:pt x="10" y="70"/>
                  </a:lnTo>
                  <a:lnTo>
                    <a:pt x="6" y="70"/>
                  </a:lnTo>
                  <a:lnTo>
                    <a:pt x="4" y="66"/>
                  </a:lnTo>
                  <a:lnTo>
                    <a:pt x="4" y="66"/>
                  </a:lnTo>
                  <a:lnTo>
                    <a:pt x="4" y="62"/>
                  </a:lnTo>
                  <a:lnTo>
                    <a:pt x="6" y="60"/>
                  </a:lnTo>
                  <a:lnTo>
                    <a:pt x="12" y="58"/>
                  </a:lnTo>
                  <a:lnTo>
                    <a:pt x="12" y="58"/>
                  </a:lnTo>
                  <a:lnTo>
                    <a:pt x="24" y="56"/>
                  </a:lnTo>
                  <a:lnTo>
                    <a:pt x="28" y="56"/>
                  </a:lnTo>
                  <a:lnTo>
                    <a:pt x="32" y="58"/>
                  </a:lnTo>
                  <a:lnTo>
                    <a:pt x="32" y="58"/>
                  </a:lnTo>
                  <a:lnTo>
                    <a:pt x="36" y="62"/>
                  </a:lnTo>
                  <a:lnTo>
                    <a:pt x="38" y="66"/>
                  </a:lnTo>
                  <a:lnTo>
                    <a:pt x="40" y="66"/>
                  </a:lnTo>
                  <a:lnTo>
                    <a:pt x="40" y="66"/>
                  </a:lnTo>
                  <a:lnTo>
                    <a:pt x="42" y="66"/>
                  </a:lnTo>
                  <a:lnTo>
                    <a:pt x="42" y="64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38" y="56"/>
                  </a:lnTo>
                  <a:lnTo>
                    <a:pt x="42" y="50"/>
                  </a:lnTo>
                  <a:lnTo>
                    <a:pt x="42" y="50"/>
                  </a:lnTo>
                  <a:lnTo>
                    <a:pt x="46" y="44"/>
                  </a:lnTo>
                  <a:lnTo>
                    <a:pt x="48" y="44"/>
                  </a:lnTo>
                  <a:lnTo>
                    <a:pt x="52" y="46"/>
                  </a:lnTo>
                  <a:lnTo>
                    <a:pt x="52" y="46"/>
                  </a:lnTo>
                  <a:lnTo>
                    <a:pt x="56" y="50"/>
                  </a:lnTo>
                  <a:lnTo>
                    <a:pt x="62" y="60"/>
                  </a:lnTo>
                  <a:lnTo>
                    <a:pt x="62" y="60"/>
                  </a:lnTo>
                  <a:lnTo>
                    <a:pt x="64" y="68"/>
                  </a:lnTo>
                  <a:lnTo>
                    <a:pt x="66" y="72"/>
                  </a:lnTo>
                  <a:lnTo>
                    <a:pt x="70" y="74"/>
                  </a:lnTo>
                  <a:lnTo>
                    <a:pt x="70" y="74"/>
                  </a:lnTo>
                  <a:lnTo>
                    <a:pt x="74" y="74"/>
                  </a:lnTo>
                  <a:lnTo>
                    <a:pt x="78" y="72"/>
                  </a:lnTo>
                  <a:lnTo>
                    <a:pt x="84" y="68"/>
                  </a:lnTo>
                  <a:lnTo>
                    <a:pt x="84" y="68"/>
                  </a:lnTo>
                  <a:lnTo>
                    <a:pt x="86" y="64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0" y="50"/>
                  </a:lnTo>
                  <a:lnTo>
                    <a:pt x="78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2" y="50"/>
                  </a:lnTo>
                  <a:lnTo>
                    <a:pt x="68" y="48"/>
                  </a:lnTo>
                  <a:lnTo>
                    <a:pt x="68" y="48"/>
                  </a:lnTo>
                  <a:lnTo>
                    <a:pt x="60" y="46"/>
                  </a:lnTo>
                  <a:lnTo>
                    <a:pt x="54" y="40"/>
                  </a:lnTo>
                  <a:lnTo>
                    <a:pt x="54" y="40"/>
                  </a:lnTo>
                  <a:lnTo>
                    <a:pt x="50" y="34"/>
                  </a:lnTo>
                  <a:lnTo>
                    <a:pt x="48" y="34"/>
                  </a:lnTo>
                  <a:lnTo>
                    <a:pt x="46" y="36"/>
                  </a:lnTo>
                  <a:lnTo>
                    <a:pt x="46" y="36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28" y="50"/>
                  </a:lnTo>
                  <a:lnTo>
                    <a:pt x="26" y="52"/>
                  </a:lnTo>
                  <a:lnTo>
                    <a:pt x="24" y="50"/>
                  </a:lnTo>
                  <a:lnTo>
                    <a:pt x="24" y="50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6" y="42"/>
                  </a:lnTo>
                  <a:lnTo>
                    <a:pt x="26" y="42"/>
                  </a:lnTo>
                  <a:lnTo>
                    <a:pt x="34" y="32"/>
                  </a:lnTo>
                  <a:lnTo>
                    <a:pt x="36" y="26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36" y="18"/>
                  </a:lnTo>
                  <a:lnTo>
                    <a:pt x="34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28" y="18"/>
                  </a:lnTo>
                  <a:lnTo>
                    <a:pt x="28" y="26"/>
                  </a:lnTo>
                  <a:lnTo>
                    <a:pt x="28" y="26"/>
                  </a:lnTo>
                  <a:lnTo>
                    <a:pt x="26" y="34"/>
                  </a:lnTo>
                  <a:lnTo>
                    <a:pt x="22" y="40"/>
                  </a:lnTo>
                  <a:lnTo>
                    <a:pt x="22" y="40"/>
                  </a:lnTo>
                  <a:lnTo>
                    <a:pt x="14" y="48"/>
                  </a:lnTo>
                  <a:lnTo>
                    <a:pt x="10" y="52"/>
                  </a:lnTo>
                  <a:lnTo>
                    <a:pt x="8" y="52"/>
                  </a:lnTo>
                  <a:lnTo>
                    <a:pt x="8" y="5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4126"/>
              <a:endParaRPr lang="de-DE" sz="1799" dirty="0">
                <a:solidFill>
                  <a:srgbClr val="3B3B3B"/>
                </a:solidFill>
                <a:latin typeface="EnBW DIN Pro"/>
              </a:endParaRPr>
            </a:p>
          </p:txBody>
        </p:sp>
        <p:sp>
          <p:nvSpPr>
            <p:cNvPr id="17" name="Freeform 12">
              <a:extLst>
                <a:ext uri="{FF2B5EF4-FFF2-40B4-BE49-F238E27FC236}">
                  <a16:creationId xmlns:a16="http://schemas.microsoft.com/office/drawing/2014/main" id="{9355978C-00EC-4804-93AF-2B7F01D3A9D9}"/>
                </a:ext>
              </a:extLst>
            </p:cNvPr>
            <p:cNvSpPr>
              <a:spLocks/>
            </p:cNvSpPr>
            <p:nvPr/>
          </p:nvSpPr>
          <p:spPr bwMode="gray">
            <a:xfrm>
              <a:off x="3536" y="1231"/>
              <a:ext cx="22" cy="58"/>
            </a:xfrm>
            <a:custGeom>
              <a:avLst/>
              <a:gdLst>
                <a:gd name="T0" fmla="*/ 6 w 22"/>
                <a:gd name="T1" fmla="*/ 58 h 58"/>
                <a:gd name="T2" fmla="*/ 6 w 22"/>
                <a:gd name="T3" fmla="*/ 58 h 58"/>
                <a:gd name="T4" fmla="*/ 4 w 22"/>
                <a:gd name="T5" fmla="*/ 58 h 58"/>
                <a:gd name="T6" fmla="*/ 2 w 22"/>
                <a:gd name="T7" fmla="*/ 56 h 58"/>
                <a:gd name="T8" fmla="*/ 0 w 22"/>
                <a:gd name="T9" fmla="*/ 50 h 58"/>
                <a:gd name="T10" fmla="*/ 0 w 22"/>
                <a:gd name="T11" fmla="*/ 50 h 58"/>
                <a:gd name="T12" fmla="*/ 8 w 22"/>
                <a:gd name="T13" fmla="*/ 14 h 58"/>
                <a:gd name="T14" fmla="*/ 8 w 22"/>
                <a:gd name="T15" fmla="*/ 14 h 58"/>
                <a:gd name="T16" fmla="*/ 10 w 22"/>
                <a:gd name="T17" fmla="*/ 4 h 58"/>
                <a:gd name="T18" fmla="*/ 14 w 22"/>
                <a:gd name="T19" fmla="*/ 0 h 58"/>
                <a:gd name="T20" fmla="*/ 16 w 22"/>
                <a:gd name="T21" fmla="*/ 0 h 58"/>
                <a:gd name="T22" fmla="*/ 16 w 22"/>
                <a:gd name="T23" fmla="*/ 0 h 58"/>
                <a:gd name="T24" fmla="*/ 20 w 22"/>
                <a:gd name="T25" fmla="*/ 4 h 58"/>
                <a:gd name="T26" fmla="*/ 22 w 22"/>
                <a:gd name="T27" fmla="*/ 6 h 58"/>
                <a:gd name="T28" fmla="*/ 20 w 22"/>
                <a:gd name="T29" fmla="*/ 8 h 58"/>
                <a:gd name="T30" fmla="*/ 20 w 22"/>
                <a:gd name="T31" fmla="*/ 8 h 58"/>
                <a:gd name="T32" fmla="*/ 20 w 22"/>
                <a:gd name="T33" fmla="*/ 10 h 58"/>
                <a:gd name="T34" fmla="*/ 18 w 22"/>
                <a:gd name="T35" fmla="*/ 10 h 58"/>
                <a:gd name="T36" fmla="*/ 16 w 22"/>
                <a:gd name="T37" fmla="*/ 12 h 58"/>
                <a:gd name="T38" fmla="*/ 14 w 22"/>
                <a:gd name="T39" fmla="*/ 16 h 58"/>
                <a:gd name="T40" fmla="*/ 14 w 22"/>
                <a:gd name="T41" fmla="*/ 16 h 58"/>
                <a:gd name="T42" fmla="*/ 10 w 22"/>
                <a:gd name="T43" fmla="*/ 34 h 58"/>
                <a:gd name="T44" fmla="*/ 8 w 22"/>
                <a:gd name="T45" fmla="*/ 50 h 58"/>
                <a:gd name="T46" fmla="*/ 8 w 22"/>
                <a:gd name="T47" fmla="*/ 50 h 58"/>
                <a:gd name="T48" fmla="*/ 8 w 22"/>
                <a:gd name="T49" fmla="*/ 56 h 58"/>
                <a:gd name="T50" fmla="*/ 8 w 22"/>
                <a:gd name="T51" fmla="*/ 58 h 58"/>
                <a:gd name="T52" fmla="*/ 6 w 22"/>
                <a:gd name="T53" fmla="*/ 58 h 58"/>
                <a:gd name="T54" fmla="*/ 6 w 22"/>
                <a:gd name="T55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2" h="58">
                  <a:moveTo>
                    <a:pt x="6" y="58"/>
                  </a:moveTo>
                  <a:lnTo>
                    <a:pt x="6" y="58"/>
                  </a:lnTo>
                  <a:lnTo>
                    <a:pt x="4" y="58"/>
                  </a:lnTo>
                  <a:lnTo>
                    <a:pt x="2" y="56"/>
                  </a:lnTo>
                  <a:lnTo>
                    <a:pt x="0" y="50"/>
                  </a:lnTo>
                  <a:lnTo>
                    <a:pt x="0" y="50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10" y="4"/>
                  </a:lnTo>
                  <a:lnTo>
                    <a:pt x="14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2" y="6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10"/>
                  </a:lnTo>
                  <a:lnTo>
                    <a:pt x="18" y="10"/>
                  </a:lnTo>
                  <a:lnTo>
                    <a:pt x="16" y="12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0" y="34"/>
                  </a:lnTo>
                  <a:lnTo>
                    <a:pt x="8" y="50"/>
                  </a:lnTo>
                  <a:lnTo>
                    <a:pt x="8" y="50"/>
                  </a:lnTo>
                  <a:lnTo>
                    <a:pt x="8" y="56"/>
                  </a:lnTo>
                  <a:lnTo>
                    <a:pt x="8" y="58"/>
                  </a:lnTo>
                  <a:lnTo>
                    <a:pt x="6" y="58"/>
                  </a:lnTo>
                  <a:lnTo>
                    <a:pt x="6" y="58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4126"/>
              <a:endParaRPr lang="de-DE" sz="1799" dirty="0">
                <a:solidFill>
                  <a:srgbClr val="3B3B3B"/>
                </a:solidFill>
                <a:latin typeface="EnBW DIN Pro"/>
              </a:endParaRPr>
            </a:p>
          </p:txBody>
        </p:sp>
        <p:sp>
          <p:nvSpPr>
            <p:cNvPr id="18" name="Freeform 13">
              <a:extLst>
                <a:ext uri="{FF2B5EF4-FFF2-40B4-BE49-F238E27FC236}">
                  <a16:creationId xmlns:a16="http://schemas.microsoft.com/office/drawing/2014/main" id="{195DD29D-1F15-4136-9CD1-D2FDBAF22B1C}"/>
                </a:ext>
              </a:extLst>
            </p:cNvPr>
            <p:cNvSpPr>
              <a:spLocks/>
            </p:cNvSpPr>
            <p:nvPr/>
          </p:nvSpPr>
          <p:spPr bwMode="gray">
            <a:xfrm>
              <a:off x="3704" y="1377"/>
              <a:ext cx="100" cy="124"/>
            </a:xfrm>
            <a:custGeom>
              <a:avLst/>
              <a:gdLst>
                <a:gd name="T0" fmla="*/ 26 w 100"/>
                <a:gd name="T1" fmla="*/ 22 h 124"/>
                <a:gd name="T2" fmla="*/ 14 w 100"/>
                <a:gd name="T3" fmla="*/ 2 h 124"/>
                <a:gd name="T4" fmla="*/ 8 w 100"/>
                <a:gd name="T5" fmla="*/ 0 h 124"/>
                <a:gd name="T6" fmla="*/ 2 w 100"/>
                <a:gd name="T7" fmla="*/ 4 h 124"/>
                <a:gd name="T8" fmla="*/ 0 w 100"/>
                <a:gd name="T9" fmla="*/ 12 h 124"/>
                <a:gd name="T10" fmla="*/ 4 w 100"/>
                <a:gd name="T11" fmla="*/ 16 h 124"/>
                <a:gd name="T12" fmla="*/ 14 w 100"/>
                <a:gd name="T13" fmla="*/ 26 h 124"/>
                <a:gd name="T14" fmla="*/ 16 w 100"/>
                <a:gd name="T15" fmla="*/ 42 h 124"/>
                <a:gd name="T16" fmla="*/ 10 w 100"/>
                <a:gd name="T17" fmla="*/ 56 h 124"/>
                <a:gd name="T18" fmla="*/ 12 w 100"/>
                <a:gd name="T19" fmla="*/ 62 h 124"/>
                <a:gd name="T20" fmla="*/ 16 w 100"/>
                <a:gd name="T21" fmla="*/ 64 h 124"/>
                <a:gd name="T22" fmla="*/ 24 w 100"/>
                <a:gd name="T23" fmla="*/ 56 h 124"/>
                <a:gd name="T24" fmla="*/ 30 w 100"/>
                <a:gd name="T25" fmla="*/ 50 h 124"/>
                <a:gd name="T26" fmla="*/ 34 w 100"/>
                <a:gd name="T27" fmla="*/ 50 h 124"/>
                <a:gd name="T28" fmla="*/ 34 w 100"/>
                <a:gd name="T29" fmla="*/ 52 h 124"/>
                <a:gd name="T30" fmla="*/ 30 w 100"/>
                <a:gd name="T31" fmla="*/ 62 h 124"/>
                <a:gd name="T32" fmla="*/ 26 w 100"/>
                <a:gd name="T33" fmla="*/ 68 h 124"/>
                <a:gd name="T34" fmla="*/ 28 w 100"/>
                <a:gd name="T35" fmla="*/ 72 h 124"/>
                <a:gd name="T36" fmla="*/ 30 w 100"/>
                <a:gd name="T37" fmla="*/ 72 h 124"/>
                <a:gd name="T38" fmla="*/ 38 w 100"/>
                <a:gd name="T39" fmla="*/ 66 h 124"/>
                <a:gd name="T40" fmla="*/ 40 w 100"/>
                <a:gd name="T41" fmla="*/ 62 h 124"/>
                <a:gd name="T42" fmla="*/ 40 w 100"/>
                <a:gd name="T43" fmla="*/ 60 h 124"/>
                <a:gd name="T44" fmla="*/ 40 w 100"/>
                <a:gd name="T45" fmla="*/ 58 h 124"/>
                <a:gd name="T46" fmla="*/ 44 w 100"/>
                <a:gd name="T47" fmla="*/ 54 h 124"/>
                <a:gd name="T48" fmla="*/ 48 w 100"/>
                <a:gd name="T49" fmla="*/ 54 h 124"/>
                <a:gd name="T50" fmla="*/ 56 w 100"/>
                <a:gd name="T51" fmla="*/ 62 h 124"/>
                <a:gd name="T52" fmla="*/ 60 w 100"/>
                <a:gd name="T53" fmla="*/ 68 h 124"/>
                <a:gd name="T54" fmla="*/ 64 w 100"/>
                <a:gd name="T55" fmla="*/ 72 h 124"/>
                <a:gd name="T56" fmla="*/ 70 w 100"/>
                <a:gd name="T57" fmla="*/ 86 h 124"/>
                <a:gd name="T58" fmla="*/ 70 w 100"/>
                <a:gd name="T59" fmla="*/ 90 h 124"/>
                <a:gd name="T60" fmla="*/ 62 w 100"/>
                <a:gd name="T61" fmla="*/ 92 h 124"/>
                <a:gd name="T62" fmla="*/ 54 w 100"/>
                <a:gd name="T63" fmla="*/ 88 h 124"/>
                <a:gd name="T64" fmla="*/ 52 w 100"/>
                <a:gd name="T65" fmla="*/ 86 h 124"/>
                <a:gd name="T66" fmla="*/ 50 w 100"/>
                <a:gd name="T67" fmla="*/ 82 h 124"/>
                <a:gd name="T68" fmla="*/ 52 w 100"/>
                <a:gd name="T69" fmla="*/ 80 h 124"/>
                <a:gd name="T70" fmla="*/ 50 w 100"/>
                <a:gd name="T71" fmla="*/ 74 h 124"/>
                <a:gd name="T72" fmla="*/ 48 w 100"/>
                <a:gd name="T73" fmla="*/ 72 h 124"/>
                <a:gd name="T74" fmla="*/ 42 w 100"/>
                <a:gd name="T75" fmla="*/ 72 h 124"/>
                <a:gd name="T76" fmla="*/ 38 w 100"/>
                <a:gd name="T77" fmla="*/ 76 h 124"/>
                <a:gd name="T78" fmla="*/ 36 w 100"/>
                <a:gd name="T79" fmla="*/ 80 h 124"/>
                <a:gd name="T80" fmla="*/ 40 w 100"/>
                <a:gd name="T81" fmla="*/ 86 h 124"/>
                <a:gd name="T82" fmla="*/ 42 w 100"/>
                <a:gd name="T83" fmla="*/ 92 h 124"/>
                <a:gd name="T84" fmla="*/ 44 w 100"/>
                <a:gd name="T85" fmla="*/ 102 h 124"/>
                <a:gd name="T86" fmla="*/ 40 w 100"/>
                <a:gd name="T87" fmla="*/ 106 h 124"/>
                <a:gd name="T88" fmla="*/ 24 w 100"/>
                <a:gd name="T89" fmla="*/ 114 h 124"/>
                <a:gd name="T90" fmla="*/ 24 w 100"/>
                <a:gd name="T91" fmla="*/ 120 h 124"/>
                <a:gd name="T92" fmla="*/ 28 w 100"/>
                <a:gd name="T93" fmla="*/ 124 h 124"/>
                <a:gd name="T94" fmla="*/ 40 w 100"/>
                <a:gd name="T95" fmla="*/ 124 h 124"/>
                <a:gd name="T96" fmla="*/ 56 w 100"/>
                <a:gd name="T97" fmla="*/ 118 h 124"/>
                <a:gd name="T98" fmla="*/ 78 w 100"/>
                <a:gd name="T99" fmla="*/ 112 h 124"/>
                <a:gd name="T100" fmla="*/ 88 w 100"/>
                <a:gd name="T101" fmla="*/ 112 h 124"/>
                <a:gd name="T102" fmla="*/ 96 w 100"/>
                <a:gd name="T103" fmla="*/ 116 h 124"/>
                <a:gd name="T104" fmla="*/ 98 w 100"/>
                <a:gd name="T105" fmla="*/ 106 h 124"/>
                <a:gd name="T106" fmla="*/ 100 w 100"/>
                <a:gd name="T107" fmla="*/ 88 h 124"/>
                <a:gd name="T108" fmla="*/ 94 w 100"/>
                <a:gd name="T109" fmla="*/ 84 h 124"/>
                <a:gd name="T110" fmla="*/ 80 w 100"/>
                <a:gd name="T111" fmla="*/ 72 h 124"/>
                <a:gd name="T112" fmla="*/ 58 w 100"/>
                <a:gd name="T113" fmla="*/ 50 h 124"/>
                <a:gd name="T114" fmla="*/ 52 w 100"/>
                <a:gd name="T115" fmla="*/ 46 h 124"/>
                <a:gd name="T116" fmla="*/ 36 w 100"/>
                <a:gd name="T117" fmla="*/ 36 h 124"/>
                <a:gd name="T118" fmla="*/ 26 w 100"/>
                <a:gd name="T119" fmla="*/ 22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0" h="124">
                  <a:moveTo>
                    <a:pt x="26" y="22"/>
                  </a:moveTo>
                  <a:lnTo>
                    <a:pt x="26" y="22"/>
                  </a:lnTo>
                  <a:lnTo>
                    <a:pt x="18" y="6"/>
                  </a:lnTo>
                  <a:lnTo>
                    <a:pt x="14" y="2"/>
                  </a:lnTo>
                  <a:lnTo>
                    <a:pt x="12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2" y="4"/>
                  </a:lnTo>
                  <a:lnTo>
                    <a:pt x="0" y="8"/>
                  </a:lnTo>
                  <a:lnTo>
                    <a:pt x="0" y="12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10" y="20"/>
                  </a:lnTo>
                  <a:lnTo>
                    <a:pt x="14" y="26"/>
                  </a:lnTo>
                  <a:lnTo>
                    <a:pt x="16" y="32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10" y="56"/>
                  </a:lnTo>
                  <a:lnTo>
                    <a:pt x="10" y="60"/>
                  </a:lnTo>
                  <a:lnTo>
                    <a:pt x="12" y="62"/>
                  </a:lnTo>
                  <a:lnTo>
                    <a:pt x="12" y="62"/>
                  </a:lnTo>
                  <a:lnTo>
                    <a:pt x="16" y="64"/>
                  </a:lnTo>
                  <a:lnTo>
                    <a:pt x="18" y="62"/>
                  </a:lnTo>
                  <a:lnTo>
                    <a:pt x="24" y="56"/>
                  </a:lnTo>
                  <a:lnTo>
                    <a:pt x="24" y="56"/>
                  </a:lnTo>
                  <a:lnTo>
                    <a:pt x="30" y="50"/>
                  </a:lnTo>
                  <a:lnTo>
                    <a:pt x="32" y="50"/>
                  </a:lnTo>
                  <a:lnTo>
                    <a:pt x="34" y="50"/>
                  </a:lnTo>
                  <a:lnTo>
                    <a:pt x="34" y="50"/>
                  </a:lnTo>
                  <a:lnTo>
                    <a:pt x="34" y="52"/>
                  </a:lnTo>
                  <a:lnTo>
                    <a:pt x="34" y="56"/>
                  </a:lnTo>
                  <a:lnTo>
                    <a:pt x="30" y="62"/>
                  </a:lnTo>
                  <a:lnTo>
                    <a:pt x="30" y="62"/>
                  </a:lnTo>
                  <a:lnTo>
                    <a:pt x="26" y="68"/>
                  </a:lnTo>
                  <a:lnTo>
                    <a:pt x="26" y="70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30" y="72"/>
                  </a:lnTo>
                  <a:lnTo>
                    <a:pt x="32" y="70"/>
                  </a:lnTo>
                  <a:lnTo>
                    <a:pt x="38" y="66"/>
                  </a:lnTo>
                  <a:lnTo>
                    <a:pt x="38" y="66"/>
                  </a:lnTo>
                  <a:lnTo>
                    <a:pt x="40" y="62"/>
                  </a:lnTo>
                  <a:lnTo>
                    <a:pt x="42" y="62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40" y="58"/>
                  </a:lnTo>
                  <a:lnTo>
                    <a:pt x="42" y="56"/>
                  </a:lnTo>
                  <a:lnTo>
                    <a:pt x="44" y="54"/>
                  </a:lnTo>
                  <a:lnTo>
                    <a:pt x="44" y="54"/>
                  </a:lnTo>
                  <a:lnTo>
                    <a:pt x="48" y="54"/>
                  </a:lnTo>
                  <a:lnTo>
                    <a:pt x="52" y="56"/>
                  </a:lnTo>
                  <a:lnTo>
                    <a:pt x="56" y="62"/>
                  </a:lnTo>
                  <a:lnTo>
                    <a:pt x="56" y="62"/>
                  </a:lnTo>
                  <a:lnTo>
                    <a:pt x="60" y="68"/>
                  </a:lnTo>
                  <a:lnTo>
                    <a:pt x="64" y="72"/>
                  </a:lnTo>
                  <a:lnTo>
                    <a:pt x="64" y="72"/>
                  </a:lnTo>
                  <a:lnTo>
                    <a:pt x="68" y="76"/>
                  </a:lnTo>
                  <a:lnTo>
                    <a:pt x="70" y="86"/>
                  </a:lnTo>
                  <a:lnTo>
                    <a:pt x="70" y="86"/>
                  </a:lnTo>
                  <a:lnTo>
                    <a:pt x="70" y="90"/>
                  </a:lnTo>
                  <a:lnTo>
                    <a:pt x="68" y="92"/>
                  </a:lnTo>
                  <a:lnTo>
                    <a:pt x="62" y="92"/>
                  </a:lnTo>
                  <a:lnTo>
                    <a:pt x="62" y="92"/>
                  </a:lnTo>
                  <a:lnTo>
                    <a:pt x="54" y="88"/>
                  </a:lnTo>
                  <a:lnTo>
                    <a:pt x="54" y="88"/>
                  </a:lnTo>
                  <a:lnTo>
                    <a:pt x="52" y="86"/>
                  </a:lnTo>
                  <a:lnTo>
                    <a:pt x="50" y="82"/>
                  </a:lnTo>
                  <a:lnTo>
                    <a:pt x="50" y="82"/>
                  </a:lnTo>
                  <a:lnTo>
                    <a:pt x="50" y="82"/>
                  </a:lnTo>
                  <a:lnTo>
                    <a:pt x="52" y="80"/>
                  </a:lnTo>
                  <a:lnTo>
                    <a:pt x="52" y="78"/>
                  </a:lnTo>
                  <a:lnTo>
                    <a:pt x="50" y="74"/>
                  </a:lnTo>
                  <a:lnTo>
                    <a:pt x="50" y="74"/>
                  </a:lnTo>
                  <a:lnTo>
                    <a:pt x="48" y="72"/>
                  </a:lnTo>
                  <a:lnTo>
                    <a:pt x="46" y="72"/>
                  </a:lnTo>
                  <a:lnTo>
                    <a:pt x="42" y="72"/>
                  </a:lnTo>
                  <a:lnTo>
                    <a:pt x="42" y="72"/>
                  </a:lnTo>
                  <a:lnTo>
                    <a:pt x="38" y="76"/>
                  </a:lnTo>
                  <a:lnTo>
                    <a:pt x="36" y="78"/>
                  </a:lnTo>
                  <a:lnTo>
                    <a:pt x="36" y="80"/>
                  </a:lnTo>
                  <a:lnTo>
                    <a:pt x="36" y="80"/>
                  </a:lnTo>
                  <a:lnTo>
                    <a:pt x="40" y="86"/>
                  </a:lnTo>
                  <a:lnTo>
                    <a:pt x="42" y="92"/>
                  </a:lnTo>
                  <a:lnTo>
                    <a:pt x="42" y="92"/>
                  </a:lnTo>
                  <a:lnTo>
                    <a:pt x="44" y="98"/>
                  </a:lnTo>
                  <a:lnTo>
                    <a:pt x="44" y="102"/>
                  </a:lnTo>
                  <a:lnTo>
                    <a:pt x="40" y="106"/>
                  </a:lnTo>
                  <a:lnTo>
                    <a:pt x="40" y="106"/>
                  </a:lnTo>
                  <a:lnTo>
                    <a:pt x="28" y="110"/>
                  </a:lnTo>
                  <a:lnTo>
                    <a:pt x="24" y="114"/>
                  </a:lnTo>
                  <a:lnTo>
                    <a:pt x="24" y="120"/>
                  </a:lnTo>
                  <a:lnTo>
                    <a:pt x="24" y="120"/>
                  </a:lnTo>
                  <a:lnTo>
                    <a:pt x="26" y="122"/>
                  </a:lnTo>
                  <a:lnTo>
                    <a:pt x="28" y="124"/>
                  </a:lnTo>
                  <a:lnTo>
                    <a:pt x="34" y="124"/>
                  </a:lnTo>
                  <a:lnTo>
                    <a:pt x="40" y="124"/>
                  </a:lnTo>
                  <a:lnTo>
                    <a:pt x="40" y="124"/>
                  </a:lnTo>
                  <a:lnTo>
                    <a:pt x="56" y="118"/>
                  </a:lnTo>
                  <a:lnTo>
                    <a:pt x="66" y="114"/>
                  </a:lnTo>
                  <a:lnTo>
                    <a:pt x="78" y="112"/>
                  </a:lnTo>
                  <a:lnTo>
                    <a:pt x="78" y="112"/>
                  </a:lnTo>
                  <a:lnTo>
                    <a:pt x="88" y="112"/>
                  </a:lnTo>
                  <a:lnTo>
                    <a:pt x="96" y="116"/>
                  </a:lnTo>
                  <a:lnTo>
                    <a:pt x="96" y="116"/>
                  </a:lnTo>
                  <a:lnTo>
                    <a:pt x="98" y="116"/>
                  </a:lnTo>
                  <a:lnTo>
                    <a:pt x="98" y="106"/>
                  </a:lnTo>
                  <a:lnTo>
                    <a:pt x="92" y="102"/>
                  </a:lnTo>
                  <a:lnTo>
                    <a:pt x="100" y="88"/>
                  </a:lnTo>
                  <a:lnTo>
                    <a:pt x="100" y="88"/>
                  </a:lnTo>
                  <a:lnTo>
                    <a:pt x="94" y="84"/>
                  </a:lnTo>
                  <a:lnTo>
                    <a:pt x="80" y="72"/>
                  </a:lnTo>
                  <a:lnTo>
                    <a:pt x="80" y="72"/>
                  </a:lnTo>
                  <a:lnTo>
                    <a:pt x="66" y="56"/>
                  </a:lnTo>
                  <a:lnTo>
                    <a:pt x="58" y="50"/>
                  </a:lnTo>
                  <a:lnTo>
                    <a:pt x="52" y="46"/>
                  </a:lnTo>
                  <a:lnTo>
                    <a:pt x="52" y="46"/>
                  </a:lnTo>
                  <a:lnTo>
                    <a:pt x="42" y="42"/>
                  </a:lnTo>
                  <a:lnTo>
                    <a:pt x="36" y="36"/>
                  </a:lnTo>
                  <a:lnTo>
                    <a:pt x="26" y="22"/>
                  </a:lnTo>
                  <a:lnTo>
                    <a:pt x="26" y="2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4126"/>
              <a:endParaRPr lang="de-DE" sz="1799" dirty="0">
                <a:solidFill>
                  <a:srgbClr val="3B3B3B"/>
                </a:solidFill>
                <a:latin typeface="EnBW DIN Pro"/>
              </a:endParaRPr>
            </a:p>
          </p:txBody>
        </p:sp>
        <p:sp>
          <p:nvSpPr>
            <p:cNvPr id="19" name="Freeform 14">
              <a:extLst>
                <a:ext uri="{FF2B5EF4-FFF2-40B4-BE49-F238E27FC236}">
                  <a16:creationId xmlns:a16="http://schemas.microsoft.com/office/drawing/2014/main" id="{D7F66671-C7E5-4881-9F78-228DE0E38D60}"/>
                </a:ext>
              </a:extLst>
            </p:cNvPr>
            <p:cNvSpPr>
              <a:spLocks/>
            </p:cNvSpPr>
            <p:nvPr/>
          </p:nvSpPr>
          <p:spPr bwMode="gray">
            <a:xfrm>
              <a:off x="3580" y="1913"/>
              <a:ext cx="162" cy="118"/>
            </a:xfrm>
            <a:custGeom>
              <a:avLst/>
              <a:gdLst>
                <a:gd name="T0" fmla="*/ 2 w 162"/>
                <a:gd name="T1" fmla="*/ 30 h 118"/>
                <a:gd name="T2" fmla="*/ 24 w 162"/>
                <a:gd name="T3" fmla="*/ 26 h 118"/>
                <a:gd name="T4" fmla="*/ 44 w 162"/>
                <a:gd name="T5" fmla="*/ 6 h 118"/>
                <a:gd name="T6" fmla="*/ 58 w 162"/>
                <a:gd name="T7" fmla="*/ 6 h 118"/>
                <a:gd name="T8" fmla="*/ 64 w 162"/>
                <a:gd name="T9" fmla="*/ 18 h 118"/>
                <a:gd name="T10" fmla="*/ 82 w 162"/>
                <a:gd name="T11" fmla="*/ 20 h 118"/>
                <a:gd name="T12" fmla="*/ 84 w 162"/>
                <a:gd name="T13" fmla="*/ 4 h 118"/>
                <a:gd name="T14" fmla="*/ 94 w 162"/>
                <a:gd name="T15" fmla="*/ 0 h 118"/>
                <a:gd name="T16" fmla="*/ 104 w 162"/>
                <a:gd name="T17" fmla="*/ 18 h 118"/>
                <a:gd name="T18" fmla="*/ 114 w 162"/>
                <a:gd name="T19" fmla="*/ 22 h 118"/>
                <a:gd name="T20" fmla="*/ 122 w 162"/>
                <a:gd name="T21" fmla="*/ 42 h 118"/>
                <a:gd name="T22" fmla="*/ 144 w 162"/>
                <a:gd name="T23" fmla="*/ 44 h 118"/>
                <a:gd name="T24" fmla="*/ 144 w 162"/>
                <a:gd name="T25" fmla="*/ 54 h 118"/>
                <a:gd name="T26" fmla="*/ 134 w 162"/>
                <a:gd name="T27" fmla="*/ 64 h 118"/>
                <a:gd name="T28" fmla="*/ 138 w 162"/>
                <a:gd name="T29" fmla="*/ 76 h 118"/>
                <a:gd name="T30" fmla="*/ 158 w 162"/>
                <a:gd name="T31" fmla="*/ 74 h 118"/>
                <a:gd name="T32" fmla="*/ 162 w 162"/>
                <a:gd name="T33" fmla="*/ 84 h 118"/>
                <a:gd name="T34" fmla="*/ 156 w 162"/>
                <a:gd name="T35" fmla="*/ 96 h 118"/>
                <a:gd name="T36" fmla="*/ 136 w 162"/>
                <a:gd name="T37" fmla="*/ 118 h 118"/>
                <a:gd name="T38" fmla="*/ 118 w 162"/>
                <a:gd name="T39" fmla="*/ 108 h 118"/>
                <a:gd name="T40" fmla="*/ 92 w 162"/>
                <a:gd name="T41" fmla="*/ 106 h 118"/>
                <a:gd name="T42" fmla="*/ 84 w 162"/>
                <a:gd name="T43" fmla="*/ 118 h 118"/>
                <a:gd name="T44" fmla="*/ 70 w 162"/>
                <a:gd name="T45" fmla="*/ 116 h 118"/>
                <a:gd name="T46" fmla="*/ 56 w 162"/>
                <a:gd name="T47" fmla="*/ 108 h 118"/>
                <a:gd name="T48" fmla="*/ 40 w 162"/>
                <a:gd name="T49" fmla="*/ 110 h 118"/>
                <a:gd name="T50" fmla="*/ 32 w 162"/>
                <a:gd name="T51" fmla="*/ 116 h 118"/>
                <a:gd name="T52" fmla="*/ 0 w 162"/>
                <a:gd name="T53" fmla="*/ 94 h 118"/>
                <a:gd name="T54" fmla="*/ 2 w 162"/>
                <a:gd name="T55" fmla="*/ 74 h 118"/>
                <a:gd name="T56" fmla="*/ 8 w 162"/>
                <a:gd name="T57" fmla="*/ 62 h 118"/>
                <a:gd name="T58" fmla="*/ 2 w 162"/>
                <a:gd name="T59" fmla="*/ 54 h 118"/>
                <a:gd name="T60" fmla="*/ 2 w 162"/>
                <a:gd name="T61" fmla="*/ 3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62" h="118">
                  <a:moveTo>
                    <a:pt x="2" y="30"/>
                  </a:moveTo>
                  <a:lnTo>
                    <a:pt x="24" y="26"/>
                  </a:lnTo>
                  <a:lnTo>
                    <a:pt x="44" y="6"/>
                  </a:lnTo>
                  <a:lnTo>
                    <a:pt x="58" y="6"/>
                  </a:lnTo>
                  <a:lnTo>
                    <a:pt x="64" y="18"/>
                  </a:lnTo>
                  <a:lnTo>
                    <a:pt x="82" y="20"/>
                  </a:lnTo>
                  <a:lnTo>
                    <a:pt x="84" y="4"/>
                  </a:lnTo>
                  <a:lnTo>
                    <a:pt x="94" y="0"/>
                  </a:lnTo>
                  <a:lnTo>
                    <a:pt x="104" y="18"/>
                  </a:lnTo>
                  <a:lnTo>
                    <a:pt x="114" y="22"/>
                  </a:lnTo>
                  <a:lnTo>
                    <a:pt x="122" y="42"/>
                  </a:lnTo>
                  <a:lnTo>
                    <a:pt x="144" y="44"/>
                  </a:lnTo>
                  <a:lnTo>
                    <a:pt x="144" y="54"/>
                  </a:lnTo>
                  <a:lnTo>
                    <a:pt x="134" y="64"/>
                  </a:lnTo>
                  <a:lnTo>
                    <a:pt x="138" y="76"/>
                  </a:lnTo>
                  <a:lnTo>
                    <a:pt x="158" y="74"/>
                  </a:lnTo>
                  <a:lnTo>
                    <a:pt x="162" y="84"/>
                  </a:lnTo>
                  <a:lnTo>
                    <a:pt x="156" y="96"/>
                  </a:lnTo>
                  <a:lnTo>
                    <a:pt x="136" y="118"/>
                  </a:lnTo>
                  <a:lnTo>
                    <a:pt x="118" y="108"/>
                  </a:lnTo>
                  <a:lnTo>
                    <a:pt x="92" y="106"/>
                  </a:lnTo>
                  <a:lnTo>
                    <a:pt x="84" y="118"/>
                  </a:lnTo>
                  <a:lnTo>
                    <a:pt x="70" y="116"/>
                  </a:lnTo>
                  <a:lnTo>
                    <a:pt x="56" y="108"/>
                  </a:lnTo>
                  <a:lnTo>
                    <a:pt x="40" y="110"/>
                  </a:lnTo>
                  <a:lnTo>
                    <a:pt x="32" y="116"/>
                  </a:lnTo>
                  <a:lnTo>
                    <a:pt x="0" y="94"/>
                  </a:lnTo>
                  <a:lnTo>
                    <a:pt x="2" y="74"/>
                  </a:lnTo>
                  <a:lnTo>
                    <a:pt x="8" y="62"/>
                  </a:lnTo>
                  <a:lnTo>
                    <a:pt x="2" y="54"/>
                  </a:lnTo>
                  <a:lnTo>
                    <a:pt x="2" y="3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4126"/>
              <a:endParaRPr lang="de-DE" sz="1799" dirty="0">
                <a:solidFill>
                  <a:srgbClr val="3B3B3B"/>
                </a:solidFill>
                <a:latin typeface="EnBW DIN Pro"/>
              </a:endParaRPr>
            </a:p>
          </p:txBody>
        </p:sp>
        <p:sp>
          <p:nvSpPr>
            <p:cNvPr id="20" name="Freeform 15">
              <a:extLst>
                <a:ext uri="{FF2B5EF4-FFF2-40B4-BE49-F238E27FC236}">
                  <a16:creationId xmlns:a16="http://schemas.microsoft.com/office/drawing/2014/main" id="{2ACC771C-9C28-45C3-9412-CF167537A537}"/>
                </a:ext>
              </a:extLst>
            </p:cNvPr>
            <p:cNvSpPr>
              <a:spLocks/>
            </p:cNvSpPr>
            <p:nvPr/>
          </p:nvSpPr>
          <p:spPr bwMode="gray">
            <a:xfrm>
              <a:off x="3024" y="1799"/>
              <a:ext cx="590" cy="738"/>
            </a:xfrm>
            <a:custGeom>
              <a:avLst/>
              <a:gdLst>
                <a:gd name="T0" fmla="*/ 236 w 590"/>
                <a:gd name="T1" fmla="*/ 6 h 738"/>
                <a:gd name="T2" fmla="*/ 242 w 590"/>
                <a:gd name="T3" fmla="*/ 14 h 738"/>
                <a:gd name="T4" fmla="*/ 256 w 590"/>
                <a:gd name="T5" fmla="*/ 20 h 738"/>
                <a:gd name="T6" fmla="*/ 272 w 590"/>
                <a:gd name="T7" fmla="*/ 28 h 738"/>
                <a:gd name="T8" fmla="*/ 282 w 590"/>
                <a:gd name="T9" fmla="*/ 34 h 738"/>
                <a:gd name="T10" fmla="*/ 288 w 590"/>
                <a:gd name="T11" fmla="*/ 44 h 738"/>
                <a:gd name="T12" fmla="*/ 294 w 590"/>
                <a:gd name="T13" fmla="*/ 48 h 738"/>
                <a:gd name="T14" fmla="*/ 322 w 590"/>
                <a:gd name="T15" fmla="*/ 48 h 738"/>
                <a:gd name="T16" fmla="*/ 350 w 590"/>
                <a:gd name="T17" fmla="*/ 62 h 738"/>
                <a:gd name="T18" fmla="*/ 378 w 590"/>
                <a:gd name="T19" fmla="*/ 92 h 738"/>
                <a:gd name="T20" fmla="*/ 372 w 590"/>
                <a:gd name="T21" fmla="*/ 130 h 738"/>
                <a:gd name="T22" fmla="*/ 358 w 590"/>
                <a:gd name="T23" fmla="*/ 150 h 738"/>
                <a:gd name="T24" fmla="*/ 354 w 590"/>
                <a:gd name="T25" fmla="*/ 180 h 738"/>
                <a:gd name="T26" fmla="*/ 368 w 590"/>
                <a:gd name="T27" fmla="*/ 182 h 738"/>
                <a:gd name="T28" fmla="*/ 390 w 590"/>
                <a:gd name="T29" fmla="*/ 208 h 738"/>
                <a:gd name="T30" fmla="*/ 384 w 590"/>
                <a:gd name="T31" fmla="*/ 242 h 738"/>
                <a:gd name="T32" fmla="*/ 380 w 590"/>
                <a:gd name="T33" fmla="*/ 278 h 738"/>
                <a:gd name="T34" fmla="*/ 372 w 590"/>
                <a:gd name="T35" fmla="*/ 308 h 738"/>
                <a:gd name="T36" fmla="*/ 426 w 590"/>
                <a:gd name="T37" fmla="*/ 352 h 738"/>
                <a:gd name="T38" fmla="*/ 474 w 590"/>
                <a:gd name="T39" fmla="*/ 360 h 738"/>
                <a:gd name="T40" fmla="*/ 538 w 590"/>
                <a:gd name="T41" fmla="*/ 390 h 738"/>
                <a:gd name="T42" fmla="*/ 590 w 590"/>
                <a:gd name="T43" fmla="*/ 462 h 738"/>
                <a:gd name="T44" fmla="*/ 550 w 590"/>
                <a:gd name="T45" fmla="*/ 484 h 738"/>
                <a:gd name="T46" fmla="*/ 516 w 590"/>
                <a:gd name="T47" fmla="*/ 476 h 738"/>
                <a:gd name="T48" fmla="*/ 486 w 590"/>
                <a:gd name="T49" fmla="*/ 486 h 738"/>
                <a:gd name="T50" fmla="*/ 472 w 590"/>
                <a:gd name="T51" fmla="*/ 500 h 738"/>
                <a:gd name="T52" fmla="*/ 456 w 590"/>
                <a:gd name="T53" fmla="*/ 498 h 738"/>
                <a:gd name="T54" fmla="*/ 406 w 590"/>
                <a:gd name="T55" fmla="*/ 520 h 738"/>
                <a:gd name="T56" fmla="*/ 362 w 590"/>
                <a:gd name="T57" fmla="*/ 552 h 738"/>
                <a:gd name="T58" fmla="*/ 376 w 590"/>
                <a:gd name="T59" fmla="*/ 604 h 738"/>
                <a:gd name="T60" fmla="*/ 368 w 590"/>
                <a:gd name="T61" fmla="*/ 644 h 738"/>
                <a:gd name="T62" fmla="*/ 376 w 590"/>
                <a:gd name="T63" fmla="*/ 672 h 738"/>
                <a:gd name="T64" fmla="*/ 398 w 590"/>
                <a:gd name="T65" fmla="*/ 716 h 738"/>
                <a:gd name="T66" fmla="*/ 394 w 590"/>
                <a:gd name="T67" fmla="*/ 738 h 738"/>
                <a:gd name="T68" fmla="*/ 374 w 590"/>
                <a:gd name="T69" fmla="*/ 726 h 738"/>
                <a:gd name="T70" fmla="*/ 322 w 590"/>
                <a:gd name="T71" fmla="*/ 716 h 738"/>
                <a:gd name="T72" fmla="*/ 258 w 590"/>
                <a:gd name="T73" fmla="*/ 698 h 738"/>
                <a:gd name="T74" fmla="*/ 224 w 590"/>
                <a:gd name="T75" fmla="*/ 690 h 738"/>
                <a:gd name="T76" fmla="*/ 196 w 590"/>
                <a:gd name="T77" fmla="*/ 656 h 738"/>
                <a:gd name="T78" fmla="*/ 206 w 590"/>
                <a:gd name="T79" fmla="*/ 628 h 738"/>
                <a:gd name="T80" fmla="*/ 124 w 590"/>
                <a:gd name="T81" fmla="*/ 580 h 738"/>
                <a:gd name="T82" fmla="*/ 94 w 590"/>
                <a:gd name="T83" fmla="*/ 568 h 738"/>
                <a:gd name="T84" fmla="*/ 88 w 590"/>
                <a:gd name="T85" fmla="*/ 538 h 738"/>
                <a:gd name="T86" fmla="*/ 74 w 590"/>
                <a:gd name="T87" fmla="*/ 522 h 738"/>
                <a:gd name="T88" fmla="*/ 78 w 590"/>
                <a:gd name="T89" fmla="*/ 508 h 738"/>
                <a:gd name="T90" fmla="*/ 36 w 590"/>
                <a:gd name="T91" fmla="*/ 498 h 738"/>
                <a:gd name="T92" fmla="*/ 2 w 590"/>
                <a:gd name="T93" fmla="*/ 466 h 738"/>
                <a:gd name="T94" fmla="*/ 22 w 590"/>
                <a:gd name="T95" fmla="*/ 418 h 738"/>
                <a:gd name="T96" fmla="*/ 26 w 590"/>
                <a:gd name="T97" fmla="*/ 352 h 738"/>
                <a:gd name="T98" fmla="*/ 102 w 590"/>
                <a:gd name="T99" fmla="*/ 300 h 738"/>
                <a:gd name="T100" fmla="*/ 92 w 590"/>
                <a:gd name="T101" fmla="*/ 230 h 738"/>
                <a:gd name="T102" fmla="*/ 100 w 590"/>
                <a:gd name="T103" fmla="*/ 206 h 738"/>
                <a:gd name="T104" fmla="*/ 82 w 590"/>
                <a:gd name="T105" fmla="*/ 138 h 738"/>
                <a:gd name="T106" fmla="*/ 56 w 590"/>
                <a:gd name="T107" fmla="*/ 116 h 738"/>
                <a:gd name="T108" fmla="*/ 48 w 590"/>
                <a:gd name="T109" fmla="*/ 78 h 738"/>
                <a:gd name="T110" fmla="*/ 88 w 590"/>
                <a:gd name="T111" fmla="*/ 76 h 738"/>
                <a:gd name="T112" fmla="*/ 132 w 590"/>
                <a:gd name="T113" fmla="*/ 56 h 738"/>
                <a:gd name="T114" fmla="*/ 196 w 590"/>
                <a:gd name="T115" fmla="*/ 50 h 738"/>
                <a:gd name="T116" fmla="*/ 226 w 590"/>
                <a:gd name="T117" fmla="*/ 12 h 738"/>
                <a:gd name="T118" fmla="*/ 228 w 590"/>
                <a:gd name="T119" fmla="*/ 0 h 738"/>
                <a:gd name="T120" fmla="*/ 234 w 590"/>
                <a:gd name="T121" fmla="*/ 4 h 738"/>
                <a:gd name="T122" fmla="*/ 236 w 590"/>
                <a:gd name="T123" fmla="*/ 6 h 7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90" h="738">
                  <a:moveTo>
                    <a:pt x="236" y="6"/>
                  </a:moveTo>
                  <a:lnTo>
                    <a:pt x="236" y="6"/>
                  </a:lnTo>
                  <a:lnTo>
                    <a:pt x="238" y="10"/>
                  </a:lnTo>
                  <a:lnTo>
                    <a:pt x="242" y="14"/>
                  </a:lnTo>
                  <a:lnTo>
                    <a:pt x="248" y="18"/>
                  </a:lnTo>
                  <a:lnTo>
                    <a:pt x="256" y="20"/>
                  </a:lnTo>
                  <a:lnTo>
                    <a:pt x="256" y="20"/>
                  </a:lnTo>
                  <a:lnTo>
                    <a:pt x="272" y="28"/>
                  </a:lnTo>
                  <a:lnTo>
                    <a:pt x="278" y="30"/>
                  </a:lnTo>
                  <a:lnTo>
                    <a:pt x="282" y="34"/>
                  </a:lnTo>
                  <a:lnTo>
                    <a:pt x="282" y="34"/>
                  </a:lnTo>
                  <a:lnTo>
                    <a:pt x="288" y="44"/>
                  </a:lnTo>
                  <a:lnTo>
                    <a:pt x="294" y="48"/>
                  </a:lnTo>
                  <a:lnTo>
                    <a:pt x="294" y="48"/>
                  </a:lnTo>
                  <a:lnTo>
                    <a:pt x="312" y="56"/>
                  </a:lnTo>
                  <a:lnTo>
                    <a:pt x="322" y="48"/>
                  </a:lnTo>
                  <a:lnTo>
                    <a:pt x="342" y="52"/>
                  </a:lnTo>
                  <a:lnTo>
                    <a:pt x="350" y="62"/>
                  </a:lnTo>
                  <a:lnTo>
                    <a:pt x="368" y="62"/>
                  </a:lnTo>
                  <a:lnTo>
                    <a:pt x="378" y="92"/>
                  </a:lnTo>
                  <a:lnTo>
                    <a:pt x="360" y="104"/>
                  </a:lnTo>
                  <a:lnTo>
                    <a:pt x="372" y="130"/>
                  </a:lnTo>
                  <a:lnTo>
                    <a:pt x="366" y="148"/>
                  </a:lnTo>
                  <a:lnTo>
                    <a:pt x="358" y="150"/>
                  </a:lnTo>
                  <a:lnTo>
                    <a:pt x="348" y="162"/>
                  </a:lnTo>
                  <a:lnTo>
                    <a:pt x="354" y="180"/>
                  </a:lnTo>
                  <a:lnTo>
                    <a:pt x="360" y="186"/>
                  </a:lnTo>
                  <a:lnTo>
                    <a:pt x="368" y="182"/>
                  </a:lnTo>
                  <a:lnTo>
                    <a:pt x="388" y="194"/>
                  </a:lnTo>
                  <a:lnTo>
                    <a:pt x="390" y="208"/>
                  </a:lnTo>
                  <a:lnTo>
                    <a:pt x="384" y="222"/>
                  </a:lnTo>
                  <a:lnTo>
                    <a:pt x="384" y="242"/>
                  </a:lnTo>
                  <a:lnTo>
                    <a:pt x="388" y="258"/>
                  </a:lnTo>
                  <a:lnTo>
                    <a:pt x="380" y="278"/>
                  </a:lnTo>
                  <a:lnTo>
                    <a:pt x="390" y="290"/>
                  </a:lnTo>
                  <a:lnTo>
                    <a:pt x="372" y="308"/>
                  </a:lnTo>
                  <a:lnTo>
                    <a:pt x="414" y="358"/>
                  </a:lnTo>
                  <a:lnTo>
                    <a:pt x="426" y="352"/>
                  </a:lnTo>
                  <a:lnTo>
                    <a:pt x="450" y="372"/>
                  </a:lnTo>
                  <a:lnTo>
                    <a:pt x="474" y="360"/>
                  </a:lnTo>
                  <a:lnTo>
                    <a:pt x="524" y="390"/>
                  </a:lnTo>
                  <a:lnTo>
                    <a:pt x="538" y="390"/>
                  </a:lnTo>
                  <a:lnTo>
                    <a:pt x="578" y="416"/>
                  </a:lnTo>
                  <a:lnTo>
                    <a:pt x="590" y="462"/>
                  </a:lnTo>
                  <a:lnTo>
                    <a:pt x="572" y="492"/>
                  </a:lnTo>
                  <a:lnTo>
                    <a:pt x="550" y="484"/>
                  </a:lnTo>
                  <a:lnTo>
                    <a:pt x="540" y="490"/>
                  </a:lnTo>
                  <a:lnTo>
                    <a:pt x="516" y="476"/>
                  </a:lnTo>
                  <a:lnTo>
                    <a:pt x="496" y="488"/>
                  </a:lnTo>
                  <a:lnTo>
                    <a:pt x="486" y="486"/>
                  </a:lnTo>
                  <a:lnTo>
                    <a:pt x="476" y="488"/>
                  </a:lnTo>
                  <a:lnTo>
                    <a:pt x="472" y="500"/>
                  </a:lnTo>
                  <a:lnTo>
                    <a:pt x="464" y="502"/>
                  </a:lnTo>
                  <a:lnTo>
                    <a:pt x="456" y="498"/>
                  </a:lnTo>
                  <a:lnTo>
                    <a:pt x="424" y="506"/>
                  </a:lnTo>
                  <a:lnTo>
                    <a:pt x="406" y="520"/>
                  </a:lnTo>
                  <a:lnTo>
                    <a:pt x="378" y="526"/>
                  </a:lnTo>
                  <a:lnTo>
                    <a:pt x="362" y="552"/>
                  </a:lnTo>
                  <a:lnTo>
                    <a:pt x="374" y="570"/>
                  </a:lnTo>
                  <a:lnTo>
                    <a:pt x="376" y="604"/>
                  </a:lnTo>
                  <a:lnTo>
                    <a:pt x="366" y="610"/>
                  </a:lnTo>
                  <a:lnTo>
                    <a:pt x="368" y="644"/>
                  </a:lnTo>
                  <a:lnTo>
                    <a:pt x="376" y="652"/>
                  </a:lnTo>
                  <a:lnTo>
                    <a:pt x="376" y="672"/>
                  </a:lnTo>
                  <a:lnTo>
                    <a:pt x="400" y="692"/>
                  </a:lnTo>
                  <a:lnTo>
                    <a:pt x="398" y="716"/>
                  </a:lnTo>
                  <a:lnTo>
                    <a:pt x="404" y="724"/>
                  </a:lnTo>
                  <a:lnTo>
                    <a:pt x="394" y="738"/>
                  </a:lnTo>
                  <a:lnTo>
                    <a:pt x="380" y="738"/>
                  </a:lnTo>
                  <a:lnTo>
                    <a:pt x="374" y="726"/>
                  </a:lnTo>
                  <a:lnTo>
                    <a:pt x="336" y="728"/>
                  </a:lnTo>
                  <a:lnTo>
                    <a:pt x="322" y="716"/>
                  </a:lnTo>
                  <a:lnTo>
                    <a:pt x="270" y="708"/>
                  </a:lnTo>
                  <a:lnTo>
                    <a:pt x="258" y="698"/>
                  </a:lnTo>
                  <a:lnTo>
                    <a:pt x="242" y="692"/>
                  </a:lnTo>
                  <a:lnTo>
                    <a:pt x="224" y="690"/>
                  </a:lnTo>
                  <a:lnTo>
                    <a:pt x="216" y="664"/>
                  </a:lnTo>
                  <a:lnTo>
                    <a:pt x="196" y="656"/>
                  </a:lnTo>
                  <a:lnTo>
                    <a:pt x="190" y="644"/>
                  </a:lnTo>
                  <a:lnTo>
                    <a:pt x="206" y="628"/>
                  </a:lnTo>
                  <a:lnTo>
                    <a:pt x="190" y="596"/>
                  </a:lnTo>
                  <a:lnTo>
                    <a:pt x="124" y="580"/>
                  </a:lnTo>
                  <a:lnTo>
                    <a:pt x="106" y="580"/>
                  </a:lnTo>
                  <a:lnTo>
                    <a:pt x="94" y="568"/>
                  </a:lnTo>
                  <a:lnTo>
                    <a:pt x="96" y="556"/>
                  </a:lnTo>
                  <a:lnTo>
                    <a:pt x="88" y="538"/>
                  </a:lnTo>
                  <a:lnTo>
                    <a:pt x="78" y="534"/>
                  </a:lnTo>
                  <a:lnTo>
                    <a:pt x="74" y="522"/>
                  </a:lnTo>
                  <a:lnTo>
                    <a:pt x="80" y="514"/>
                  </a:lnTo>
                  <a:lnTo>
                    <a:pt x="78" y="508"/>
                  </a:lnTo>
                  <a:lnTo>
                    <a:pt x="64" y="510"/>
                  </a:lnTo>
                  <a:lnTo>
                    <a:pt x="36" y="498"/>
                  </a:lnTo>
                  <a:lnTo>
                    <a:pt x="16" y="498"/>
                  </a:lnTo>
                  <a:lnTo>
                    <a:pt x="2" y="466"/>
                  </a:lnTo>
                  <a:lnTo>
                    <a:pt x="0" y="454"/>
                  </a:lnTo>
                  <a:lnTo>
                    <a:pt x="22" y="418"/>
                  </a:lnTo>
                  <a:lnTo>
                    <a:pt x="8" y="384"/>
                  </a:lnTo>
                  <a:lnTo>
                    <a:pt x="26" y="352"/>
                  </a:lnTo>
                  <a:lnTo>
                    <a:pt x="86" y="342"/>
                  </a:lnTo>
                  <a:lnTo>
                    <a:pt x="102" y="300"/>
                  </a:lnTo>
                  <a:lnTo>
                    <a:pt x="92" y="290"/>
                  </a:lnTo>
                  <a:lnTo>
                    <a:pt x="92" y="230"/>
                  </a:lnTo>
                  <a:lnTo>
                    <a:pt x="86" y="218"/>
                  </a:lnTo>
                  <a:lnTo>
                    <a:pt x="100" y="206"/>
                  </a:lnTo>
                  <a:lnTo>
                    <a:pt x="84" y="186"/>
                  </a:lnTo>
                  <a:lnTo>
                    <a:pt x="82" y="138"/>
                  </a:lnTo>
                  <a:lnTo>
                    <a:pt x="62" y="134"/>
                  </a:lnTo>
                  <a:lnTo>
                    <a:pt x="56" y="116"/>
                  </a:lnTo>
                  <a:lnTo>
                    <a:pt x="42" y="106"/>
                  </a:lnTo>
                  <a:lnTo>
                    <a:pt x="48" y="78"/>
                  </a:lnTo>
                  <a:lnTo>
                    <a:pt x="66" y="72"/>
                  </a:lnTo>
                  <a:lnTo>
                    <a:pt x="88" y="76"/>
                  </a:lnTo>
                  <a:lnTo>
                    <a:pt x="88" y="66"/>
                  </a:lnTo>
                  <a:lnTo>
                    <a:pt x="132" y="56"/>
                  </a:lnTo>
                  <a:lnTo>
                    <a:pt x="150" y="64"/>
                  </a:lnTo>
                  <a:lnTo>
                    <a:pt x="196" y="50"/>
                  </a:lnTo>
                  <a:lnTo>
                    <a:pt x="194" y="38"/>
                  </a:lnTo>
                  <a:lnTo>
                    <a:pt x="226" y="12"/>
                  </a:lnTo>
                  <a:lnTo>
                    <a:pt x="228" y="0"/>
                  </a:lnTo>
                  <a:lnTo>
                    <a:pt x="228" y="0"/>
                  </a:lnTo>
                  <a:lnTo>
                    <a:pt x="232" y="2"/>
                  </a:lnTo>
                  <a:lnTo>
                    <a:pt x="234" y="4"/>
                  </a:lnTo>
                  <a:lnTo>
                    <a:pt x="236" y="6"/>
                  </a:lnTo>
                  <a:lnTo>
                    <a:pt x="236" y="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4126"/>
              <a:endParaRPr lang="de-DE" sz="1799" dirty="0">
                <a:solidFill>
                  <a:srgbClr val="3B3B3B"/>
                </a:solidFill>
                <a:latin typeface="EnBW DIN Pro"/>
              </a:endParaRPr>
            </a:p>
          </p:txBody>
        </p:sp>
        <p:sp>
          <p:nvSpPr>
            <p:cNvPr id="21" name="Freeform 16">
              <a:extLst>
                <a:ext uri="{FF2B5EF4-FFF2-40B4-BE49-F238E27FC236}">
                  <a16:creationId xmlns:a16="http://schemas.microsoft.com/office/drawing/2014/main" id="{FBD33159-0A46-41E0-B728-7EF4506D2934}"/>
                </a:ext>
              </a:extLst>
            </p:cNvPr>
            <p:cNvSpPr>
              <a:spLocks/>
            </p:cNvSpPr>
            <p:nvPr/>
          </p:nvSpPr>
          <p:spPr bwMode="gray">
            <a:xfrm>
              <a:off x="2874" y="2293"/>
              <a:ext cx="632" cy="528"/>
            </a:xfrm>
            <a:custGeom>
              <a:avLst/>
              <a:gdLst>
                <a:gd name="T0" fmla="*/ 18 w 632"/>
                <a:gd name="T1" fmla="*/ 96 h 528"/>
                <a:gd name="T2" fmla="*/ 68 w 632"/>
                <a:gd name="T3" fmla="*/ 162 h 528"/>
                <a:gd name="T4" fmla="*/ 54 w 632"/>
                <a:gd name="T5" fmla="*/ 174 h 528"/>
                <a:gd name="T6" fmla="*/ 34 w 632"/>
                <a:gd name="T7" fmla="*/ 182 h 528"/>
                <a:gd name="T8" fmla="*/ 34 w 632"/>
                <a:gd name="T9" fmla="*/ 218 h 528"/>
                <a:gd name="T10" fmla="*/ 2 w 632"/>
                <a:gd name="T11" fmla="*/ 250 h 528"/>
                <a:gd name="T12" fmla="*/ 14 w 632"/>
                <a:gd name="T13" fmla="*/ 272 h 528"/>
                <a:gd name="T14" fmla="*/ 30 w 632"/>
                <a:gd name="T15" fmla="*/ 288 h 528"/>
                <a:gd name="T16" fmla="*/ 4 w 632"/>
                <a:gd name="T17" fmla="*/ 340 h 528"/>
                <a:gd name="T18" fmla="*/ 34 w 632"/>
                <a:gd name="T19" fmla="*/ 350 h 528"/>
                <a:gd name="T20" fmla="*/ 54 w 632"/>
                <a:gd name="T21" fmla="*/ 368 h 528"/>
                <a:gd name="T22" fmla="*/ 62 w 632"/>
                <a:gd name="T23" fmla="*/ 416 h 528"/>
                <a:gd name="T24" fmla="*/ 88 w 632"/>
                <a:gd name="T25" fmla="*/ 418 h 528"/>
                <a:gd name="T26" fmla="*/ 106 w 632"/>
                <a:gd name="T27" fmla="*/ 428 h 528"/>
                <a:gd name="T28" fmla="*/ 174 w 632"/>
                <a:gd name="T29" fmla="*/ 480 h 528"/>
                <a:gd name="T30" fmla="*/ 194 w 632"/>
                <a:gd name="T31" fmla="*/ 526 h 528"/>
                <a:gd name="T32" fmla="*/ 216 w 632"/>
                <a:gd name="T33" fmla="*/ 512 h 528"/>
                <a:gd name="T34" fmla="*/ 234 w 632"/>
                <a:gd name="T35" fmla="*/ 498 h 528"/>
                <a:gd name="T36" fmla="*/ 220 w 632"/>
                <a:gd name="T37" fmla="*/ 476 h 528"/>
                <a:gd name="T38" fmla="*/ 254 w 632"/>
                <a:gd name="T39" fmla="*/ 460 h 528"/>
                <a:gd name="T40" fmla="*/ 258 w 632"/>
                <a:gd name="T41" fmla="*/ 478 h 528"/>
                <a:gd name="T42" fmla="*/ 284 w 632"/>
                <a:gd name="T43" fmla="*/ 506 h 528"/>
                <a:gd name="T44" fmla="*/ 312 w 632"/>
                <a:gd name="T45" fmla="*/ 424 h 528"/>
                <a:gd name="T46" fmla="*/ 346 w 632"/>
                <a:gd name="T47" fmla="*/ 424 h 528"/>
                <a:gd name="T48" fmla="*/ 380 w 632"/>
                <a:gd name="T49" fmla="*/ 458 h 528"/>
                <a:gd name="T50" fmla="*/ 422 w 632"/>
                <a:gd name="T51" fmla="*/ 444 h 528"/>
                <a:gd name="T52" fmla="*/ 442 w 632"/>
                <a:gd name="T53" fmla="*/ 442 h 528"/>
                <a:gd name="T54" fmla="*/ 466 w 632"/>
                <a:gd name="T55" fmla="*/ 446 h 528"/>
                <a:gd name="T56" fmla="*/ 470 w 632"/>
                <a:gd name="T57" fmla="*/ 428 h 528"/>
                <a:gd name="T58" fmla="*/ 480 w 632"/>
                <a:gd name="T59" fmla="*/ 416 h 528"/>
                <a:gd name="T60" fmla="*/ 464 w 632"/>
                <a:gd name="T61" fmla="*/ 392 h 528"/>
                <a:gd name="T62" fmla="*/ 492 w 632"/>
                <a:gd name="T63" fmla="*/ 358 h 528"/>
                <a:gd name="T64" fmla="*/ 502 w 632"/>
                <a:gd name="T65" fmla="*/ 378 h 528"/>
                <a:gd name="T66" fmla="*/ 526 w 632"/>
                <a:gd name="T67" fmla="*/ 368 h 528"/>
                <a:gd name="T68" fmla="*/ 528 w 632"/>
                <a:gd name="T69" fmla="*/ 352 h 528"/>
                <a:gd name="T70" fmla="*/ 556 w 632"/>
                <a:gd name="T71" fmla="*/ 346 h 528"/>
                <a:gd name="T72" fmla="*/ 544 w 632"/>
                <a:gd name="T73" fmla="*/ 294 h 528"/>
                <a:gd name="T74" fmla="*/ 574 w 632"/>
                <a:gd name="T75" fmla="*/ 280 h 528"/>
                <a:gd name="T76" fmla="*/ 592 w 632"/>
                <a:gd name="T77" fmla="*/ 270 h 528"/>
                <a:gd name="T78" fmla="*/ 624 w 632"/>
                <a:gd name="T79" fmla="*/ 262 h 528"/>
                <a:gd name="T80" fmla="*/ 622 w 632"/>
                <a:gd name="T81" fmla="*/ 228 h 528"/>
                <a:gd name="T82" fmla="*/ 594 w 632"/>
                <a:gd name="T83" fmla="*/ 206 h 528"/>
                <a:gd name="T84" fmla="*/ 550 w 632"/>
                <a:gd name="T85" fmla="*/ 198 h 528"/>
                <a:gd name="T86" fmla="*/ 554 w 632"/>
                <a:gd name="T87" fmla="*/ 230 h 528"/>
                <a:gd name="T88" fmla="*/ 530 w 632"/>
                <a:gd name="T89" fmla="*/ 244 h 528"/>
                <a:gd name="T90" fmla="*/ 486 w 632"/>
                <a:gd name="T91" fmla="*/ 234 h 528"/>
                <a:gd name="T92" fmla="*/ 420 w 632"/>
                <a:gd name="T93" fmla="*/ 214 h 528"/>
                <a:gd name="T94" fmla="*/ 392 w 632"/>
                <a:gd name="T95" fmla="*/ 198 h 528"/>
                <a:gd name="T96" fmla="*/ 366 w 632"/>
                <a:gd name="T97" fmla="*/ 170 h 528"/>
                <a:gd name="T98" fmla="*/ 340 w 632"/>
                <a:gd name="T99" fmla="*/ 150 h 528"/>
                <a:gd name="T100" fmla="*/ 340 w 632"/>
                <a:gd name="T101" fmla="*/ 102 h 528"/>
                <a:gd name="T102" fmla="*/ 256 w 632"/>
                <a:gd name="T103" fmla="*/ 86 h 528"/>
                <a:gd name="T104" fmla="*/ 246 w 632"/>
                <a:gd name="T105" fmla="*/ 62 h 528"/>
                <a:gd name="T106" fmla="*/ 228 w 632"/>
                <a:gd name="T107" fmla="*/ 40 h 528"/>
                <a:gd name="T108" fmla="*/ 230 w 632"/>
                <a:gd name="T109" fmla="*/ 20 h 528"/>
                <a:gd name="T110" fmla="*/ 214 w 632"/>
                <a:gd name="T111" fmla="*/ 16 h 528"/>
                <a:gd name="T112" fmla="*/ 166 w 632"/>
                <a:gd name="T113" fmla="*/ 4 h 528"/>
                <a:gd name="T114" fmla="*/ 142 w 632"/>
                <a:gd name="T115" fmla="*/ 22 h 528"/>
                <a:gd name="T116" fmla="*/ 110 w 632"/>
                <a:gd name="T117" fmla="*/ 0 h 528"/>
                <a:gd name="T118" fmla="*/ 108 w 632"/>
                <a:gd name="T119" fmla="*/ 18 h 528"/>
                <a:gd name="T120" fmla="*/ 98 w 632"/>
                <a:gd name="T121" fmla="*/ 54 h 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632" h="528">
                  <a:moveTo>
                    <a:pt x="98" y="54"/>
                  </a:moveTo>
                  <a:lnTo>
                    <a:pt x="18" y="96"/>
                  </a:lnTo>
                  <a:lnTo>
                    <a:pt x="18" y="124"/>
                  </a:lnTo>
                  <a:lnTo>
                    <a:pt x="68" y="162"/>
                  </a:lnTo>
                  <a:lnTo>
                    <a:pt x="68" y="172"/>
                  </a:lnTo>
                  <a:lnTo>
                    <a:pt x="54" y="174"/>
                  </a:lnTo>
                  <a:lnTo>
                    <a:pt x="52" y="184"/>
                  </a:lnTo>
                  <a:lnTo>
                    <a:pt x="34" y="182"/>
                  </a:lnTo>
                  <a:lnTo>
                    <a:pt x="46" y="218"/>
                  </a:lnTo>
                  <a:lnTo>
                    <a:pt x="34" y="218"/>
                  </a:lnTo>
                  <a:lnTo>
                    <a:pt x="10" y="250"/>
                  </a:lnTo>
                  <a:lnTo>
                    <a:pt x="2" y="250"/>
                  </a:lnTo>
                  <a:lnTo>
                    <a:pt x="0" y="262"/>
                  </a:lnTo>
                  <a:lnTo>
                    <a:pt x="14" y="272"/>
                  </a:lnTo>
                  <a:lnTo>
                    <a:pt x="32" y="270"/>
                  </a:lnTo>
                  <a:lnTo>
                    <a:pt x="30" y="288"/>
                  </a:lnTo>
                  <a:lnTo>
                    <a:pt x="8" y="296"/>
                  </a:lnTo>
                  <a:lnTo>
                    <a:pt x="4" y="340"/>
                  </a:lnTo>
                  <a:lnTo>
                    <a:pt x="16" y="342"/>
                  </a:lnTo>
                  <a:lnTo>
                    <a:pt x="34" y="350"/>
                  </a:lnTo>
                  <a:lnTo>
                    <a:pt x="44" y="346"/>
                  </a:lnTo>
                  <a:lnTo>
                    <a:pt x="54" y="368"/>
                  </a:lnTo>
                  <a:lnTo>
                    <a:pt x="50" y="412"/>
                  </a:lnTo>
                  <a:lnTo>
                    <a:pt x="62" y="416"/>
                  </a:lnTo>
                  <a:lnTo>
                    <a:pt x="78" y="410"/>
                  </a:lnTo>
                  <a:lnTo>
                    <a:pt x="88" y="418"/>
                  </a:lnTo>
                  <a:lnTo>
                    <a:pt x="88" y="432"/>
                  </a:lnTo>
                  <a:lnTo>
                    <a:pt x="106" y="428"/>
                  </a:lnTo>
                  <a:lnTo>
                    <a:pt x="122" y="454"/>
                  </a:lnTo>
                  <a:lnTo>
                    <a:pt x="174" y="480"/>
                  </a:lnTo>
                  <a:lnTo>
                    <a:pt x="170" y="504"/>
                  </a:lnTo>
                  <a:lnTo>
                    <a:pt x="194" y="526"/>
                  </a:lnTo>
                  <a:lnTo>
                    <a:pt x="214" y="528"/>
                  </a:lnTo>
                  <a:lnTo>
                    <a:pt x="216" y="512"/>
                  </a:lnTo>
                  <a:lnTo>
                    <a:pt x="230" y="512"/>
                  </a:lnTo>
                  <a:lnTo>
                    <a:pt x="234" y="498"/>
                  </a:lnTo>
                  <a:lnTo>
                    <a:pt x="214" y="492"/>
                  </a:lnTo>
                  <a:lnTo>
                    <a:pt x="220" y="476"/>
                  </a:lnTo>
                  <a:lnTo>
                    <a:pt x="236" y="476"/>
                  </a:lnTo>
                  <a:lnTo>
                    <a:pt x="254" y="460"/>
                  </a:lnTo>
                  <a:lnTo>
                    <a:pt x="258" y="462"/>
                  </a:lnTo>
                  <a:lnTo>
                    <a:pt x="258" y="478"/>
                  </a:lnTo>
                  <a:lnTo>
                    <a:pt x="274" y="476"/>
                  </a:lnTo>
                  <a:lnTo>
                    <a:pt x="284" y="506"/>
                  </a:lnTo>
                  <a:lnTo>
                    <a:pt x="330" y="494"/>
                  </a:lnTo>
                  <a:lnTo>
                    <a:pt x="312" y="424"/>
                  </a:lnTo>
                  <a:lnTo>
                    <a:pt x="330" y="418"/>
                  </a:lnTo>
                  <a:lnTo>
                    <a:pt x="346" y="424"/>
                  </a:lnTo>
                  <a:lnTo>
                    <a:pt x="354" y="450"/>
                  </a:lnTo>
                  <a:lnTo>
                    <a:pt x="380" y="458"/>
                  </a:lnTo>
                  <a:lnTo>
                    <a:pt x="412" y="440"/>
                  </a:lnTo>
                  <a:lnTo>
                    <a:pt x="422" y="444"/>
                  </a:lnTo>
                  <a:lnTo>
                    <a:pt x="434" y="436"/>
                  </a:lnTo>
                  <a:lnTo>
                    <a:pt x="442" y="442"/>
                  </a:lnTo>
                  <a:lnTo>
                    <a:pt x="440" y="446"/>
                  </a:lnTo>
                  <a:lnTo>
                    <a:pt x="466" y="446"/>
                  </a:lnTo>
                  <a:lnTo>
                    <a:pt x="478" y="438"/>
                  </a:lnTo>
                  <a:lnTo>
                    <a:pt x="470" y="428"/>
                  </a:lnTo>
                  <a:lnTo>
                    <a:pt x="470" y="422"/>
                  </a:lnTo>
                  <a:lnTo>
                    <a:pt x="480" y="416"/>
                  </a:lnTo>
                  <a:lnTo>
                    <a:pt x="484" y="404"/>
                  </a:lnTo>
                  <a:lnTo>
                    <a:pt x="464" y="392"/>
                  </a:lnTo>
                  <a:lnTo>
                    <a:pt x="466" y="380"/>
                  </a:lnTo>
                  <a:lnTo>
                    <a:pt x="492" y="358"/>
                  </a:lnTo>
                  <a:lnTo>
                    <a:pt x="504" y="368"/>
                  </a:lnTo>
                  <a:lnTo>
                    <a:pt x="502" y="378"/>
                  </a:lnTo>
                  <a:lnTo>
                    <a:pt x="510" y="382"/>
                  </a:lnTo>
                  <a:lnTo>
                    <a:pt x="526" y="368"/>
                  </a:lnTo>
                  <a:lnTo>
                    <a:pt x="522" y="360"/>
                  </a:lnTo>
                  <a:lnTo>
                    <a:pt x="528" y="352"/>
                  </a:lnTo>
                  <a:lnTo>
                    <a:pt x="550" y="354"/>
                  </a:lnTo>
                  <a:lnTo>
                    <a:pt x="556" y="346"/>
                  </a:lnTo>
                  <a:lnTo>
                    <a:pt x="532" y="316"/>
                  </a:lnTo>
                  <a:lnTo>
                    <a:pt x="544" y="294"/>
                  </a:lnTo>
                  <a:lnTo>
                    <a:pt x="566" y="288"/>
                  </a:lnTo>
                  <a:lnTo>
                    <a:pt x="574" y="280"/>
                  </a:lnTo>
                  <a:lnTo>
                    <a:pt x="588" y="282"/>
                  </a:lnTo>
                  <a:lnTo>
                    <a:pt x="592" y="270"/>
                  </a:lnTo>
                  <a:lnTo>
                    <a:pt x="610" y="262"/>
                  </a:lnTo>
                  <a:lnTo>
                    <a:pt x="624" y="262"/>
                  </a:lnTo>
                  <a:lnTo>
                    <a:pt x="632" y="252"/>
                  </a:lnTo>
                  <a:lnTo>
                    <a:pt x="622" y="228"/>
                  </a:lnTo>
                  <a:lnTo>
                    <a:pt x="600" y="218"/>
                  </a:lnTo>
                  <a:lnTo>
                    <a:pt x="594" y="206"/>
                  </a:lnTo>
                  <a:lnTo>
                    <a:pt x="580" y="196"/>
                  </a:lnTo>
                  <a:lnTo>
                    <a:pt x="550" y="198"/>
                  </a:lnTo>
                  <a:lnTo>
                    <a:pt x="548" y="222"/>
                  </a:lnTo>
                  <a:lnTo>
                    <a:pt x="554" y="230"/>
                  </a:lnTo>
                  <a:lnTo>
                    <a:pt x="544" y="244"/>
                  </a:lnTo>
                  <a:lnTo>
                    <a:pt x="530" y="244"/>
                  </a:lnTo>
                  <a:lnTo>
                    <a:pt x="524" y="232"/>
                  </a:lnTo>
                  <a:lnTo>
                    <a:pt x="486" y="234"/>
                  </a:lnTo>
                  <a:lnTo>
                    <a:pt x="472" y="222"/>
                  </a:lnTo>
                  <a:lnTo>
                    <a:pt x="420" y="214"/>
                  </a:lnTo>
                  <a:lnTo>
                    <a:pt x="408" y="204"/>
                  </a:lnTo>
                  <a:lnTo>
                    <a:pt x="392" y="198"/>
                  </a:lnTo>
                  <a:lnTo>
                    <a:pt x="374" y="196"/>
                  </a:lnTo>
                  <a:lnTo>
                    <a:pt x="366" y="170"/>
                  </a:lnTo>
                  <a:lnTo>
                    <a:pt x="346" y="162"/>
                  </a:lnTo>
                  <a:lnTo>
                    <a:pt x="340" y="150"/>
                  </a:lnTo>
                  <a:lnTo>
                    <a:pt x="356" y="134"/>
                  </a:lnTo>
                  <a:lnTo>
                    <a:pt x="340" y="102"/>
                  </a:lnTo>
                  <a:lnTo>
                    <a:pt x="274" y="86"/>
                  </a:lnTo>
                  <a:lnTo>
                    <a:pt x="256" y="86"/>
                  </a:lnTo>
                  <a:lnTo>
                    <a:pt x="244" y="74"/>
                  </a:lnTo>
                  <a:lnTo>
                    <a:pt x="246" y="62"/>
                  </a:lnTo>
                  <a:lnTo>
                    <a:pt x="238" y="44"/>
                  </a:lnTo>
                  <a:lnTo>
                    <a:pt x="228" y="40"/>
                  </a:lnTo>
                  <a:lnTo>
                    <a:pt x="224" y="28"/>
                  </a:lnTo>
                  <a:lnTo>
                    <a:pt x="230" y="20"/>
                  </a:lnTo>
                  <a:lnTo>
                    <a:pt x="228" y="14"/>
                  </a:lnTo>
                  <a:lnTo>
                    <a:pt x="214" y="16"/>
                  </a:lnTo>
                  <a:lnTo>
                    <a:pt x="186" y="4"/>
                  </a:lnTo>
                  <a:lnTo>
                    <a:pt x="166" y="4"/>
                  </a:lnTo>
                  <a:lnTo>
                    <a:pt x="162" y="20"/>
                  </a:lnTo>
                  <a:lnTo>
                    <a:pt x="142" y="22"/>
                  </a:lnTo>
                  <a:lnTo>
                    <a:pt x="126" y="6"/>
                  </a:lnTo>
                  <a:lnTo>
                    <a:pt x="110" y="0"/>
                  </a:lnTo>
                  <a:lnTo>
                    <a:pt x="108" y="6"/>
                  </a:lnTo>
                  <a:lnTo>
                    <a:pt x="108" y="18"/>
                  </a:lnTo>
                  <a:lnTo>
                    <a:pt x="94" y="34"/>
                  </a:lnTo>
                  <a:lnTo>
                    <a:pt x="98" y="5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4126"/>
              <a:endParaRPr lang="de-DE" sz="1799" dirty="0">
                <a:solidFill>
                  <a:srgbClr val="3B3B3B"/>
                </a:solidFill>
                <a:latin typeface="EnBW DIN Pro"/>
              </a:endParaRPr>
            </a:p>
          </p:txBody>
        </p:sp>
        <p:sp>
          <p:nvSpPr>
            <p:cNvPr id="22" name="Freeform 17">
              <a:extLst>
                <a:ext uri="{FF2B5EF4-FFF2-40B4-BE49-F238E27FC236}">
                  <a16:creationId xmlns:a16="http://schemas.microsoft.com/office/drawing/2014/main" id="{94A83FF5-49C6-4158-BD88-84A9B652C5A8}"/>
                </a:ext>
              </a:extLst>
            </p:cNvPr>
            <p:cNvSpPr>
              <a:spLocks/>
            </p:cNvSpPr>
            <p:nvPr/>
          </p:nvSpPr>
          <p:spPr bwMode="gray">
            <a:xfrm>
              <a:off x="3548" y="1275"/>
              <a:ext cx="22" cy="20"/>
            </a:xfrm>
            <a:custGeom>
              <a:avLst/>
              <a:gdLst>
                <a:gd name="T0" fmla="*/ 18 w 22"/>
                <a:gd name="T1" fmla="*/ 10 h 20"/>
                <a:gd name="T2" fmla="*/ 18 w 22"/>
                <a:gd name="T3" fmla="*/ 10 h 20"/>
                <a:gd name="T4" fmla="*/ 8 w 22"/>
                <a:gd name="T5" fmla="*/ 16 h 20"/>
                <a:gd name="T6" fmla="*/ 4 w 22"/>
                <a:gd name="T7" fmla="*/ 20 h 20"/>
                <a:gd name="T8" fmla="*/ 0 w 22"/>
                <a:gd name="T9" fmla="*/ 20 h 20"/>
                <a:gd name="T10" fmla="*/ 0 w 22"/>
                <a:gd name="T11" fmla="*/ 20 h 20"/>
                <a:gd name="T12" fmla="*/ 0 w 22"/>
                <a:gd name="T13" fmla="*/ 16 h 20"/>
                <a:gd name="T14" fmla="*/ 2 w 22"/>
                <a:gd name="T15" fmla="*/ 14 h 20"/>
                <a:gd name="T16" fmla="*/ 6 w 22"/>
                <a:gd name="T17" fmla="*/ 6 h 20"/>
                <a:gd name="T18" fmla="*/ 6 w 22"/>
                <a:gd name="T19" fmla="*/ 6 h 20"/>
                <a:gd name="T20" fmla="*/ 10 w 22"/>
                <a:gd name="T21" fmla="*/ 2 h 20"/>
                <a:gd name="T22" fmla="*/ 16 w 22"/>
                <a:gd name="T23" fmla="*/ 0 h 20"/>
                <a:gd name="T24" fmla="*/ 16 w 22"/>
                <a:gd name="T25" fmla="*/ 0 h 20"/>
                <a:gd name="T26" fmla="*/ 20 w 22"/>
                <a:gd name="T27" fmla="*/ 0 h 20"/>
                <a:gd name="T28" fmla="*/ 22 w 22"/>
                <a:gd name="T29" fmla="*/ 2 h 20"/>
                <a:gd name="T30" fmla="*/ 22 w 22"/>
                <a:gd name="T31" fmla="*/ 2 h 20"/>
                <a:gd name="T32" fmla="*/ 22 w 22"/>
                <a:gd name="T33" fmla="*/ 6 h 20"/>
                <a:gd name="T34" fmla="*/ 18 w 22"/>
                <a:gd name="T35" fmla="*/ 10 h 20"/>
                <a:gd name="T36" fmla="*/ 18 w 22"/>
                <a:gd name="T37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2" h="20">
                  <a:moveTo>
                    <a:pt x="18" y="10"/>
                  </a:moveTo>
                  <a:lnTo>
                    <a:pt x="18" y="10"/>
                  </a:lnTo>
                  <a:lnTo>
                    <a:pt x="8" y="16"/>
                  </a:lnTo>
                  <a:lnTo>
                    <a:pt x="4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2" y="14"/>
                  </a:lnTo>
                  <a:lnTo>
                    <a:pt x="6" y="6"/>
                  </a:lnTo>
                  <a:lnTo>
                    <a:pt x="6" y="6"/>
                  </a:lnTo>
                  <a:lnTo>
                    <a:pt x="10" y="2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6"/>
                  </a:lnTo>
                  <a:lnTo>
                    <a:pt x="18" y="10"/>
                  </a:lnTo>
                  <a:lnTo>
                    <a:pt x="18" y="1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4126"/>
              <a:endParaRPr lang="de-DE" sz="1799" dirty="0">
                <a:solidFill>
                  <a:srgbClr val="3B3B3B"/>
                </a:solidFill>
                <a:latin typeface="EnBW DIN Pro"/>
              </a:endParaRPr>
            </a:p>
          </p:txBody>
        </p:sp>
        <p:sp>
          <p:nvSpPr>
            <p:cNvPr id="23" name="Freeform 18">
              <a:extLst>
                <a:ext uri="{FF2B5EF4-FFF2-40B4-BE49-F238E27FC236}">
                  <a16:creationId xmlns:a16="http://schemas.microsoft.com/office/drawing/2014/main" id="{4DD46F2E-031D-492D-821E-0CA7A0065119}"/>
                </a:ext>
              </a:extLst>
            </p:cNvPr>
            <p:cNvSpPr>
              <a:spLocks/>
            </p:cNvSpPr>
            <p:nvPr/>
          </p:nvSpPr>
          <p:spPr bwMode="gray">
            <a:xfrm>
              <a:off x="2646" y="1279"/>
              <a:ext cx="22" cy="26"/>
            </a:xfrm>
            <a:custGeom>
              <a:avLst/>
              <a:gdLst>
                <a:gd name="T0" fmla="*/ 20 w 22"/>
                <a:gd name="T1" fmla="*/ 0 h 26"/>
                <a:gd name="T2" fmla="*/ 20 w 22"/>
                <a:gd name="T3" fmla="*/ 0 h 26"/>
                <a:gd name="T4" fmla="*/ 16 w 22"/>
                <a:gd name="T5" fmla="*/ 0 h 26"/>
                <a:gd name="T6" fmla="*/ 8 w 22"/>
                <a:gd name="T7" fmla="*/ 2 h 26"/>
                <a:gd name="T8" fmla="*/ 8 w 22"/>
                <a:gd name="T9" fmla="*/ 2 h 26"/>
                <a:gd name="T10" fmla="*/ 2 w 22"/>
                <a:gd name="T11" fmla="*/ 4 h 26"/>
                <a:gd name="T12" fmla="*/ 0 w 22"/>
                <a:gd name="T13" fmla="*/ 6 h 26"/>
                <a:gd name="T14" fmla="*/ 0 w 22"/>
                <a:gd name="T15" fmla="*/ 12 h 26"/>
                <a:gd name="T16" fmla="*/ 0 w 22"/>
                <a:gd name="T17" fmla="*/ 16 h 26"/>
                <a:gd name="T18" fmla="*/ 0 w 22"/>
                <a:gd name="T19" fmla="*/ 16 h 26"/>
                <a:gd name="T20" fmla="*/ 0 w 22"/>
                <a:gd name="T21" fmla="*/ 22 h 26"/>
                <a:gd name="T22" fmla="*/ 4 w 22"/>
                <a:gd name="T23" fmla="*/ 24 h 26"/>
                <a:gd name="T24" fmla="*/ 6 w 22"/>
                <a:gd name="T25" fmla="*/ 26 h 26"/>
                <a:gd name="T26" fmla="*/ 10 w 22"/>
                <a:gd name="T27" fmla="*/ 26 h 26"/>
                <a:gd name="T28" fmla="*/ 18 w 22"/>
                <a:gd name="T29" fmla="*/ 22 h 26"/>
                <a:gd name="T30" fmla="*/ 20 w 22"/>
                <a:gd name="T31" fmla="*/ 20 h 26"/>
                <a:gd name="T32" fmla="*/ 22 w 22"/>
                <a:gd name="T33" fmla="*/ 16 h 26"/>
                <a:gd name="T34" fmla="*/ 22 w 22"/>
                <a:gd name="T35" fmla="*/ 16 h 26"/>
                <a:gd name="T36" fmla="*/ 22 w 22"/>
                <a:gd name="T37" fmla="*/ 6 h 26"/>
                <a:gd name="T38" fmla="*/ 22 w 22"/>
                <a:gd name="T39" fmla="*/ 4 h 26"/>
                <a:gd name="T40" fmla="*/ 20 w 22"/>
                <a:gd name="T41" fmla="*/ 0 h 26"/>
                <a:gd name="T42" fmla="*/ 20 w 22"/>
                <a:gd name="T43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2" h="26">
                  <a:moveTo>
                    <a:pt x="20" y="0"/>
                  </a:moveTo>
                  <a:lnTo>
                    <a:pt x="20" y="0"/>
                  </a:lnTo>
                  <a:lnTo>
                    <a:pt x="16" y="0"/>
                  </a:lnTo>
                  <a:lnTo>
                    <a:pt x="8" y="2"/>
                  </a:lnTo>
                  <a:lnTo>
                    <a:pt x="8" y="2"/>
                  </a:lnTo>
                  <a:lnTo>
                    <a:pt x="2" y="4"/>
                  </a:lnTo>
                  <a:lnTo>
                    <a:pt x="0" y="6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22"/>
                  </a:lnTo>
                  <a:lnTo>
                    <a:pt x="4" y="24"/>
                  </a:lnTo>
                  <a:lnTo>
                    <a:pt x="6" y="26"/>
                  </a:lnTo>
                  <a:lnTo>
                    <a:pt x="10" y="26"/>
                  </a:lnTo>
                  <a:lnTo>
                    <a:pt x="18" y="22"/>
                  </a:lnTo>
                  <a:lnTo>
                    <a:pt x="20" y="20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2" y="6"/>
                  </a:lnTo>
                  <a:lnTo>
                    <a:pt x="22" y="4"/>
                  </a:lnTo>
                  <a:lnTo>
                    <a:pt x="20" y="0"/>
                  </a:lnTo>
                  <a:lnTo>
                    <a:pt x="20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4126"/>
              <a:endParaRPr lang="de-DE" sz="1799" dirty="0">
                <a:solidFill>
                  <a:srgbClr val="3B3B3B"/>
                </a:solidFill>
                <a:latin typeface="EnBW DIN Pro"/>
              </a:endParaRPr>
            </a:p>
          </p:txBody>
        </p:sp>
        <p:sp>
          <p:nvSpPr>
            <p:cNvPr id="24" name="Freeform 19">
              <a:extLst>
                <a:ext uri="{FF2B5EF4-FFF2-40B4-BE49-F238E27FC236}">
                  <a16:creationId xmlns:a16="http://schemas.microsoft.com/office/drawing/2014/main" id="{B63249CB-2F33-49A0-9EB7-0CBE11498564}"/>
                </a:ext>
              </a:extLst>
            </p:cNvPr>
            <p:cNvSpPr>
              <a:spLocks/>
            </p:cNvSpPr>
            <p:nvPr/>
          </p:nvSpPr>
          <p:spPr bwMode="gray">
            <a:xfrm>
              <a:off x="2532" y="1077"/>
              <a:ext cx="50" cy="110"/>
            </a:xfrm>
            <a:custGeom>
              <a:avLst/>
              <a:gdLst>
                <a:gd name="T0" fmla="*/ 36 w 50"/>
                <a:gd name="T1" fmla="*/ 60 h 110"/>
                <a:gd name="T2" fmla="*/ 26 w 50"/>
                <a:gd name="T3" fmla="*/ 54 h 110"/>
                <a:gd name="T4" fmla="*/ 22 w 50"/>
                <a:gd name="T5" fmla="*/ 46 h 110"/>
                <a:gd name="T6" fmla="*/ 20 w 50"/>
                <a:gd name="T7" fmla="*/ 40 h 110"/>
                <a:gd name="T8" fmla="*/ 18 w 50"/>
                <a:gd name="T9" fmla="*/ 30 h 110"/>
                <a:gd name="T10" fmla="*/ 20 w 50"/>
                <a:gd name="T11" fmla="*/ 26 h 110"/>
                <a:gd name="T12" fmla="*/ 36 w 50"/>
                <a:gd name="T13" fmla="*/ 24 h 110"/>
                <a:gd name="T14" fmla="*/ 40 w 50"/>
                <a:gd name="T15" fmla="*/ 22 h 110"/>
                <a:gd name="T16" fmla="*/ 38 w 50"/>
                <a:gd name="T17" fmla="*/ 16 h 110"/>
                <a:gd name="T18" fmla="*/ 34 w 50"/>
                <a:gd name="T19" fmla="*/ 14 h 110"/>
                <a:gd name="T20" fmla="*/ 32 w 50"/>
                <a:gd name="T21" fmla="*/ 10 h 110"/>
                <a:gd name="T22" fmla="*/ 34 w 50"/>
                <a:gd name="T23" fmla="*/ 10 h 110"/>
                <a:gd name="T24" fmla="*/ 46 w 50"/>
                <a:gd name="T25" fmla="*/ 12 h 110"/>
                <a:gd name="T26" fmla="*/ 48 w 50"/>
                <a:gd name="T27" fmla="*/ 10 h 110"/>
                <a:gd name="T28" fmla="*/ 48 w 50"/>
                <a:gd name="T29" fmla="*/ 8 h 110"/>
                <a:gd name="T30" fmla="*/ 44 w 50"/>
                <a:gd name="T31" fmla="*/ 4 h 110"/>
                <a:gd name="T32" fmla="*/ 32 w 50"/>
                <a:gd name="T33" fmla="*/ 2 h 110"/>
                <a:gd name="T34" fmla="*/ 24 w 50"/>
                <a:gd name="T35" fmla="*/ 2 h 110"/>
                <a:gd name="T36" fmla="*/ 10 w 50"/>
                <a:gd name="T37" fmla="*/ 26 h 110"/>
                <a:gd name="T38" fmla="*/ 4 w 50"/>
                <a:gd name="T39" fmla="*/ 38 h 110"/>
                <a:gd name="T40" fmla="*/ 0 w 50"/>
                <a:gd name="T41" fmla="*/ 60 h 110"/>
                <a:gd name="T42" fmla="*/ 0 w 50"/>
                <a:gd name="T43" fmla="*/ 100 h 110"/>
                <a:gd name="T44" fmla="*/ 2 w 50"/>
                <a:gd name="T45" fmla="*/ 110 h 110"/>
                <a:gd name="T46" fmla="*/ 4 w 50"/>
                <a:gd name="T47" fmla="*/ 110 h 110"/>
                <a:gd name="T48" fmla="*/ 8 w 50"/>
                <a:gd name="T49" fmla="*/ 104 h 110"/>
                <a:gd name="T50" fmla="*/ 8 w 50"/>
                <a:gd name="T51" fmla="*/ 82 h 110"/>
                <a:gd name="T52" fmla="*/ 8 w 50"/>
                <a:gd name="T53" fmla="*/ 70 h 110"/>
                <a:gd name="T54" fmla="*/ 14 w 50"/>
                <a:gd name="T55" fmla="*/ 62 h 110"/>
                <a:gd name="T56" fmla="*/ 18 w 50"/>
                <a:gd name="T57" fmla="*/ 62 h 110"/>
                <a:gd name="T58" fmla="*/ 24 w 50"/>
                <a:gd name="T59" fmla="*/ 64 h 110"/>
                <a:gd name="T60" fmla="*/ 30 w 50"/>
                <a:gd name="T61" fmla="*/ 72 h 110"/>
                <a:gd name="T62" fmla="*/ 34 w 50"/>
                <a:gd name="T63" fmla="*/ 74 h 110"/>
                <a:gd name="T64" fmla="*/ 42 w 50"/>
                <a:gd name="T65" fmla="*/ 70 h 110"/>
                <a:gd name="T66" fmla="*/ 50 w 50"/>
                <a:gd name="T67" fmla="*/ 64 h 110"/>
                <a:gd name="T68" fmla="*/ 36 w 50"/>
                <a:gd name="T69" fmla="*/ 6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0" h="110">
                  <a:moveTo>
                    <a:pt x="36" y="60"/>
                  </a:moveTo>
                  <a:lnTo>
                    <a:pt x="36" y="60"/>
                  </a:lnTo>
                  <a:lnTo>
                    <a:pt x="30" y="58"/>
                  </a:lnTo>
                  <a:lnTo>
                    <a:pt x="26" y="54"/>
                  </a:lnTo>
                  <a:lnTo>
                    <a:pt x="22" y="50"/>
                  </a:lnTo>
                  <a:lnTo>
                    <a:pt x="22" y="46"/>
                  </a:lnTo>
                  <a:lnTo>
                    <a:pt x="22" y="46"/>
                  </a:lnTo>
                  <a:lnTo>
                    <a:pt x="20" y="4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28"/>
                  </a:lnTo>
                  <a:lnTo>
                    <a:pt x="20" y="26"/>
                  </a:lnTo>
                  <a:lnTo>
                    <a:pt x="24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40" y="22"/>
                  </a:lnTo>
                  <a:lnTo>
                    <a:pt x="40" y="20"/>
                  </a:lnTo>
                  <a:lnTo>
                    <a:pt x="38" y="16"/>
                  </a:lnTo>
                  <a:lnTo>
                    <a:pt x="38" y="16"/>
                  </a:lnTo>
                  <a:lnTo>
                    <a:pt x="34" y="14"/>
                  </a:lnTo>
                  <a:lnTo>
                    <a:pt x="32" y="12"/>
                  </a:lnTo>
                  <a:lnTo>
                    <a:pt x="32" y="10"/>
                  </a:lnTo>
                  <a:lnTo>
                    <a:pt x="32" y="10"/>
                  </a:lnTo>
                  <a:lnTo>
                    <a:pt x="34" y="10"/>
                  </a:lnTo>
                  <a:lnTo>
                    <a:pt x="40" y="10"/>
                  </a:lnTo>
                  <a:lnTo>
                    <a:pt x="46" y="12"/>
                  </a:lnTo>
                  <a:lnTo>
                    <a:pt x="48" y="12"/>
                  </a:lnTo>
                  <a:lnTo>
                    <a:pt x="48" y="10"/>
                  </a:lnTo>
                  <a:lnTo>
                    <a:pt x="48" y="10"/>
                  </a:lnTo>
                  <a:lnTo>
                    <a:pt x="48" y="8"/>
                  </a:lnTo>
                  <a:lnTo>
                    <a:pt x="48" y="6"/>
                  </a:lnTo>
                  <a:lnTo>
                    <a:pt x="44" y="4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28" y="0"/>
                  </a:lnTo>
                  <a:lnTo>
                    <a:pt x="24" y="2"/>
                  </a:lnTo>
                  <a:lnTo>
                    <a:pt x="18" y="8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4" y="38"/>
                  </a:lnTo>
                  <a:lnTo>
                    <a:pt x="2" y="48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100"/>
                  </a:lnTo>
                  <a:lnTo>
                    <a:pt x="0" y="110"/>
                  </a:lnTo>
                  <a:lnTo>
                    <a:pt x="2" y="110"/>
                  </a:lnTo>
                  <a:lnTo>
                    <a:pt x="4" y="110"/>
                  </a:lnTo>
                  <a:lnTo>
                    <a:pt x="4" y="110"/>
                  </a:lnTo>
                  <a:lnTo>
                    <a:pt x="6" y="110"/>
                  </a:lnTo>
                  <a:lnTo>
                    <a:pt x="8" y="104"/>
                  </a:lnTo>
                  <a:lnTo>
                    <a:pt x="8" y="96"/>
                  </a:lnTo>
                  <a:lnTo>
                    <a:pt x="8" y="82"/>
                  </a:lnTo>
                  <a:lnTo>
                    <a:pt x="8" y="82"/>
                  </a:lnTo>
                  <a:lnTo>
                    <a:pt x="8" y="70"/>
                  </a:lnTo>
                  <a:lnTo>
                    <a:pt x="10" y="64"/>
                  </a:lnTo>
                  <a:lnTo>
                    <a:pt x="14" y="62"/>
                  </a:lnTo>
                  <a:lnTo>
                    <a:pt x="18" y="62"/>
                  </a:lnTo>
                  <a:lnTo>
                    <a:pt x="18" y="62"/>
                  </a:lnTo>
                  <a:lnTo>
                    <a:pt x="22" y="62"/>
                  </a:lnTo>
                  <a:lnTo>
                    <a:pt x="24" y="64"/>
                  </a:lnTo>
                  <a:lnTo>
                    <a:pt x="30" y="72"/>
                  </a:lnTo>
                  <a:lnTo>
                    <a:pt x="30" y="72"/>
                  </a:lnTo>
                  <a:lnTo>
                    <a:pt x="32" y="74"/>
                  </a:lnTo>
                  <a:lnTo>
                    <a:pt x="34" y="74"/>
                  </a:lnTo>
                  <a:lnTo>
                    <a:pt x="42" y="70"/>
                  </a:lnTo>
                  <a:lnTo>
                    <a:pt x="42" y="70"/>
                  </a:lnTo>
                  <a:lnTo>
                    <a:pt x="48" y="66"/>
                  </a:lnTo>
                  <a:lnTo>
                    <a:pt x="50" y="64"/>
                  </a:lnTo>
                  <a:lnTo>
                    <a:pt x="48" y="62"/>
                  </a:lnTo>
                  <a:lnTo>
                    <a:pt x="36" y="60"/>
                  </a:lnTo>
                  <a:lnTo>
                    <a:pt x="36" y="6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4126"/>
              <a:endParaRPr lang="de-DE" sz="1799" dirty="0">
                <a:solidFill>
                  <a:srgbClr val="3B3B3B"/>
                </a:solidFill>
                <a:latin typeface="EnBW DIN Pro"/>
              </a:endParaRPr>
            </a:p>
          </p:txBody>
        </p:sp>
        <p:sp>
          <p:nvSpPr>
            <p:cNvPr id="25" name="Freeform 20">
              <a:extLst>
                <a:ext uri="{FF2B5EF4-FFF2-40B4-BE49-F238E27FC236}">
                  <a16:creationId xmlns:a16="http://schemas.microsoft.com/office/drawing/2014/main" id="{3B8DC2D5-8CF1-4B96-A55F-950E8A24711B}"/>
                </a:ext>
              </a:extLst>
            </p:cNvPr>
            <p:cNvSpPr>
              <a:spLocks/>
            </p:cNvSpPr>
            <p:nvPr/>
          </p:nvSpPr>
          <p:spPr bwMode="gray">
            <a:xfrm>
              <a:off x="2584" y="1725"/>
              <a:ext cx="110" cy="98"/>
            </a:xfrm>
            <a:custGeom>
              <a:avLst/>
              <a:gdLst>
                <a:gd name="T0" fmla="*/ 0 w 110"/>
                <a:gd name="T1" fmla="*/ 18 h 98"/>
                <a:gd name="T2" fmla="*/ 12 w 110"/>
                <a:gd name="T3" fmla="*/ 0 h 98"/>
                <a:gd name="T4" fmla="*/ 48 w 110"/>
                <a:gd name="T5" fmla="*/ 22 h 98"/>
                <a:gd name="T6" fmla="*/ 50 w 110"/>
                <a:gd name="T7" fmla="*/ 30 h 98"/>
                <a:gd name="T8" fmla="*/ 62 w 110"/>
                <a:gd name="T9" fmla="*/ 32 h 98"/>
                <a:gd name="T10" fmla="*/ 74 w 110"/>
                <a:gd name="T11" fmla="*/ 46 h 98"/>
                <a:gd name="T12" fmla="*/ 84 w 110"/>
                <a:gd name="T13" fmla="*/ 40 h 98"/>
                <a:gd name="T14" fmla="*/ 78 w 110"/>
                <a:gd name="T15" fmla="*/ 32 h 98"/>
                <a:gd name="T16" fmla="*/ 92 w 110"/>
                <a:gd name="T17" fmla="*/ 24 h 98"/>
                <a:gd name="T18" fmla="*/ 106 w 110"/>
                <a:gd name="T19" fmla="*/ 40 h 98"/>
                <a:gd name="T20" fmla="*/ 104 w 110"/>
                <a:gd name="T21" fmla="*/ 58 h 98"/>
                <a:gd name="T22" fmla="*/ 110 w 110"/>
                <a:gd name="T23" fmla="*/ 66 h 98"/>
                <a:gd name="T24" fmla="*/ 86 w 110"/>
                <a:gd name="T25" fmla="*/ 94 h 98"/>
                <a:gd name="T26" fmla="*/ 74 w 110"/>
                <a:gd name="T27" fmla="*/ 84 h 98"/>
                <a:gd name="T28" fmla="*/ 60 w 110"/>
                <a:gd name="T29" fmla="*/ 98 h 98"/>
                <a:gd name="T30" fmla="*/ 48 w 110"/>
                <a:gd name="T31" fmla="*/ 82 h 98"/>
                <a:gd name="T32" fmla="*/ 38 w 110"/>
                <a:gd name="T33" fmla="*/ 86 h 98"/>
                <a:gd name="T34" fmla="*/ 26 w 110"/>
                <a:gd name="T35" fmla="*/ 74 h 98"/>
                <a:gd name="T36" fmla="*/ 20 w 110"/>
                <a:gd name="T37" fmla="*/ 32 h 98"/>
                <a:gd name="T38" fmla="*/ 0 w 110"/>
                <a:gd name="T39" fmla="*/ 1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10" h="98">
                  <a:moveTo>
                    <a:pt x="0" y="18"/>
                  </a:moveTo>
                  <a:lnTo>
                    <a:pt x="12" y="0"/>
                  </a:lnTo>
                  <a:lnTo>
                    <a:pt x="48" y="22"/>
                  </a:lnTo>
                  <a:lnTo>
                    <a:pt x="50" y="30"/>
                  </a:lnTo>
                  <a:lnTo>
                    <a:pt x="62" y="32"/>
                  </a:lnTo>
                  <a:lnTo>
                    <a:pt x="74" y="46"/>
                  </a:lnTo>
                  <a:lnTo>
                    <a:pt x="84" y="40"/>
                  </a:lnTo>
                  <a:lnTo>
                    <a:pt x="78" y="32"/>
                  </a:lnTo>
                  <a:lnTo>
                    <a:pt x="92" y="24"/>
                  </a:lnTo>
                  <a:lnTo>
                    <a:pt x="106" y="40"/>
                  </a:lnTo>
                  <a:lnTo>
                    <a:pt x="104" y="58"/>
                  </a:lnTo>
                  <a:lnTo>
                    <a:pt x="110" y="66"/>
                  </a:lnTo>
                  <a:lnTo>
                    <a:pt x="86" y="94"/>
                  </a:lnTo>
                  <a:lnTo>
                    <a:pt x="74" y="84"/>
                  </a:lnTo>
                  <a:lnTo>
                    <a:pt x="60" y="98"/>
                  </a:lnTo>
                  <a:lnTo>
                    <a:pt x="48" y="82"/>
                  </a:lnTo>
                  <a:lnTo>
                    <a:pt x="38" y="86"/>
                  </a:lnTo>
                  <a:lnTo>
                    <a:pt x="26" y="74"/>
                  </a:lnTo>
                  <a:lnTo>
                    <a:pt x="20" y="32"/>
                  </a:lnTo>
                  <a:lnTo>
                    <a:pt x="0" y="18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4126"/>
              <a:endParaRPr lang="de-DE" sz="1799" dirty="0">
                <a:solidFill>
                  <a:srgbClr val="3B3B3B"/>
                </a:solidFill>
                <a:latin typeface="EnBW DIN Pro"/>
              </a:endParaRPr>
            </a:p>
          </p:txBody>
        </p:sp>
        <p:sp>
          <p:nvSpPr>
            <p:cNvPr id="26" name="Freeform 21">
              <a:extLst>
                <a:ext uri="{FF2B5EF4-FFF2-40B4-BE49-F238E27FC236}">
                  <a16:creationId xmlns:a16="http://schemas.microsoft.com/office/drawing/2014/main" id="{301B6D89-0F0E-4657-8F59-866329B76873}"/>
                </a:ext>
              </a:extLst>
            </p:cNvPr>
            <p:cNvSpPr>
              <a:spLocks/>
            </p:cNvSpPr>
            <p:nvPr/>
          </p:nvSpPr>
          <p:spPr bwMode="gray">
            <a:xfrm>
              <a:off x="2220" y="1555"/>
              <a:ext cx="44" cy="8"/>
            </a:xfrm>
            <a:custGeom>
              <a:avLst/>
              <a:gdLst>
                <a:gd name="T0" fmla="*/ 0 w 44"/>
                <a:gd name="T1" fmla="*/ 6 h 8"/>
                <a:gd name="T2" fmla="*/ 0 w 44"/>
                <a:gd name="T3" fmla="*/ 6 h 8"/>
                <a:gd name="T4" fmla="*/ 2 w 44"/>
                <a:gd name="T5" fmla="*/ 2 h 8"/>
                <a:gd name="T6" fmla="*/ 8 w 44"/>
                <a:gd name="T7" fmla="*/ 2 h 8"/>
                <a:gd name="T8" fmla="*/ 20 w 44"/>
                <a:gd name="T9" fmla="*/ 0 h 8"/>
                <a:gd name="T10" fmla="*/ 20 w 44"/>
                <a:gd name="T11" fmla="*/ 0 h 8"/>
                <a:gd name="T12" fmla="*/ 36 w 44"/>
                <a:gd name="T13" fmla="*/ 0 h 8"/>
                <a:gd name="T14" fmla="*/ 42 w 44"/>
                <a:gd name="T15" fmla="*/ 0 h 8"/>
                <a:gd name="T16" fmla="*/ 44 w 44"/>
                <a:gd name="T17" fmla="*/ 0 h 8"/>
                <a:gd name="T18" fmla="*/ 44 w 44"/>
                <a:gd name="T19" fmla="*/ 2 h 8"/>
                <a:gd name="T20" fmla="*/ 44 w 44"/>
                <a:gd name="T21" fmla="*/ 2 h 8"/>
                <a:gd name="T22" fmla="*/ 42 w 44"/>
                <a:gd name="T23" fmla="*/ 6 h 8"/>
                <a:gd name="T24" fmla="*/ 38 w 44"/>
                <a:gd name="T25" fmla="*/ 6 h 8"/>
                <a:gd name="T26" fmla="*/ 22 w 44"/>
                <a:gd name="T27" fmla="*/ 6 h 8"/>
                <a:gd name="T28" fmla="*/ 22 w 44"/>
                <a:gd name="T29" fmla="*/ 6 h 8"/>
                <a:gd name="T30" fmla="*/ 8 w 44"/>
                <a:gd name="T31" fmla="*/ 8 h 8"/>
                <a:gd name="T32" fmla="*/ 4 w 44"/>
                <a:gd name="T33" fmla="*/ 8 h 8"/>
                <a:gd name="T34" fmla="*/ 0 w 44"/>
                <a:gd name="T35" fmla="*/ 6 h 8"/>
                <a:gd name="T36" fmla="*/ 0 w 44"/>
                <a:gd name="T37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4" h="8">
                  <a:moveTo>
                    <a:pt x="0" y="6"/>
                  </a:moveTo>
                  <a:lnTo>
                    <a:pt x="0" y="6"/>
                  </a:lnTo>
                  <a:lnTo>
                    <a:pt x="2" y="2"/>
                  </a:lnTo>
                  <a:lnTo>
                    <a:pt x="8" y="2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36" y="0"/>
                  </a:lnTo>
                  <a:lnTo>
                    <a:pt x="42" y="0"/>
                  </a:lnTo>
                  <a:lnTo>
                    <a:pt x="44" y="0"/>
                  </a:lnTo>
                  <a:lnTo>
                    <a:pt x="44" y="2"/>
                  </a:lnTo>
                  <a:lnTo>
                    <a:pt x="44" y="2"/>
                  </a:lnTo>
                  <a:lnTo>
                    <a:pt x="42" y="6"/>
                  </a:lnTo>
                  <a:lnTo>
                    <a:pt x="38" y="6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8" y="8"/>
                  </a:lnTo>
                  <a:lnTo>
                    <a:pt x="4" y="8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4126"/>
              <a:endParaRPr lang="de-DE" sz="1799" dirty="0">
                <a:solidFill>
                  <a:srgbClr val="3B3B3B"/>
                </a:solidFill>
                <a:latin typeface="EnBW DIN Pro"/>
              </a:endParaRPr>
            </a:p>
          </p:txBody>
        </p:sp>
        <p:sp>
          <p:nvSpPr>
            <p:cNvPr id="27" name="Freeform 22">
              <a:extLst>
                <a:ext uri="{FF2B5EF4-FFF2-40B4-BE49-F238E27FC236}">
                  <a16:creationId xmlns:a16="http://schemas.microsoft.com/office/drawing/2014/main" id="{77CDC2E7-F37D-4781-A4AF-235CC599FE6B}"/>
                </a:ext>
              </a:extLst>
            </p:cNvPr>
            <p:cNvSpPr>
              <a:spLocks/>
            </p:cNvSpPr>
            <p:nvPr/>
          </p:nvSpPr>
          <p:spPr bwMode="gray">
            <a:xfrm>
              <a:off x="2164" y="1577"/>
              <a:ext cx="38" cy="24"/>
            </a:xfrm>
            <a:custGeom>
              <a:avLst/>
              <a:gdLst>
                <a:gd name="T0" fmla="*/ 6 w 38"/>
                <a:gd name="T1" fmla="*/ 6 h 24"/>
                <a:gd name="T2" fmla="*/ 6 w 38"/>
                <a:gd name="T3" fmla="*/ 6 h 24"/>
                <a:gd name="T4" fmla="*/ 18 w 38"/>
                <a:gd name="T5" fmla="*/ 0 h 24"/>
                <a:gd name="T6" fmla="*/ 24 w 38"/>
                <a:gd name="T7" fmla="*/ 0 h 24"/>
                <a:gd name="T8" fmla="*/ 28 w 38"/>
                <a:gd name="T9" fmla="*/ 0 h 24"/>
                <a:gd name="T10" fmla="*/ 28 w 38"/>
                <a:gd name="T11" fmla="*/ 0 h 24"/>
                <a:gd name="T12" fmla="*/ 36 w 38"/>
                <a:gd name="T13" fmla="*/ 6 h 24"/>
                <a:gd name="T14" fmla="*/ 38 w 38"/>
                <a:gd name="T15" fmla="*/ 10 h 24"/>
                <a:gd name="T16" fmla="*/ 38 w 38"/>
                <a:gd name="T17" fmla="*/ 12 h 24"/>
                <a:gd name="T18" fmla="*/ 38 w 38"/>
                <a:gd name="T19" fmla="*/ 12 h 24"/>
                <a:gd name="T20" fmla="*/ 36 w 38"/>
                <a:gd name="T21" fmla="*/ 14 h 24"/>
                <a:gd name="T22" fmla="*/ 32 w 38"/>
                <a:gd name="T23" fmla="*/ 12 h 24"/>
                <a:gd name="T24" fmla="*/ 26 w 38"/>
                <a:gd name="T25" fmla="*/ 10 h 24"/>
                <a:gd name="T26" fmla="*/ 26 w 38"/>
                <a:gd name="T27" fmla="*/ 10 h 24"/>
                <a:gd name="T28" fmla="*/ 18 w 38"/>
                <a:gd name="T29" fmla="*/ 12 h 24"/>
                <a:gd name="T30" fmla="*/ 14 w 38"/>
                <a:gd name="T31" fmla="*/ 14 h 24"/>
                <a:gd name="T32" fmla="*/ 14 w 38"/>
                <a:gd name="T33" fmla="*/ 16 h 24"/>
                <a:gd name="T34" fmla="*/ 14 w 38"/>
                <a:gd name="T35" fmla="*/ 16 h 24"/>
                <a:gd name="T36" fmla="*/ 18 w 38"/>
                <a:gd name="T37" fmla="*/ 22 h 24"/>
                <a:gd name="T38" fmla="*/ 16 w 38"/>
                <a:gd name="T39" fmla="*/ 24 h 24"/>
                <a:gd name="T40" fmla="*/ 16 w 38"/>
                <a:gd name="T41" fmla="*/ 24 h 24"/>
                <a:gd name="T42" fmla="*/ 14 w 38"/>
                <a:gd name="T43" fmla="*/ 24 h 24"/>
                <a:gd name="T44" fmla="*/ 10 w 38"/>
                <a:gd name="T45" fmla="*/ 24 h 24"/>
                <a:gd name="T46" fmla="*/ 4 w 38"/>
                <a:gd name="T47" fmla="*/ 20 h 24"/>
                <a:gd name="T48" fmla="*/ 4 w 38"/>
                <a:gd name="T49" fmla="*/ 20 h 24"/>
                <a:gd name="T50" fmla="*/ 2 w 38"/>
                <a:gd name="T51" fmla="*/ 16 h 24"/>
                <a:gd name="T52" fmla="*/ 0 w 38"/>
                <a:gd name="T53" fmla="*/ 12 h 24"/>
                <a:gd name="T54" fmla="*/ 2 w 38"/>
                <a:gd name="T55" fmla="*/ 10 h 24"/>
                <a:gd name="T56" fmla="*/ 6 w 38"/>
                <a:gd name="T57" fmla="*/ 6 h 24"/>
                <a:gd name="T58" fmla="*/ 6 w 38"/>
                <a:gd name="T59" fmla="*/ 6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8" h="24">
                  <a:moveTo>
                    <a:pt x="6" y="6"/>
                  </a:moveTo>
                  <a:lnTo>
                    <a:pt x="6" y="6"/>
                  </a:lnTo>
                  <a:lnTo>
                    <a:pt x="18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6" y="6"/>
                  </a:lnTo>
                  <a:lnTo>
                    <a:pt x="38" y="10"/>
                  </a:lnTo>
                  <a:lnTo>
                    <a:pt x="38" y="12"/>
                  </a:lnTo>
                  <a:lnTo>
                    <a:pt x="38" y="12"/>
                  </a:lnTo>
                  <a:lnTo>
                    <a:pt x="36" y="14"/>
                  </a:lnTo>
                  <a:lnTo>
                    <a:pt x="32" y="12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18" y="12"/>
                  </a:lnTo>
                  <a:lnTo>
                    <a:pt x="14" y="14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8" y="22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4" y="24"/>
                  </a:lnTo>
                  <a:lnTo>
                    <a:pt x="10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2" y="16"/>
                  </a:lnTo>
                  <a:lnTo>
                    <a:pt x="0" y="12"/>
                  </a:lnTo>
                  <a:lnTo>
                    <a:pt x="2" y="10"/>
                  </a:lnTo>
                  <a:lnTo>
                    <a:pt x="6" y="6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4126"/>
              <a:endParaRPr lang="de-DE" sz="1799" dirty="0">
                <a:solidFill>
                  <a:srgbClr val="3B3B3B"/>
                </a:solidFill>
                <a:latin typeface="EnBW DIN Pro"/>
              </a:endParaRPr>
            </a:p>
          </p:txBody>
        </p:sp>
        <p:sp>
          <p:nvSpPr>
            <p:cNvPr id="28" name="Freeform 23">
              <a:extLst>
                <a:ext uri="{FF2B5EF4-FFF2-40B4-BE49-F238E27FC236}">
                  <a16:creationId xmlns:a16="http://schemas.microsoft.com/office/drawing/2014/main" id="{23443235-9784-4794-8568-A1631D438E7D}"/>
                </a:ext>
              </a:extLst>
            </p:cNvPr>
            <p:cNvSpPr>
              <a:spLocks/>
            </p:cNvSpPr>
            <p:nvPr/>
          </p:nvSpPr>
          <p:spPr bwMode="gray">
            <a:xfrm>
              <a:off x="2280" y="1543"/>
              <a:ext cx="40" cy="10"/>
            </a:xfrm>
            <a:custGeom>
              <a:avLst/>
              <a:gdLst>
                <a:gd name="T0" fmla="*/ 2 w 40"/>
                <a:gd name="T1" fmla="*/ 4 h 10"/>
                <a:gd name="T2" fmla="*/ 2 w 40"/>
                <a:gd name="T3" fmla="*/ 4 h 10"/>
                <a:gd name="T4" fmla="*/ 6 w 40"/>
                <a:gd name="T5" fmla="*/ 0 h 10"/>
                <a:gd name="T6" fmla="*/ 12 w 40"/>
                <a:gd name="T7" fmla="*/ 0 h 10"/>
                <a:gd name="T8" fmla="*/ 12 w 40"/>
                <a:gd name="T9" fmla="*/ 0 h 10"/>
                <a:gd name="T10" fmla="*/ 30 w 40"/>
                <a:gd name="T11" fmla="*/ 0 h 10"/>
                <a:gd name="T12" fmla="*/ 38 w 40"/>
                <a:gd name="T13" fmla="*/ 0 h 10"/>
                <a:gd name="T14" fmla="*/ 40 w 40"/>
                <a:gd name="T15" fmla="*/ 0 h 10"/>
                <a:gd name="T16" fmla="*/ 40 w 40"/>
                <a:gd name="T17" fmla="*/ 2 h 10"/>
                <a:gd name="T18" fmla="*/ 40 w 40"/>
                <a:gd name="T19" fmla="*/ 2 h 10"/>
                <a:gd name="T20" fmla="*/ 38 w 40"/>
                <a:gd name="T21" fmla="*/ 4 h 10"/>
                <a:gd name="T22" fmla="*/ 34 w 40"/>
                <a:gd name="T23" fmla="*/ 6 h 10"/>
                <a:gd name="T24" fmla="*/ 22 w 40"/>
                <a:gd name="T25" fmla="*/ 8 h 10"/>
                <a:gd name="T26" fmla="*/ 22 w 40"/>
                <a:gd name="T27" fmla="*/ 8 h 10"/>
                <a:gd name="T28" fmla="*/ 12 w 40"/>
                <a:gd name="T29" fmla="*/ 6 h 10"/>
                <a:gd name="T30" fmla="*/ 10 w 40"/>
                <a:gd name="T31" fmla="*/ 6 h 10"/>
                <a:gd name="T32" fmla="*/ 8 w 40"/>
                <a:gd name="T33" fmla="*/ 8 h 10"/>
                <a:gd name="T34" fmla="*/ 8 w 40"/>
                <a:gd name="T35" fmla="*/ 8 h 10"/>
                <a:gd name="T36" fmla="*/ 6 w 40"/>
                <a:gd name="T37" fmla="*/ 10 h 10"/>
                <a:gd name="T38" fmla="*/ 2 w 40"/>
                <a:gd name="T39" fmla="*/ 10 h 10"/>
                <a:gd name="T40" fmla="*/ 2 w 40"/>
                <a:gd name="T41" fmla="*/ 10 h 10"/>
                <a:gd name="T42" fmla="*/ 0 w 40"/>
                <a:gd name="T43" fmla="*/ 8 h 10"/>
                <a:gd name="T44" fmla="*/ 0 w 40"/>
                <a:gd name="T45" fmla="*/ 6 h 10"/>
                <a:gd name="T46" fmla="*/ 2 w 40"/>
                <a:gd name="T47" fmla="*/ 4 h 10"/>
                <a:gd name="T48" fmla="*/ 2 w 40"/>
                <a:gd name="T49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0" h="10">
                  <a:moveTo>
                    <a:pt x="2" y="4"/>
                  </a:moveTo>
                  <a:lnTo>
                    <a:pt x="2" y="4"/>
                  </a:lnTo>
                  <a:lnTo>
                    <a:pt x="6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30" y="0"/>
                  </a:lnTo>
                  <a:lnTo>
                    <a:pt x="38" y="0"/>
                  </a:lnTo>
                  <a:lnTo>
                    <a:pt x="40" y="0"/>
                  </a:lnTo>
                  <a:lnTo>
                    <a:pt x="40" y="2"/>
                  </a:lnTo>
                  <a:lnTo>
                    <a:pt x="40" y="2"/>
                  </a:lnTo>
                  <a:lnTo>
                    <a:pt x="38" y="4"/>
                  </a:lnTo>
                  <a:lnTo>
                    <a:pt x="34" y="6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12" y="6"/>
                  </a:lnTo>
                  <a:lnTo>
                    <a:pt x="10" y="6"/>
                  </a:lnTo>
                  <a:lnTo>
                    <a:pt x="8" y="8"/>
                  </a:lnTo>
                  <a:lnTo>
                    <a:pt x="8" y="8"/>
                  </a:lnTo>
                  <a:lnTo>
                    <a:pt x="6" y="10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0" y="8"/>
                  </a:lnTo>
                  <a:lnTo>
                    <a:pt x="0" y="6"/>
                  </a:lnTo>
                  <a:lnTo>
                    <a:pt x="2" y="4"/>
                  </a:lnTo>
                  <a:lnTo>
                    <a:pt x="2" y="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4126"/>
              <a:endParaRPr lang="de-DE" sz="1799" dirty="0">
                <a:solidFill>
                  <a:srgbClr val="3B3B3B"/>
                </a:solidFill>
                <a:latin typeface="EnBW DIN Pro"/>
              </a:endParaRPr>
            </a:p>
          </p:txBody>
        </p:sp>
        <p:sp>
          <p:nvSpPr>
            <p:cNvPr id="29" name="Freeform 24">
              <a:extLst>
                <a:ext uri="{FF2B5EF4-FFF2-40B4-BE49-F238E27FC236}">
                  <a16:creationId xmlns:a16="http://schemas.microsoft.com/office/drawing/2014/main" id="{4C2076C4-1D12-4BDA-BF1C-1BFA6D522F46}"/>
                </a:ext>
              </a:extLst>
            </p:cNvPr>
            <p:cNvSpPr>
              <a:spLocks/>
            </p:cNvSpPr>
            <p:nvPr/>
          </p:nvSpPr>
          <p:spPr bwMode="gray">
            <a:xfrm>
              <a:off x="2340" y="1535"/>
              <a:ext cx="40" cy="22"/>
            </a:xfrm>
            <a:custGeom>
              <a:avLst/>
              <a:gdLst>
                <a:gd name="T0" fmla="*/ 4 w 40"/>
                <a:gd name="T1" fmla="*/ 20 h 22"/>
                <a:gd name="T2" fmla="*/ 4 w 40"/>
                <a:gd name="T3" fmla="*/ 20 h 22"/>
                <a:gd name="T4" fmla="*/ 2 w 40"/>
                <a:gd name="T5" fmla="*/ 20 h 22"/>
                <a:gd name="T6" fmla="*/ 0 w 40"/>
                <a:gd name="T7" fmla="*/ 18 h 22"/>
                <a:gd name="T8" fmla="*/ 2 w 40"/>
                <a:gd name="T9" fmla="*/ 10 h 22"/>
                <a:gd name="T10" fmla="*/ 2 w 40"/>
                <a:gd name="T11" fmla="*/ 10 h 22"/>
                <a:gd name="T12" fmla="*/ 4 w 40"/>
                <a:gd name="T13" fmla="*/ 4 h 22"/>
                <a:gd name="T14" fmla="*/ 8 w 40"/>
                <a:gd name="T15" fmla="*/ 0 h 22"/>
                <a:gd name="T16" fmla="*/ 12 w 40"/>
                <a:gd name="T17" fmla="*/ 0 h 22"/>
                <a:gd name="T18" fmla="*/ 12 w 40"/>
                <a:gd name="T19" fmla="*/ 0 h 22"/>
                <a:gd name="T20" fmla="*/ 28 w 40"/>
                <a:gd name="T21" fmla="*/ 0 h 22"/>
                <a:gd name="T22" fmla="*/ 36 w 40"/>
                <a:gd name="T23" fmla="*/ 2 h 22"/>
                <a:gd name="T24" fmla="*/ 38 w 40"/>
                <a:gd name="T25" fmla="*/ 4 h 22"/>
                <a:gd name="T26" fmla="*/ 40 w 40"/>
                <a:gd name="T27" fmla="*/ 4 h 22"/>
                <a:gd name="T28" fmla="*/ 40 w 40"/>
                <a:gd name="T29" fmla="*/ 4 h 22"/>
                <a:gd name="T30" fmla="*/ 40 w 40"/>
                <a:gd name="T31" fmla="*/ 8 h 22"/>
                <a:gd name="T32" fmla="*/ 38 w 40"/>
                <a:gd name="T33" fmla="*/ 8 h 22"/>
                <a:gd name="T34" fmla="*/ 32 w 40"/>
                <a:gd name="T35" fmla="*/ 10 h 22"/>
                <a:gd name="T36" fmla="*/ 32 w 40"/>
                <a:gd name="T37" fmla="*/ 10 h 22"/>
                <a:gd name="T38" fmla="*/ 20 w 40"/>
                <a:gd name="T39" fmla="*/ 8 h 22"/>
                <a:gd name="T40" fmla="*/ 14 w 40"/>
                <a:gd name="T41" fmla="*/ 8 h 22"/>
                <a:gd name="T42" fmla="*/ 10 w 40"/>
                <a:gd name="T43" fmla="*/ 10 h 22"/>
                <a:gd name="T44" fmla="*/ 10 w 40"/>
                <a:gd name="T45" fmla="*/ 10 h 22"/>
                <a:gd name="T46" fmla="*/ 8 w 40"/>
                <a:gd name="T47" fmla="*/ 14 h 22"/>
                <a:gd name="T48" fmla="*/ 8 w 40"/>
                <a:gd name="T49" fmla="*/ 16 h 22"/>
                <a:gd name="T50" fmla="*/ 8 w 40"/>
                <a:gd name="T51" fmla="*/ 16 h 22"/>
                <a:gd name="T52" fmla="*/ 6 w 40"/>
                <a:gd name="T53" fmla="*/ 20 h 22"/>
                <a:gd name="T54" fmla="*/ 6 w 40"/>
                <a:gd name="T55" fmla="*/ 22 h 22"/>
                <a:gd name="T56" fmla="*/ 4 w 40"/>
                <a:gd name="T57" fmla="*/ 20 h 22"/>
                <a:gd name="T58" fmla="*/ 4 w 40"/>
                <a:gd name="T59" fmla="*/ 2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0" h="22">
                  <a:moveTo>
                    <a:pt x="4" y="20"/>
                  </a:moveTo>
                  <a:lnTo>
                    <a:pt x="4" y="20"/>
                  </a:lnTo>
                  <a:lnTo>
                    <a:pt x="2" y="20"/>
                  </a:lnTo>
                  <a:lnTo>
                    <a:pt x="0" y="18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4" y="4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28" y="0"/>
                  </a:lnTo>
                  <a:lnTo>
                    <a:pt x="36" y="2"/>
                  </a:lnTo>
                  <a:lnTo>
                    <a:pt x="38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8"/>
                  </a:lnTo>
                  <a:lnTo>
                    <a:pt x="38" y="8"/>
                  </a:lnTo>
                  <a:lnTo>
                    <a:pt x="32" y="10"/>
                  </a:lnTo>
                  <a:lnTo>
                    <a:pt x="32" y="10"/>
                  </a:lnTo>
                  <a:lnTo>
                    <a:pt x="20" y="8"/>
                  </a:lnTo>
                  <a:lnTo>
                    <a:pt x="14" y="8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8" y="14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6" y="20"/>
                  </a:lnTo>
                  <a:lnTo>
                    <a:pt x="6" y="22"/>
                  </a:lnTo>
                  <a:lnTo>
                    <a:pt x="4" y="20"/>
                  </a:lnTo>
                  <a:lnTo>
                    <a:pt x="4" y="2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4126"/>
              <a:endParaRPr lang="de-DE" sz="1799" dirty="0">
                <a:solidFill>
                  <a:srgbClr val="3B3B3B"/>
                </a:solidFill>
                <a:latin typeface="EnBW DIN Pro"/>
              </a:endParaRPr>
            </a:p>
          </p:txBody>
        </p:sp>
        <p:sp>
          <p:nvSpPr>
            <p:cNvPr id="30" name="Freeform 25">
              <a:extLst>
                <a:ext uri="{FF2B5EF4-FFF2-40B4-BE49-F238E27FC236}">
                  <a16:creationId xmlns:a16="http://schemas.microsoft.com/office/drawing/2014/main" id="{F870661F-E167-41C8-8A70-FB17DBBF4AAF}"/>
                </a:ext>
              </a:extLst>
            </p:cNvPr>
            <p:cNvSpPr>
              <a:spLocks/>
            </p:cNvSpPr>
            <p:nvPr/>
          </p:nvSpPr>
          <p:spPr bwMode="gray">
            <a:xfrm>
              <a:off x="2388" y="1529"/>
              <a:ext cx="32" cy="14"/>
            </a:xfrm>
            <a:custGeom>
              <a:avLst/>
              <a:gdLst>
                <a:gd name="T0" fmla="*/ 0 w 32"/>
                <a:gd name="T1" fmla="*/ 8 h 14"/>
                <a:gd name="T2" fmla="*/ 0 w 32"/>
                <a:gd name="T3" fmla="*/ 8 h 14"/>
                <a:gd name="T4" fmla="*/ 2 w 32"/>
                <a:gd name="T5" fmla="*/ 4 h 14"/>
                <a:gd name="T6" fmla="*/ 4 w 32"/>
                <a:gd name="T7" fmla="*/ 2 h 14"/>
                <a:gd name="T8" fmla="*/ 8 w 32"/>
                <a:gd name="T9" fmla="*/ 0 h 14"/>
                <a:gd name="T10" fmla="*/ 8 w 32"/>
                <a:gd name="T11" fmla="*/ 0 h 14"/>
                <a:gd name="T12" fmla="*/ 22 w 32"/>
                <a:gd name="T13" fmla="*/ 0 h 14"/>
                <a:gd name="T14" fmla="*/ 28 w 32"/>
                <a:gd name="T15" fmla="*/ 0 h 14"/>
                <a:gd name="T16" fmla="*/ 32 w 32"/>
                <a:gd name="T17" fmla="*/ 0 h 14"/>
                <a:gd name="T18" fmla="*/ 32 w 32"/>
                <a:gd name="T19" fmla="*/ 2 h 14"/>
                <a:gd name="T20" fmla="*/ 32 w 32"/>
                <a:gd name="T21" fmla="*/ 2 h 14"/>
                <a:gd name="T22" fmla="*/ 32 w 32"/>
                <a:gd name="T23" fmla="*/ 6 h 14"/>
                <a:gd name="T24" fmla="*/ 26 w 32"/>
                <a:gd name="T25" fmla="*/ 8 h 14"/>
                <a:gd name="T26" fmla="*/ 26 w 32"/>
                <a:gd name="T27" fmla="*/ 8 h 14"/>
                <a:gd name="T28" fmla="*/ 20 w 32"/>
                <a:gd name="T29" fmla="*/ 10 h 14"/>
                <a:gd name="T30" fmla="*/ 14 w 32"/>
                <a:gd name="T31" fmla="*/ 8 h 14"/>
                <a:gd name="T32" fmla="*/ 14 w 32"/>
                <a:gd name="T33" fmla="*/ 8 h 14"/>
                <a:gd name="T34" fmla="*/ 10 w 32"/>
                <a:gd name="T35" fmla="*/ 8 h 14"/>
                <a:gd name="T36" fmla="*/ 8 w 32"/>
                <a:gd name="T37" fmla="*/ 10 h 14"/>
                <a:gd name="T38" fmla="*/ 4 w 32"/>
                <a:gd name="T39" fmla="*/ 14 h 14"/>
                <a:gd name="T40" fmla="*/ 4 w 32"/>
                <a:gd name="T41" fmla="*/ 14 h 14"/>
                <a:gd name="T42" fmla="*/ 2 w 32"/>
                <a:gd name="T43" fmla="*/ 14 h 14"/>
                <a:gd name="T44" fmla="*/ 0 w 32"/>
                <a:gd name="T45" fmla="*/ 12 h 14"/>
                <a:gd name="T46" fmla="*/ 0 w 32"/>
                <a:gd name="T47" fmla="*/ 8 h 14"/>
                <a:gd name="T48" fmla="*/ 0 w 32"/>
                <a:gd name="T49" fmla="*/ 8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2" h="14">
                  <a:moveTo>
                    <a:pt x="0" y="8"/>
                  </a:moveTo>
                  <a:lnTo>
                    <a:pt x="0" y="8"/>
                  </a:lnTo>
                  <a:lnTo>
                    <a:pt x="2" y="4"/>
                  </a:lnTo>
                  <a:lnTo>
                    <a:pt x="4" y="2"/>
                  </a:lnTo>
                  <a:lnTo>
                    <a:pt x="8" y="0"/>
                  </a:lnTo>
                  <a:lnTo>
                    <a:pt x="8" y="0"/>
                  </a:lnTo>
                  <a:lnTo>
                    <a:pt x="22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32" y="6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0" y="10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0" y="8"/>
                  </a:lnTo>
                  <a:lnTo>
                    <a:pt x="8" y="10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2" y="14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4126"/>
              <a:endParaRPr lang="de-DE" sz="1799" dirty="0">
                <a:solidFill>
                  <a:srgbClr val="3B3B3B"/>
                </a:solidFill>
                <a:latin typeface="EnBW DIN Pro"/>
              </a:endParaRPr>
            </a:p>
          </p:txBody>
        </p:sp>
        <p:sp>
          <p:nvSpPr>
            <p:cNvPr id="31" name="Freeform 26">
              <a:extLst>
                <a:ext uri="{FF2B5EF4-FFF2-40B4-BE49-F238E27FC236}">
                  <a16:creationId xmlns:a16="http://schemas.microsoft.com/office/drawing/2014/main" id="{2F7A0E09-511F-4B85-AC71-3A5610D8330E}"/>
                </a:ext>
              </a:extLst>
            </p:cNvPr>
            <p:cNvSpPr>
              <a:spLocks/>
            </p:cNvSpPr>
            <p:nvPr/>
          </p:nvSpPr>
          <p:spPr bwMode="gray">
            <a:xfrm>
              <a:off x="2428" y="1525"/>
              <a:ext cx="32" cy="14"/>
            </a:xfrm>
            <a:custGeom>
              <a:avLst/>
              <a:gdLst>
                <a:gd name="T0" fmla="*/ 0 w 32"/>
                <a:gd name="T1" fmla="*/ 8 h 14"/>
                <a:gd name="T2" fmla="*/ 0 w 32"/>
                <a:gd name="T3" fmla="*/ 8 h 14"/>
                <a:gd name="T4" fmla="*/ 0 w 32"/>
                <a:gd name="T5" fmla="*/ 4 h 14"/>
                <a:gd name="T6" fmla="*/ 4 w 32"/>
                <a:gd name="T7" fmla="*/ 2 h 14"/>
                <a:gd name="T8" fmla="*/ 8 w 32"/>
                <a:gd name="T9" fmla="*/ 0 h 14"/>
                <a:gd name="T10" fmla="*/ 14 w 32"/>
                <a:gd name="T11" fmla="*/ 2 h 14"/>
                <a:gd name="T12" fmla="*/ 14 w 32"/>
                <a:gd name="T13" fmla="*/ 2 h 14"/>
                <a:gd name="T14" fmla="*/ 26 w 32"/>
                <a:gd name="T15" fmla="*/ 6 h 14"/>
                <a:gd name="T16" fmla="*/ 30 w 32"/>
                <a:gd name="T17" fmla="*/ 8 h 14"/>
                <a:gd name="T18" fmla="*/ 32 w 32"/>
                <a:gd name="T19" fmla="*/ 12 h 14"/>
                <a:gd name="T20" fmla="*/ 32 w 32"/>
                <a:gd name="T21" fmla="*/ 12 h 14"/>
                <a:gd name="T22" fmla="*/ 30 w 32"/>
                <a:gd name="T23" fmla="*/ 12 h 14"/>
                <a:gd name="T24" fmla="*/ 26 w 32"/>
                <a:gd name="T25" fmla="*/ 14 h 14"/>
                <a:gd name="T26" fmla="*/ 22 w 32"/>
                <a:gd name="T27" fmla="*/ 12 h 14"/>
                <a:gd name="T28" fmla="*/ 16 w 32"/>
                <a:gd name="T29" fmla="*/ 10 h 14"/>
                <a:gd name="T30" fmla="*/ 16 w 32"/>
                <a:gd name="T31" fmla="*/ 10 h 14"/>
                <a:gd name="T32" fmla="*/ 8 w 32"/>
                <a:gd name="T33" fmla="*/ 6 h 14"/>
                <a:gd name="T34" fmla="*/ 6 w 32"/>
                <a:gd name="T35" fmla="*/ 6 h 14"/>
                <a:gd name="T36" fmla="*/ 4 w 32"/>
                <a:gd name="T37" fmla="*/ 8 h 14"/>
                <a:gd name="T38" fmla="*/ 4 w 32"/>
                <a:gd name="T39" fmla="*/ 8 h 14"/>
                <a:gd name="T40" fmla="*/ 2 w 32"/>
                <a:gd name="T41" fmla="*/ 10 h 14"/>
                <a:gd name="T42" fmla="*/ 0 w 32"/>
                <a:gd name="T43" fmla="*/ 10 h 14"/>
                <a:gd name="T44" fmla="*/ 0 w 32"/>
                <a:gd name="T45" fmla="*/ 8 h 14"/>
                <a:gd name="T46" fmla="*/ 0 w 32"/>
                <a:gd name="T47" fmla="*/ 8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2" h="14">
                  <a:moveTo>
                    <a:pt x="0" y="8"/>
                  </a:moveTo>
                  <a:lnTo>
                    <a:pt x="0" y="8"/>
                  </a:lnTo>
                  <a:lnTo>
                    <a:pt x="0" y="4"/>
                  </a:lnTo>
                  <a:lnTo>
                    <a:pt x="4" y="2"/>
                  </a:lnTo>
                  <a:lnTo>
                    <a:pt x="8" y="0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26" y="6"/>
                  </a:lnTo>
                  <a:lnTo>
                    <a:pt x="30" y="8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0" y="12"/>
                  </a:lnTo>
                  <a:lnTo>
                    <a:pt x="26" y="14"/>
                  </a:lnTo>
                  <a:lnTo>
                    <a:pt x="22" y="12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8" y="6"/>
                  </a:lnTo>
                  <a:lnTo>
                    <a:pt x="6" y="6"/>
                  </a:lnTo>
                  <a:lnTo>
                    <a:pt x="4" y="8"/>
                  </a:lnTo>
                  <a:lnTo>
                    <a:pt x="4" y="8"/>
                  </a:lnTo>
                  <a:lnTo>
                    <a:pt x="2" y="10"/>
                  </a:lnTo>
                  <a:lnTo>
                    <a:pt x="0" y="10"/>
                  </a:lnTo>
                  <a:lnTo>
                    <a:pt x="0" y="8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4126"/>
              <a:endParaRPr lang="de-DE" sz="1799" dirty="0">
                <a:solidFill>
                  <a:srgbClr val="3B3B3B"/>
                </a:solidFill>
                <a:latin typeface="EnBW DIN Pro"/>
              </a:endParaRPr>
            </a:p>
          </p:txBody>
        </p:sp>
        <p:sp>
          <p:nvSpPr>
            <p:cNvPr id="32" name="Freeform 27">
              <a:extLst>
                <a:ext uri="{FF2B5EF4-FFF2-40B4-BE49-F238E27FC236}">
                  <a16:creationId xmlns:a16="http://schemas.microsoft.com/office/drawing/2014/main" id="{F093AD19-3765-4680-B9E5-9FCE2C3C42C6}"/>
                </a:ext>
              </a:extLst>
            </p:cNvPr>
            <p:cNvSpPr>
              <a:spLocks/>
            </p:cNvSpPr>
            <p:nvPr/>
          </p:nvSpPr>
          <p:spPr bwMode="gray">
            <a:xfrm>
              <a:off x="3188" y="1447"/>
              <a:ext cx="32" cy="36"/>
            </a:xfrm>
            <a:custGeom>
              <a:avLst/>
              <a:gdLst>
                <a:gd name="T0" fmla="*/ 2 w 32"/>
                <a:gd name="T1" fmla="*/ 28 h 36"/>
                <a:gd name="T2" fmla="*/ 2 w 32"/>
                <a:gd name="T3" fmla="*/ 28 h 36"/>
                <a:gd name="T4" fmla="*/ 0 w 32"/>
                <a:gd name="T5" fmla="*/ 22 h 36"/>
                <a:gd name="T6" fmla="*/ 4 w 32"/>
                <a:gd name="T7" fmla="*/ 16 h 36"/>
                <a:gd name="T8" fmla="*/ 4 w 32"/>
                <a:gd name="T9" fmla="*/ 16 h 36"/>
                <a:gd name="T10" fmla="*/ 12 w 32"/>
                <a:gd name="T11" fmla="*/ 6 h 36"/>
                <a:gd name="T12" fmla="*/ 18 w 32"/>
                <a:gd name="T13" fmla="*/ 0 h 36"/>
                <a:gd name="T14" fmla="*/ 20 w 32"/>
                <a:gd name="T15" fmla="*/ 0 h 36"/>
                <a:gd name="T16" fmla="*/ 22 w 32"/>
                <a:gd name="T17" fmla="*/ 0 h 36"/>
                <a:gd name="T18" fmla="*/ 22 w 32"/>
                <a:gd name="T19" fmla="*/ 0 h 36"/>
                <a:gd name="T20" fmla="*/ 30 w 32"/>
                <a:gd name="T21" fmla="*/ 2 h 36"/>
                <a:gd name="T22" fmla="*/ 32 w 32"/>
                <a:gd name="T23" fmla="*/ 4 h 36"/>
                <a:gd name="T24" fmla="*/ 30 w 32"/>
                <a:gd name="T25" fmla="*/ 8 h 36"/>
                <a:gd name="T26" fmla="*/ 30 w 32"/>
                <a:gd name="T27" fmla="*/ 8 h 36"/>
                <a:gd name="T28" fmla="*/ 28 w 32"/>
                <a:gd name="T29" fmla="*/ 20 h 36"/>
                <a:gd name="T30" fmla="*/ 28 w 32"/>
                <a:gd name="T31" fmla="*/ 26 h 36"/>
                <a:gd name="T32" fmla="*/ 26 w 32"/>
                <a:gd name="T33" fmla="*/ 30 h 36"/>
                <a:gd name="T34" fmla="*/ 26 w 32"/>
                <a:gd name="T35" fmla="*/ 30 h 36"/>
                <a:gd name="T36" fmla="*/ 20 w 32"/>
                <a:gd name="T37" fmla="*/ 36 h 36"/>
                <a:gd name="T38" fmla="*/ 16 w 32"/>
                <a:gd name="T39" fmla="*/ 36 h 36"/>
                <a:gd name="T40" fmla="*/ 12 w 32"/>
                <a:gd name="T41" fmla="*/ 36 h 36"/>
                <a:gd name="T42" fmla="*/ 12 w 32"/>
                <a:gd name="T43" fmla="*/ 36 h 36"/>
                <a:gd name="T44" fmla="*/ 6 w 32"/>
                <a:gd name="T45" fmla="*/ 32 h 36"/>
                <a:gd name="T46" fmla="*/ 2 w 32"/>
                <a:gd name="T47" fmla="*/ 28 h 36"/>
                <a:gd name="T48" fmla="*/ 2 w 32"/>
                <a:gd name="T49" fmla="*/ 2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2" h="36">
                  <a:moveTo>
                    <a:pt x="2" y="28"/>
                  </a:moveTo>
                  <a:lnTo>
                    <a:pt x="2" y="28"/>
                  </a:lnTo>
                  <a:lnTo>
                    <a:pt x="0" y="22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12" y="6"/>
                  </a:lnTo>
                  <a:lnTo>
                    <a:pt x="18" y="0"/>
                  </a:lnTo>
                  <a:lnTo>
                    <a:pt x="20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30" y="2"/>
                  </a:lnTo>
                  <a:lnTo>
                    <a:pt x="32" y="4"/>
                  </a:lnTo>
                  <a:lnTo>
                    <a:pt x="30" y="8"/>
                  </a:lnTo>
                  <a:lnTo>
                    <a:pt x="30" y="8"/>
                  </a:lnTo>
                  <a:lnTo>
                    <a:pt x="28" y="20"/>
                  </a:lnTo>
                  <a:lnTo>
                    <a:pt x="28" y="26"/>
                  </a:lnTo>
                  <a:lnTo>
                    <a:pt x="26" y="30"/>
                  </a:lnTo>
                  <a:lnTo>
                    <a:pt x="26" y="30"/>
                  </a:lnTo>
                  <a:lnTo>
                    <a:pt x="20" y="36"/>
                  </a:lnTo>
                  <a:lnTo>
                    <a:pt x="16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6" y="32"/>
                  </a:lnTo>
                  <a:lnTo>
                    <a:pt x="2" y="28"/>
                  </a:lnTo>
                  <a:lnTo>
                    <a:pt x="2" y="28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4126"/>
              <a:endParaRPr lang="de-DE" sz="1799" dirty="0">
                <a:solidFill>
                  <a:srgbClr val="3B3B3B"/>
                </a:solidFill>
                <a:latin typeface="EnBW DIN Pro"/>
              </a:endParaRPr>
            </a:p>
          </p:txBody>
        </p:sp>
        <p:sp>
          <p:nvSpPr>
            <p:cNvPr id="33" name="Freeform 28">
              <a:extLst>
                <a:ext uri="{FF2B5EF4-FFF2-40B4-BE49-F238E27FC236}">
                  <a16:creationId xmlns:a16="http://schemas.microsoft.com/office/drawing/2014/main" id="{9CA43547-999D-4B65-B806-8266C79C03DB}"/>
                </a:ext>
              </a:extLst>
            </p:cNvPr>
            <p:cNvSpPr>
              <a:spLocks/>
            </p:cNvSpPr>
            <p:nvPr/>
          </p:nvSpPr>
          <p:spPr bwMode="gray">
            <a:xfrm>
              <a:off x="2838" y="1545"/>
              <a:ext cx="148" cy="144"/>
            </a:xfrm>
            <a:custGeom>
              <a:avLst/>
              <a:gdLst>
                <a:gd name="T0" fmla="*/ 0 w 148"/>
                <a:gd name="T1" fmla="*/ 78 h 144"/>
                <a:gd name="T2" fmla="*/ 18 w 148"/>
                <a:gd name="T3" fmla="*/ 42 h 144"/>
                <a:gd name="T4" fmla="*/ 26 w 148"/>
                <a:gd name="T5" fmla="*/ 52 h 144"/>
                <a:gd name="T6" fmla="*/ 42 w 148"/>
                <a:gd name="T7" fmla="*/ 40 h 144"/>
                <a:gd name="T8" fmla="*/ 42 w 148"/>
                <a:gd name="T9" fmla="*/ 28 h 144"/>
                <a:gd name="T10" fmla="*/ 62 w 148"/>
                <a:gd name="T11" fmla="*/ 10 h 144"/>
                <a:gd name="T12" fmla="*/ 74 w 148"/>
                <a:gd name="T13" fmla="*/ 14 h 144"/>
                <a:gd name="T14" fmla="*/ 92 w 148"/>
                <a:gd name="T15" fmla="*/ 0 h 144"/>
                <a:gd name="T16" fmla="*/ 106 w 148"/>
                <a:gd name="T17" fmla="*/ 12 h 144"/>
                <a:gd name="T18" fmla="*/ 100 w 148"/>
                <a:gd name="T19" fmla="*/ 20 h 144"/>
                <a:gd name="T20" fmla="*/ 114 w 148"/>
                <a:gd name="T21" fmla="*/ 38 h 144"/>
                <a:gd name="T22" fmla="*/ 120 w 148"/>
                <a:gd name="T23" fmla="*/ 54 h 144"/>
                <a:gd name="T24" fmla="*/ 110 w 148"/>
                <a:gd name="T25" fmla="*/ 64 h 144"/>
                <a:gd name="T26" fmla="*/ 110 w 148"/>
                <a:gd name="T27" fmla="*/ 88 h 144"/>
                <a:gd name="T28" fmla="*/ 124 w 148"/>
                <a:gd name="T29" fmla="*/ 94 h 144"/>
                <a:gd name="T30" fmla="*/ 130 w 148"/>
                <a:gd name="T31" fmla="*/ 110 h 144"/>
                <a:gd name="T32" fmla="*/ 142 w 148"/>
                <a:gd name="T33" fmla="*/ 112 h 144"/>
                <a:gd name="T34" fmla="*/ 148 w 148"/>
                <a:gd name="T35" fmla="*/ 128 h 144"/>
                <a:gd name="T36" fmla="*/ 140 w 148"/>
                <a:gd name="T37" fmla="*/ 136 h 144"/>
                <a:gd name="T38" fmla="*/ 114 w 148"/>
                <a:gd name="T39" fmla="*/ 142 h 144"/>
                <a:gd name="T40" fmla="*/ 92 w 148"/>
                <a:gd name="T41" fmla="*/ 128 h 144"/>
                <a:gd name="T42" fmla="*/ 74 w 148"/>
                <a:gd name="T43" fmla="*/ 144 h 144"/>
                <a:gd name="T44" fmla="*/ 54 w 148"/>
                <a:gd name="T45" fmla="*/ 144 h 144"/>
                <a:gd name="T46" fmla="*/ 52 w 148"/>
                <a:gd name="T47" fmla="*/ 128 h 144"/>
                <a:gd name="T48" fmla="*/ 40 w 148"/>
                <a:gd name="T49" fmla="*/ 122 h 144"/>
                <a:gd name="T50" fmla="*/ 36 w 148"/>
                <a:gd name="T51" fmla="*/ 134 h 144"/>
                <a:gd name="T52" fmla="*/ 26 w 148"/>
                <a:gd name="T53" fmla="*/ 130 h 144"/>
                <a:gd name="T54" fmla="*/ 22 w 148"/>
                <a:gd name="T55" fmla="*/ 110 h 144"/>
                <a:gd name="T56" fmla="*/ 10 w 148"/>
                <a:gd name="T57" fmla="*/ 100 h 144"/>
                <a:gd name="T58" fmla="*/ 10 w 148"/>
                <a:gd name="T59" fmla="*/ 80 h 144"/>
                <a:gd name="T60" fmla="*/ 10 w 148"/>
                <a:gd name="T61" fmla="*/ 80 h 144"/>
                <a:gd name="T62" fmla="*/ 0 w 148"/>
                <a:gd name="T63" fmla="*/ 78 h 144"/>
                <a:gd name="T64" fmla="*/ 0 w 148"/>
                <a:gd name="T65" fmla="*/ 78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48" h="144">
                  <a:moveTo>
                    <a:pt x="0" y="78"/>
                  </a:moveTo>
                  <a:lnTo>
                    <a:pt x="18" y="42"/>
                  </a:lnTo>
                  <a:lnTo>
                    <a:pt x="26" y="52"/>
                  </a:lnTo>
                  <a:lnTo>
                    <a:pt x="42" y="40"/>
                  </a:lnTo>
                  <a:lnTo>
                    <a:pt x="42" y="28"/>
                  </a:lnTo>
                  <a:lnTo>
                    <a:pt x="62" y="10"/>
                  </a:lnTo>
                  <a:lnTo>
                    <a:pt x="74" y="14"/>
                  </a:lnTo>
                  <a:lnTo>
                    <a:pt x="92" y="0"/>
                  </a:lnTo>
                  <a:lnTo>
                    <a:pt x="106" y="12"/>
                  </a:lnTo>
                  <a:lnTo>
                    <a:pt x="100" y="20"/>
                  </a:lnTo>
                  <a:lnTo>
                    <a:pt x="114" y="38"/>
                  </a:lnTo>
                  <a:lnTo>
                    <a:pt x="120" y="54"/>
                  </a:lnTo>
                  <a:lnTo>
                    <a:pt x="110" y="64"/>
                  </a:lnTo>
                  <a:lnTo>
                    <a:pt x="110" y="88"/>
                  </a:lnTo>
                  <a:lnTo>
                    <a:pt x="124" y="94"/>
                  </a:lnTo>
                  <a:lnTo>
                    <a:pt x="130" y="110"/>
                  </a:lnTo>
                  <a:lnTo>
                    <a:pt x="142" y="112"/>
                  </a:lnTo>
                  <a:lnTo>
                    <a:pt x="148" y="128"/>
                  </a:lnTo>
                  <a:lnTo>
                    <a:pt x="140" y="136"/>
                  </a:lnTo>
                  <a:lnTo>
                    <a:pt x="114" y="142"/>
                  </a:lnTo>
                  <a:lnTo>
                    <a:pt x="92" y="128"/>
                  </a:lnTo>
                  <a:lnTo>
                    <a:pt x="74" y="144"/>
                  </a:lnTo>
                  <a:lnTo>
                    <a:pt x="54" y="144"/>
                  </a:lnTo>
                  <a:lnTo>
                    <a:pt x="52" y="128"/>
                  </a:lnTo>
                  <a:lnTo>
                    <a:pt x="40" y="122"/>
                  </a:lnTo>
                  <a:lnTo>
                    <a:pt x="36" y="134"/>
                  </a:lnTo>
                  <a:lnTo>
                    <a:pt x="26" y="130"/>
                  </a:lnTo>
                  <a:lnTo>
                    <a:pt x="22" y="110"/>
                  </a:lnTo>
                  <a:lnTo>
                    <a:pt x="10" y="100"/>
                  </a:lnTo>
                  <a:lnTo>
                    <a:pt x="10" y="80"/>
                  </a:lnTo>
                  <a:lnTo>
                    <a:pt x="10" y="80"/>
                  </a:lnTo>
                  <a:lnTo>
                    <a:pt x="0" y="78"/>
                  </a:lnTo>
                  <a:lnTo>
                    <a:pt x="0" y="78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4126"/>
              <a:endParaRPr lang="de-DE" sz="1799" dirty="0">
                <a:solidFill>
                  <a:srgbClr val="3B3B3B"/>
                </a:solidFill>
                <a:latin typeface="EnBW DIN Pro"/>
              </a:endParaRPr>
            </a:p>
          </p:txBody>
        </p:sp>
        <p:sp>
          <p:nvSpPr>
            <p:cNvPr id="34" name="Freeform 29">
              <a:extLst>
                <a:ext uri="{FF2B5EF4-FFF2-40B4-BE49-F238E27FC236}">
                  <a16:creationId xmlns:a16="http://schemas.microsoft.com/office/drawing/2014/main" id="{77A8686C-1540-4B4B-B9B4-95233BD0FF7C}"/>
                </a:ext>
              </a:extLst>
            </p:cNvPr>
            <p:cNvSpPr>
              <a:spLocks/>
            </p:cNvSpPr>
            <p:nvPr/>
          </p:nvSpPr>
          <p:spPr bwMode="gray">
            <a:xfrm>
              <a:off x="2598" y="1137"/>
              <a:ext cx="546" cy="554"/>
            </a:xfrm>
            <a:custGeom>
              <a:avLst/>
              <a:gdLst>
                <a:gd name="T0" fmla="*/ 136 w 546"/>
                <a:gd name="T1" fmla="*/ 370 h 554"/>
                <a:gd name="T2" fmla="*/ 80 w 546"/>
                <a:gd name="T3" fmla="*/ 362 h 554"/>
                <a:gd name="T4" fmla="*/ 68 w 546"/>
                <a:gd name="T5" fmla="*/ 346 h 554"/>
                <a:gd name="T6" fmla="*/ 50 w 546"/>
                <a:gd name="T7" fmla="*/ 316 h 554"/>
                <a:gd name="T8" fmla="*/ 50 w 546"/>
                <a:gd name="T9" fmla="*/ 302 h 554"/>
                <a:gd name="T10" fmla="*/ 72 w 546"/>
                <a:gd name="T11" fmla="*/ 312 h 554"/>
                <a:gd name="T12" fmla="*/ 84 w 546"/>
                <a:gd name="T13" fmla="*/ 306 h 554"/>
                <a:gd name="T14" fmla="*/ 70 w 546"/>
                <a:gd name="T15" fmla="*/ 278 h 554"/>
                <a:gd name="T16" fmla="*/ 48 w 546"/>
                <a:gd name="T17" fmla="*/ 280 h 554"/>
                <a:gd name="T18" fmla="*/ 44 w 546"/>
                <a:gd name="T19" fmla="*/ 264 h 554"/>
                <a:gd name="T20" fmla="*/ 52 w 546"/>
                <a:gd name="T21" fmla="*/ 244 h 554"/>
                <a:gd name="T22" fmla="*/ 60 w 546"/>
                <a:gd name="T23" fmla="*/ 232 h 554"/>
                <a:gd name="T24" fmla="*/ 86 w 546"/>
                <a:gd name="T25" fmla="*/ 218 h 554"/>
                <a:gd name="T26" fmla="*/ 94 w 546"/>
                <a:gd name="T27" fmla="*/ 194 h 554"/>
                <a:gd name="T28" fmla="*/ 78 w 546"/>
                <a:gd name="T29" fmla="*/ 208 h 554"/>
                <a:gd name="T30" fmla="*/ 42 w 546"/>
                <a:gd name="T31" fmla="*/ 222 h 554"/>
                <a:gd name="T32" fmla="*/ 6 w 546"/>
                <a:gd name="T33" fmla="*/ 220 h 554"/>
                <a:gd name="T34" fmla="*/ 2 w 546"/>
                <a:gd name="T35" fmla="*/ 194 h 554"/>
                <a:gd name="T36" fmla="*/ 56 w 546"/>
                <a:gd name="T37" fmla="*/ 180 h 554"/>
                <a:gd name="T38" fmla="*/ 90 w 546"/>
                <a:gd name="T39" fmla="*/ 162 h 554"/>
                <a:gd name="T40" fmla="*/ 78 w 546"/>
                <a:gd name="T41" fmla="*/ 126 h 554"/>
                <a:gd name="T42" fmla="*/ 56 w 546"/>
                <a:gd name="T43" fmla="*/ 96 h 554"/>
                <a:gd name="T44" fmla="*/ 38 w 546"/>
                <a:gd name="T45" fmla="*/ 78 h 554"/>
                <a:gd name="T46" fmla="*/ 22 w 546"/>
                <a:gd name="T47" fmla="*/ 48 h 554"/>
                <a:gd name="T48" fmla="*/ 16 w 546"/>
                <a:gd name="T49" fmla="*/ 18 h 554"/>
                <a:gd name="T50" fmla="*/ 128 w 546"/>
                <a:gd name="T51" fmla="*/ 36 h 554"/>
                <a:gd name="T52" fmla="*/ 186 w 546"/>
                <a:gd name="T53" fmla="*/ 38 h 554"/>
                <a:gd name="T54" fmla="*/ 218 w 546"/>
                <a:gd name="T55" fmla="*/ 18 h 554"/>
                <a:gd name="T56" fmla="*/ 234 w 546"/>
                <a:gd name="T57" fmla="*/ 36 h 554"/>
                <a:gd name="T58" fmla="*/ 258 w 546"/>
                <a:gd name="T59" fmla="*/ 50 h 554"/>
                <a:gd name="T60" fmla="*/ 274 w 546"/>
                <a:gd name="T61" fmla="*/ 64 h 554"/>
                <a:gd name="T62" fmla="*/ 286 w 546"/>
                <a:gd name="T63" fmla="*/ 44 h 554"/>
                <a:gd name="T64" fmla="*/ 298 w 546"/>
                <a:gd name="T65" fmla="*/ 48 h 554"/>
                <a:gd name="T66" fmla="*/ 312 w 546"/>
                <a:gd name="T67" fmla="*/ 112 h 554"/>
                <a:gd name="T68" fmla="*/ 302 w 546"/>
                <a:gd name="T69" fmla="*/ 142 h 554"/>
                <a:gd name="T70" fmla="*/ 282 w 546"/>
                <a:gd name="T71" fmla="*/ 164 h 554"/>
                <a:gd name="T72" fmla="*/ 314 w 546"/>
                <a:gd name="T73" fmla="*/ 158 h 554"/>
                <a:gd name="T74" fmla="*/ 340 w 546"/>
                <a:gd name="T75" fmla="*/ 174 h 554"/>
                <a:gd name="T76" fmla="*/ 386 w 546"/>
                <a:gd name="T77" fmla="*/ 172 h 554"/>
                <a:gd name="T78" fmla="*/ 424 w 546"/>
                <a:gd name="T79" fmla="*/ 188 h 554"/>
                <a:gd name="T80" fmla="*/ 466 w 546"/>
                <a:gd name="T81" fmla="*/ 212 h 554"/>
                <a:gd name="T82" fmla="*/ 488 w 546"/>
                <a:gd name="T83" fmla="*/ 208 h 554"/>
                <a:gd name="T84" fmla="*/ 528 w 546"/>
                <a:gd name="T85" fmla="*/ 190 h 554"/>
                <a:gd name="T86" fmla="*/ 546 w 546"/>
                <a:gd name="T87" fmla="*/ 202 h 554"/>
                <a:gd name="T88" fmla="*/ 530 w 546"/>
                <a:gd name="T89" fmla="*/ 216 h 554"/>
                <a:gd name="T90" fmla="*/ 530 w 546"/>
                <a:gd name="T91" fmla="*/ 250 h 554"/>
                <a:gd name="T92" fmla="*/ 510 w 546"/>
                <a:gd name="T93" fmla="*/ 276 h 554"/>
                <a:gd name="T94" fmla="*/ 492 w 546"/>
                <a:gd name="T95" fmla="*/ 296 h 554"/>
                <a:gd name="T96" fmla="*/ 468 w 546"/>
                <a:gd name="T97" fmla="*/ 304 h 554"/>
                <a:gd name="T98" fmla="*/ 470 w 546"/>
                <a:gd name="T99" fmla="*/ 324 h 554"/>
                <a:gd name="T100" fmla="*/ 468 w 546"/>
                <a:gd name="T101" fmla="*/ 388 h 554"/>
                <a:gd name="T102" fmla="*/ 476 w 546"/>
                <a:gd name="T103" fmla="*/ 500 h 554"/>
                <a:gd name="T104" fmla="*/ 426 w 546"/>
                <a:gd name="T105" fmla="*/ 554 h 554"/>
                <a:gd name="T106" fmla="*/ 382 w 546"/>
                <a:gd name="T107" fmla="*/ 520 h 554"/>
                <a:gd name="T108" fmla="*/ 360 w 546"/>
                <a:gd name="T109" fmla="*/ 462 h 554"/>
                <a:gd name="T110" fmla="*/ 314 w 546"/>
                <a:gd name="T111" fmla="*/ 422 h 554"/>
                <a:gd name="T112" fmla="*/ 258 w 546"/>
                <a:gd name="T113" fmla="*/ 450 h 554"/>
                <a:gd name="T114" fmla="*/ 222 w 546"/>
                <a:gd name="T115" fmla="*/ 480 h 554"/>
                <a:gd name="T116" fmla="*/ 196 w 546"/>
                <a:gd name="T117" fmla="*/ 454 h 554"/>
                <a:gd name="T118" fmla="*/ 176 w 546"/>
                <a:gd name="T119" fmla="*/ 424 h 554"/>
                <a:gd name="T120" fmla="*/ 154 w 546"/>
                <a:gd name="T121" fmla="*/ 386 h 5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46" h="554">
                  <a:moveTo>
                    <a:pt x="146" y="382"/>
                  </a:moveTo>
                  <a:lnTo>
                    <a:pt x="146" y="382"/>
                  </a:lnTo>
                  <a:lnTo>
                    <a:pt x="146" y="376"/>
                  </a:lnTo>
                  <a:lnTo>
                    <a:pt x="142" y="372"/>
                  </a:lnTo>
                  <a:lnTo>
                    <a:pt x="136" y="370"/>
                  </a:lnTo>
                  <a:lnTo>
                    <a:pt x="126" y="368"/>
                  </a:lnTo>
                  <a:lnTo>
                    <a:pt x="126" y="368"/>
                  </a:lnTo>
                  <a:lnTo>
                    <a:pt x="100" y="366"/>
                  </a:lnTo>
                  <a:lnTo>
                    <a:pt x="86" y="364"/>
                  </a:lnTo>
                  <a:lnTo>
                    <a:pt x="80" y="362"/>
                  </a:lnTo>
                  <a:lnTo>
                    <a:pt x="76" y="360"/>
                  </a:lnTo>
                  <a:lnTo>
                    <a:pt x="76" y="360"/>
                  </a:lnTo>
                  <a:lnTo>
                    <a:pt x="72" y="358"/>
                  </a:lnTo>
                  <a:lnTo>
                    <a:pt x="70" y="354"/>
                  </a:lnTo>
                  <a:lnTo>
                    <a:pt x="68" y="346"/>
                  </a:lnTo>
                  <a:lnTo>
                    <a:pt x="68" y="338"/>
                  </a:lnTo>
                  <a:lnTo>
                    <a:pt x="66" y="334"/>
                  </a:lnTo>
                  <a:lnTo>
                    <a:pt x="64" y="330"/>
                  </a:lnTo>
                  <a:lnTo>
                    <a:pt x="64" y="330"/>
                  </a:lnTo>
                  <a:lnTo>
                    <a:pt x="50" y="316"/>
                  </a:lnTo>
                  <a:lnTo>
                    <a:pt x="46" y="310"/>
                  </a:lnTo>
                  <a:lnTo>
                    <a:pt x="46" y="308"/>
                  </a:lnTo>
                  <a:lnTo>
                    <a:pt x="48" y="306"/>
                  </a:lnTo>
                  <a:lnTo>
                    <a:pt x="48" y="306"/>
                  </a:lnTo>
                  <a:lnTo>
                    <a:pt x="50" y="302"/>
                  </a:lnTo>
                  <a:lnTo>
                    <a:pt x="54" y="300"/>
                  </a:lnTo>
                  <a:lnTo>
                    <a:pt x="58" y="302"/>
                  </a:lnTo>
                  <a:lnTo>
                    <a:pt x="64" y="306"/>
                  </a:lnTo>
                  <a:lnTo>
                    <a:pt x="64" y="306"/>
                  </a:lnTo>
                  <a:lnTo>
                    <a:pt x="72" y="312"/>
                  </a:lnTo>
                  <a:lnTo>
                    <a:pt x="76" y="314"/>
                  </a:lnTo>
                  <a:lnTo>
                    <a:pt x="80" y="316"/>
                  </a:lnTo>
                  <a:lnTo>
                    <a:pt x="82" y="314"/>
                  </a:lnTo>
                  <a:lnTo>
                    <a:pt x="84" y="312"/>
                  </a:lnTo>
                  <a:lnTo>
                    <a:pt x="84" y="306"/>
                  </a:lnTo>
                  <a:lnTo>
                    <a:pt x="84" y="300"/>
                  </a:lnTo>
                  <a:lnTo>
                    <a:pt x="84" y="300"/>
                  </a:lnTo>
                  <a:lnTo>
                    <a:pt x="80" y="288"/>
                  </a:lnTo>
                  <a:lnTo>
                    <a:pt x="76" y="280"/>
                  </a:lnTo>
                  <a:lnTo>
                    <a:pt x="70" y="278"/>
                  </a:lnTo>
                  <a:lnTo>
                    <a:pt x="64" y="280"/>
                  </a:lnTo>
                  <a:lnTo>
                    <a:pt x="64" y="280"/>
                  </a:lnTo>
                  <a:lnTo>
                    <a:pt x="56" y="282"/>
                  </a:lnTo>
                  <a:lnTo>
                    <a:pt x="52" y="282"/>
                  </a:lnTo>
                  <a:lnTo>
                    <a:pt x="48" y="280"/>
                  </a:lnTo>
                  <a:lnTo>
                    <a:pt x="46" y="276"/>
                  </a:lnTo>
                  <a:lnTo>
                    <a:pt x="46" y="276"/>
                  </a:lnTo>
                  <a:lnTo>
                    <a:pt x="44" y="272"/>
                  </a:lnTo>
                  <a:lnTo>
                    <a:pt x="44" y="268"/>
                  </a:lnTo>
                  <a:lnTo>
                    <a:pt x="44" y="264"/>
                  </a:lnTo>
                  <a:lnTo>
                    <a:pt x="48" y="258"/>
                  </a:lnTo>
                  <a:lnTo>
                    <a:pt x="48" y="258"/>
                  </a:lnTo>
                  <a:lnTo>
                    <a:pt x="54" y="250"/>
                  </a:lnTo>
                  <a:lnTo>
                    <a:pt x="54" y="248"/>
                  </a:lnTo>
                  <a:lnTo>
                    <a:pt x="52" y="244"/>
                  </a:lnTo>
                  <a:lnTo>
                    <a:pt x="52" y="244"/>
                  </a:lnTo>
                  <a:lnTo>
                    <a:pt x="50" y="240"/>
                  </a:lnTo>
                  <a:lnTo>
                    <a:pt x="52" y="236"/>
                  </a:lnTo>
                  <a:lnTo>
                    <a:pt x="54" y="232"/>
                  </a:lnTo>
                  <a:lnTo>
                    <a:pt x="60" y="232"/>
                  </a:lnTo>
                  <a:lnTo>
                    <a:pt x="60" y="232"/>
                  </a:lnTo>
                  <a:lnTo>
                    <a:pt x="68" y="234"/>
                  </a:lnTo>
                  <a:lnTo>
                    <a:pt x="76" y="232"/>
                  </a:lnTo>
                  <a:lnTo>
                    <a:pt x="82" y="226"/>
                  </a:lnTo>
                  <a:lnTo>
                    <a:pt x="86" y="218"/>
                  </a:lnTo>
                  <a:lnTo>
                    <a:pt x="86" y="218"/>
                  </a:lnTo>
                  <a:lnTo>
                    <a:pt x="96" y="202"/>
                  </a:lnTo>
                  <a:lnTo>
                    <a:pt x="96" y="198"/>
                  </a:lnTo>
                  <a:lnTo>
                    <a:pt x="94" y="194"/>
                  </a:lnTo>
                  <a:lnTo>
                    <a:pt x="94" y="194"/>
                  </a:lnTo>
                  <a:lnTo>
                    <a:pt x="90" y="192"/>
                  </a:lnTo>
                  <a:lnTo>
                    <a:pt x="88" y="192"/>
                  </a:lnTo>
                  <a:lnTo>
                    <a:pt x="82" y="202"/>
                  </a:lnTo>
                  <a:lnTo>
                    <a:pt x="82" y="202"/>
                  </a:lnTo>
                  <a:lnTo>
                    <a:pt x="78" y="208"/>
                  </a:lnTo>
                  <a:lnTo>
                    <a:pt x="72" y="214"/>
                  </a:lnTo>
                  <a:lnTo>
                    <a:pt x="66" y="218"/>
                  </a:lnTo>
                  <a:lnTo>
                    <a:pt x="56" y="220"/>
                  </a:lnTo>
                  <a:lnTo>
                    <a:pt x="56" y="220"/>
                  </a:lnTo>
                  <a:lnTo>
                    <a:pt x="42" y="222"/>
                  </a:lnTo>
                  <a:lnTo>
                    <a:pt x="26" y="226"/>
                  </a:lnTo>
                  <a:lnTo>
                    <a:pt x="20" y="228"/>
                  </a:lnTo>
                  <a:lnTo>
                    <a:pt x="14" y="226"/>
                  </a:lnTo>
                  <a:lnTo>
                    <a:pt x="8" y="224"/>
                  </a:lnTo>
                  <a:lnTo>
                    <a:pt x="6" y="220"/>
                  </a:lnTo>
                  <a:lnTo>
                    <a:pt x="6" y="220"/>
                  </a:lnTo>
                  <a:lnTo>
                    <a:pt x="0" y="210"/>
                  </a:lnTo>
                  <a:lnTo>
                    <a:pt x="0" y="202"/>
                  </a:lnTo>
                  <a:lnTo>
                    <a:pt x="0" y="198"/>
                  </a:lnTo>
                  <a:lnTo>
                    <a:pt x="2" y="194"/>
                  </a:lnTo>
                  <a:lnTo>
                    <a:pt x="6" y="192"/>
                  </a:lnTo>
                  <a:lnTo>
                    <a:pt x="12" y="190"/>
                  </a:lnTo>
                  <a:lnTo>
                    <a:pt x="12" y="190"/>
                  </a:lnTo>
                  <a:lnTo>
                    <a:pt x="56" y="180"/>
                  </a:lnTo>
                  <a:lnTo>
                    <a:pt x="56" y="180"/>
                  </a:lnTo>
                  <a:lnTo>
                    <a:pt x="74" y="176"/>
                  </a:lnTo>
                  <a:lnTo>
                    <a:pt x="86" y="170"/>
                  </a:lnTo>
                  <a:lnTo>
                    <a:pt x="88" y="168"/>
                  </a:lnTo>
                  <a:lnTo>
                    <a:pt x="90" y="166"/>
                  </a:lnTo>
                  <a:lnTo>
                    <a:pt x="90" y="162"/>
                  </a:lnTo>
                  <a:lnTo>
                    <a:pt x="90" y="156"/>
                  </a:lnTo>
                  <a:lnTo>
                    <a:pt x="90" y="156"/>
                  </a:lnTo>
                  <a:lnTo>
                    <a:pt x="86" y="142"/>
                  </a:lnTo>
                  <a:lnTo>
                    <a:pt x="78" y="126"/>
                  </a:lnTo>
                  <a:lnTo>
                    <a:pt x="78" y="126"/>
                  </a:lnTo>
                  <a:lnTo>
                    <a:pt x="72" y="118"/>
                  </a:lnTo>
                  <a:lnTo>
                    <a:pt x="66" y="110"/>
                  </a:lnTo>
                  <a:lnTo>
                    <a:pt x="60" y="104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48" y="82"/>
                  </a:lnTo>
                  <a:lnTo>
                    <a:pt x="46" y="80"/>
                  </a:lnTo>
                  <a:lnTo>
                    <a:pt x="42" y="80"/>
                  </a:lnTo>
                  <a:lnTo>
                    <a:pt x="42" y="80"/>
                  </a:lnTo>
                  <a:lnTo>
                    <a:pt x="38" y="78"/>
                  </a:lnTo>
                  <a:lnTo>
                    <a:pt x="34" y="76"/>
                  </a:lnTo>
                  <a:lnTo>
                    <a:pt x="32" y="70"/>
                  </a:lnTo>
                  <a:lnTo>
                    <a:pt x="28" y="62"/>
                  </a:lnTo>
                  <a:lnTo>
                    <a:pt x="28" y="62"/>
                  </a:lnTo>
                  <a:lnTo>
                    <a:pt x="22" y="48"/>
                  </a:lnTo>
                  <a:lnTo>
                    <a:pt x="18" y="40"/>
                  </a:lnTo>
                  <a:lnTo>
                    <a:pt x="18" y="40"/>
                  </a:lnTo>
                  <a:lnTo>
                    <a:pt x="14" y="36"/>
                  </a:lnTo>
                  <a:lnTo>
                    <a:pt x="14" y="28"/>
                  </a:lnTo>
                  <a:lnTo>
                    <a:pt x="16" y="18"/>
                  </a:lnTo>
                  <a:lnTo>
                    <a:pt x="22" y="0"/>
                  </a:lnTo>
                  <a:lnTo>
                    <a:pt x="58" y="16"/>
                  </a:lnTo>
                  <a:lnTo>
                    <a:pt x="90" y="18"/>
                  </a:lnTo>
                  <a:lnTo>
                    <a:pt x="114" y="36"/>
                  </a:lnTo>
                  <a:lnTo>
                    <a:pt x="128" y="36"/>
                  </a:lnTo>
                  <a:lnTo>
                    <a:pt x="138" y="54"/>
                  </a:lnTo>
                  <a:lnTo>
                    <a:pt x="168" y="60"/>
                  </a:lnTo>
                  <a:lnTo>
                    <a:pt x="168" y="60"/>
                  </a:lnTo>
                  <a:lnTo>
                    <a:pt x="178" y="48"/>
                  </a:lnTo>
                  <a:lnTo>
                    <a:pt x="186" y="38"/>
                  </a:lnTo>
                  <a:lnTo>
                    <a:pt x="196" y="30"/>
                  </a:lnTo>
                  <a:lnTo>
                    <a:pt x="196" y="30"/>
                  </a:lnTo>
                  <a:lnTo>
                    <a:pt x="212" y="18"/>
                  </a:lnTo>
                  <a:lnTo>
                    <a:pt x="216" y="18"/>
                  </a:lnTo>
                  <a:lnTo>
                    <a:pt x="218" y="18"/>
                  </a:lnTo>
                  <a:lnTo>
                    <a:pt x="220" y="18"/>
                  </a:lnTo>
                  <a:lnTo>
                    <a:pt x="224" y="22"/>
                  </a:lnTo>
                  <a:lnTo>
                    <a:pt x="224" y="22"/>
                  </a:lnTo>
                  <a:lnTo>
                    <a:pt x="230" y="34"/>
                  </a:lnTo>
                  <a:lnTo>
                    <a:pt x="234" y="36"/>
                  </a:lnTo>
                  <a:lnTo>
                    <a:pt x="240" y="38"/>
                  </a:lnTo>
                  <a:lnTo>
                    <a:pt x="240" y="38"/>
                  </a:lnTo>
                  <a:lnTo>
                    <a:pt x="252" y="42"/>
                  </a:lnTo>
                  <a:lnTo>
                    <a:pt x="256" y="44"/>
                  </a:lnTo>
                  <a:lnTo>
                    <a:pt x="258" y="50"/>
                  </a:lnTo>
                  <a:lnTo>
                    <a:pt x="258" y="50"/>
                  </a:lnTo>
                  <a:lnTo>
                    <a:pt x="262" y="58"/>
                  </a:lnTo>
                  <a:lnTo>
                    <a:pt x="268" y="62"/>
                  </a:lnTo>
                  <a:lnTo>
                    <a:pt x="270" y="64"/>
                  </a:lnTo>
                  <a:lnTo>
                    <a:pt x="274" y="64"/>
                  </a:lnTo>
                  <a:lnTo>
                    <a:pt x="276" y="62"/>
                  </a:lnTo>
                  <a:lnTo>
                    <a:pt x="280" y="60"/>
                  </a:lnTo>
                  <a:lnTo>
                    <a:pt x="280" y="60"/>
                  </a:lnTo>
                  <a:lnTo>
                    <a:pt x="282" y="50"/>
                  </a:lnTo>
                  <a:lnTo>
                    <a:pt x="286" y="44"/>
                  </a:lnTo>
                  <a:lnTo>
                    <a:pt x="290" y="44"/>
                  </a:lnTo>
                  <a:lnTo>
                    <a:pt x="292" y="44"/>
                  </a:lnTo>
                  <a:lnTo>
                    <a:pt x="294" y="44"/>
                  </a:lnTo>
                  <a:lnTo>
                    <a:pt x="298" y="48"/>
                  </a:lnTo>
                  <a:lnTo>
                    <a:pt x="298" y="48"/>
                  </a:lnTo>
                  <a:lnTo>
                    <a:pt x="302" y="58"/>
                  </a:lnTo>
                  <a:lnTo>
                    <a:pt x="304" y="70"/>
                  </a:lnTo>
                  <a:lnTo>
                    <a:pt x="310" y="100"/>
                  </a:lnTo>
                  <a:lnTo>
                    <a:pt x="310" y="100"/>
                  </a:lnTo>
                  <a:lnTo>
                    <a:pt x="312" y="112"/>
                  </a:lnTo>
                  <a:lnTo>
                    <a:pt x="310" y="124"/>
                  </a:lnTo>
                  <a:lnTo>
                    <a:pt x="308" y="134"/>
                  </a:lnTo>
                  <a:lnTo>
                    <a:pt x="306" y="138"/>
                  </a:lnTo>
                  <a:lnTo>
                    <a:pt x="302" y="142"/>
                  </a:lnTo>
                  <a:lnTo>
                    <a:pt x="302" y="142"/>
                  </a:lnTo>
                  <a:lnTo>
                    <a:pt x="286" y="152"/>
                  </a:lnTo>
                  <a:lnTo>
                    <a:pt x="280" y="158"/>
                  </a:lnTo>
                  <a:lnTo>
                    <a:pt x="280" y="160"/>
                  </a:lnTo>
                  <a:lnTo>
                    <a:pt x="282" y="164"/>
                  </a:lnTo>
                  <a:lnTo>
                    <a:pt x="282" y="164"/>
                  </a:lnTo>
                  <a:lnTo>
                    <a:pt x="286" y="166"/>
                  </a:lnTo>
                  <a:lnTo>
                    <a:pt x="292" y="166"/>
                  </a:lnTo>
                  <a:lnTo>
                    <a:pt x="306" y="162"/>
                  </a:lnTo>
                  <a:lnTo>
                    <a:pt x="306" y="162"/>
                  </a:lnTo>
                  <a:lnTo>
                    <a:pt x="314" y="158"/>
                  </a:lnTo>
                  <a:lnTo>
                    <a:pt x="320" y="158"/>
                  </a:lnTo>
                  <a:lnTo>
                    <a:pt x="328" y="162"/>
                  </a:lnTo>
                  <a:lnTo>
                    <a:pt x="334" y="168"/>
                  </a:lnTo>
                  <a:lnTo>
                    <a:pt x="334" y="168"/>
                  </a:lnTo>
                  <a:lnTo>
                    <a:pt x="340" y="174"/>
                  </a:lnTo>
                  <a:lnTo>
                    <a:pt x="348" y="178"/>
                  </a:lnTo>
                  <a:lnTo>
                    <a:pt x="354" y="178"/>
                  </a:lnTo>
                  <a:lnTo>
                    <a:pt x="366" y="178"/>
                  </a:lnTo>
                  <a:lnTo>
                    <a:pt x="366" y="178"/>
                  </a:lnTo>
                  <a:lnTo>
                    <a:pt x="386" y="172"/>
                  </a:lnTo>
                  <a:lnTo>
                    <a:pt x="394" y="172"/>
                  </a:lnTo>
                  <a:lnTo>
                    <a:pt x="404" y="178"/>
                  </a:lnTo>
                  <a:lnTo>
                    <a:pt x="404" y="178"/>
                  </a:lnTo>
                  <a:lnTo>
                    <a:pt x="412" y="184"/>
                  </a:lnTo>
                  <a:lnTo>
                    <a:pt x="424" y="188"/>
                  </a:lnTo>
                  <a:lnTo>
                    <a:pt x="434" y="192"/>
                  </a:lnTo>
                  <a:lnTo>
                    <a:pt x="446" y="198"/>
                  </a:lnTo>
                  <a:lnTo>
                    <a:pt x="446" y="198"/>
                  </a:lnTo>
                  <a:lnTo>
                    <a:pt x="456" y="206"/>
                  </a:lnTo>
                  <a:lnTo>
                    <a:pt x="466" y="212"/>
                  </a:lnTo>
                  <a:lnTo>
                    <a:pt x="470" y="214"/>
                  </a:lnTo>
                  <a:lnTo>
                    <a:pt x="476" y="214"/>
                  </a:lnTo>
                  <a:lnTo>
                    <a:pt x="482" y="212"/>
                  </a:lnTo>
                  <a:lnTo>
                    <a:pt x="488" y="208"/>
                  </a:lnTo>
                  <a:lnTo>
                    <a:pt x="488" y="208"/>
                  </a:lnTo>
                  <a:lnTo>
                    <a:pt x="504" y="194"/>
                  </a:lnTo>
                  <a:lnTo>
                    <a:pt x="512" y="190"/>
                  </a:lnTo>
                  <a:lnTo>
                    <a:pt x="520" y="190"/>
                  </a:lnTo>
                  <a:lnTo>
                    <a:pt x="520" y="190"/>
                  </a:lnTo>
                  <a:lnTo>
                    <a:pt x="528" y="190"/>
                  </a:lnTo>
                  <a:lnTo>
                    <a:pt x="534" y="190"/>
                  </a:lnTo>
                  <a:lnTo>
                    <a:pt x="540" y="190"/>
                  </a:lnTo>
                  <a:lnTo>
                    <a:pt x="544" y="196"/>
                  </a:lnTo>
                  <a:lnTo>
                    <a:pt x="544" y="196"/>
                  </a:lnTo>
                  <a:lnTo>
                    <a:pt x="546" y="202"/>
                  </a:lnTo>
                  <a:lnTo>
                    <a:pt x="544" y="204"/>
                  </a:lnTo>
                  <a:lnTo>
                    <a:pt x="540" y="206"/>
                  </a:lnTo>
                  <a:lnTo>
                    <a:pt x="536" y="210"/>
                  </a:lnTo>
                  <a:lnTo>
                    <a:pt x="536" y="210"/>
                  </a:lnTo>
                  <a:lnTo>
                    <a:pt x="530" y="216"/>
                  </a:lnTo>
                  <a:lnTo>
                    <a:pt x="526" y="224"/>
                  </a:lnTo>
                  <a:lnTo>
                    <a:pt x="526" y="232"/>
                  </a:lnTo>
                  <a:lnTo>
                    <a:pt x="528" y="242"/>
                  </a:lnTo>
                  <a:lnTo>
                    <a:pt x="528" y="242"/>
                  </a:lnTo>
                  <a:lnTo>
                    <a:pt x="530" y="250"/>
                  </a:lnTo>
                  <a:lnTo>
                    <a:pt x="530" y="258"/>
                  </a:lnTo>
                  <a:lnTo>
                    <a:pt x="526" y="266"/>
                  </a:lnTo>
                  <a:lnTo>
                    <a:pt x="518" y="272"/>
                  </a:lnTo>
                  <a:lnTo>
                    <a:pt x="518" y="272"/>
                  </a:lnTo>
                  <a:lnTo>
                    <a:pt x="510" y="276"/>
                  </a:lnTo>
                  <a:lnTo>
                    <a:pt x="506" y="280"/>
                  </a:lnTo>
                  <a:lnTo>
                    <a:pt x="500" y="288"/>
                  </a:lnTo>
                  <a:lnTo>
                    <a:pt x="500" y="288"/>
                  </a:lnTo>
                  <a:lnTo>
                    <a:pt x="496" y="292"/>
                  </a:lnTo>
                  <a:lnTo>
                    <a:pt x="492" y="296"/>
                  </a:lnTo>
                  <a:lnTo>
                    <a:pt x="486" y="300"/>
                  </a:lnTo>
                  <a:lnTo>
                    <a:pt x="476" y="302"/>
                  </a:lnTo>
                  <a:lnTo>
                    <a:pt x="476" y="302"/>
                  </a:lnTo>
                  <a:lnTo>
                    <a:pt x="472" y="302"/>
                  </a:lnTo>
                  <a:lnTo>
                    <a:pt x="468" y="304"/>
                  </a:lnTo>
                  <a:lnTo>
                    <a:pt x="466" y="306"/>
                  </a:lnTo>
                  <a:lnTo>
                    <a:pt x="466" y="310"/>
                  </a:lnTo>
                  <a:lnTo>
                    <a:pt x="466" y="316"/>
                  </a:lnTo>
                  <a:lnTo>
                    <a:pt x="470" y="324"/>
                  </a:lnTo>
                  <a:lnTo>
                    <a:pt x="470" y="324"/>
                  </a:lnTo>
                  <a:lnTo>
                    <a:pt x="474" y="332"/>
                  </a:lnTo>
                  <a:lnTo>
                    <a:pt x="478" y="338"/>
                  </a:lnTo>
                  <a:lnTo>
                    <a:pt x="484" y="342"/>
                  </a:lnTo>
                  <a:lnTo>
                    <a:pt x="492" y="344"/>
                  </a:lnTo>
                  <a:lnTo>
                    <a:pt x="468" y="388"/>
                  </a:lnTo>
                  <a:lnTo>
                    <a:pt x="470" y="418"/>
                  </a:lnTo>
                  <a:lnTo>
                    <a:pt x="496" y="434"/>
                  </a:lnTo>
                  <a:lnTo>
                    <a:pt x="498" y="464"/>
                  </a:lnTo>
                  <a:lnTo>
                    <a:pt x="476" y="472"/>
                  </a:lnTo>
                  <a:lnTo>
                    <a:pt x="476" y="500"/>
                  </a:lnTo>
                  <a:lnTo>
                    <a:pt x="442" y="520"/>
                  </a:lnTo>
                  <a:lnTo>
                    <a:pt x="438" y="532"/>
                  </a:lnTo>
                  <a:lnTo>
                    <a:pt x="438" y="554"/>
                  </a:lnTo>
                  <a:lnTo>
                    <a:pt x="438" y="554"/>
                  </a:lnTo>
                  <a:lnTo>
                    <a:pt x="426" y="554"/>
                  </a:lnTo>
                  <a:lnTo>
                    <a:pt x="426" y="554"/>
                  </a:lnTo>
                  <a:lnTo>
                    <a:pt x="416" y="552"/>
                  </a:lnTo>
                  <a:lnTo>
                    <a:pt x="406" y="548"/>
                  </a:lnTo>
                  <a:lnTo>
                    <a:pt x="388" y="536"/>
                  </a:lnTo>
                  <a:lnTo>
                    <a:pt x="382" y="520"/>
                  </a:lnTo>
                  <a:lnTo>
                    <a:pt x="370" y="518"/>
                  </a:lnTo>
                  <a:lnTo>
                    <a:pt x="364" y="502"/>
                  </a:lnTo>
                  <a:lnTo>
                    <a:pt x="350" y="496"/>
                  </a:lnTo>
                  <a:lnTo>
                    <a:pt x="350" y="472"/>
                  </a:lnTo>
                  <a:lnTo>
                    <a:pt x="360" y="462"/>
                  </a:lnTo>
                  <a:lnTo>
                    <a:pt x="354" y="446"/>
                  </a:lnTo>
                  <a:lnTo>
                    <a:pt x="340" y="428"/>
                  </a:lnTo>
                  <a:lnTo>
                    <a:pt x="346" y="420"/>
                  </a:lnTo>
                  <a:lnTo>
                    <a:pt x="332" y="408"/>
                  </a:lnTo>
                  <a:lnTo>
                    <a:pt x="314" y="422"/>
                  </a:lnTo>
                  <a:lnTo>
                    <a:pt x="302" y="418"/>
                  </a:lnTo>
                  <a:lnTo>
                    <a:pt x="282" y="436"/>
                  </a:lnTo>
                  <a:lnTo>
                    <a:pt x="282" y="448"/>
                  </a:lnTo>
                  <a:lnTo>
                    <a:pt x="266" y="460"/>
                  </a:lnTo>
                  <a:lnTo>
                    <a:pt x="258" y="450"/>
                  </a:lnTo>
                  <a:lnTo>
                    <a:pt x="240" y="486"/>
                  </a:lnTo>
                  <a:lnTo>
                    <a:pt x="240" y="486"/>
                  </a:lnTo>
                  <a:lnTo>
                    <a:pt x="236" y="486"/>
                  </a:lnTo>
                  <a:lnTo>
                    <a:pt x="236" y="486"/>
                  </a:lnTo>
                  <a:lnTo>
                    <a:pt x="222" y="480"/>
                  </a:lnTo>
                  <a:lnTo>
                    <a:pt x="210" y="472"/>
                  </a:lnTo>
                  <a:lnTo>
                    <a:pt x="210" y="472"/>
                  </a:lnTo>
                  <a:lnTo>
                    <a:pt x="202" y="466"/>
                  </a:lnTo>
                  <a:lnTo>
                    <a:pt x="196" y="454"/>
                  </a:lnTo>
                  <a:lnTo>
                    <a:pt x="196" y="454"/>
                  </a:lnTo>
                  <a:lnTo>
                    <a:pt x="190" y="436"/>
                  </a:lnTo>
                  <a:lnTo>
                    <a:pt x="188" y="432"/>
                  </a:lnTo>
                  <a:lnTo>
                    <a:pt x="182" y="428"/>
                  </a:lnTo>
                  <a:lnTo>
                    <a:pt x="182" y="428"/>
                  </a:lnTo>
                  <a:lnTo>
                    <a:pt x="176" y="424"/>
                  </a:lnTo>
                  <a:lnTo>
                    <a:pt x="172" y="420"/>
                  </a:lnTo>
                  <a:lnTo>
                    <a:pt x="166" y="408"/>
                  </a:lnTo>
                  <a:lnTo>
                    <a:pt x="166" y="408"/>
                  </a:lnTo>
                  <a:lnTo>
                    <a:pt x="160" y="394"/>
                  </a:lnTo>
                  <a:lnTo>
                    <a:pt x="154" y="386"/>
                  </a:lnTo>
                  <a:lnTo>
                    <a:pt x="146" y="382"/>
                  </a:lnTo>
                  <a:lnTo>
                    <a:pt x="146" y="38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4126"/>
              <a:endParaRPr lang="de-DE" sz="1799" dirty="0">
                <a:solidFill>
                  <a:srgbClr val="3B3B3B"/>
                </a:solidFill>
                <a:latin typeface="EnBW DIN Pro"/>
              </a:endParaRPr>
            </a:p>
          </p:txBody>
        </p:sp>
        <p:sp>
          <p:nvSpPr>
            <p:cNvPr id="35" name="Freeform 30">
              <a:extLst>
                <a:ext uri="{FF2B5EF4-FFF2-40B4-BE49-F238E27FC236}">
                  <a16:creationId xmlns:a16="http://schemas.microsoft.com/office/drawing/2014/main" id="{11D2E0F0-04C8-40B7-9FFC-D9998929EF6F}"/>
                </a:ext>
              </a:extLst>
            </p:cNvPr>
            <p:cNvSpPr>
              <a:spLocks/>
            </p:cNvSpPr>
            <p:nvPr/>
          </p:nvSpPr>
          <p:spPr bwMode="gray">
            <a:xfrm>
              <a:off x="3036" y="1291"/>
              <a:ext cx="812" cy="514"/>
            </a:xfrm>
            <a:custGeom>
              <a:avLst/>
              <a:gdLst>
                <a:gd name="T0" fmla="*/ 60 w 812"/>
                <a:gd name="T1" fmla="*/ 310 h 514"/>
                <a:gd name="T2" fmla="*/ 0 w 812"/>
                <a:gd name="T3" fmla="*/ 400 h 514"/>
                <a:gd name="T4" fmla="*/ 18 w 812"/>
                <a:gd name="T5" fmla="*/ 404 h 514"/>
                <a:gd name="T6" fmla="*/ 32 w 812"/>
                <a:gd name="T7" fmla="*/ 424 h 514"/>
                <a:gd name="T8" fmla="*/ 72 w 812"/>
                <a:gd name="T9" fmla="*/ 452 h 514"/>
                <a:gd name="T10" fmla="*/ 100 w 812"/>
                <a:gd name="T11" fmla="*/ 468 h 514"/>
                <a:gd name="T12" fmla="*/ 134 w 812"/>
                <a:gd name="T13" fmla="*/ 486 h 514"/>
                <a:gd name="T14" fmla="*/ 160 w 812"/>
                <a:gd name="T15" fmla="*/ 494 h 514"/>
                <a:gd name="T16" fmla="*/ 190 w 812"/>
                <a:gd name="T17" fmla="*/ 500 h 514"/>
                <a:gd name="T18" fmla="*/ 224 w 812"/>
                <a:gd name="T19" fmla="*/ 514 h 514"/>
                <a:gd name="T20" fmla="*/ 210 w 812"/>
                <a:gd name="T21" fmla="*/ 450 h 514"/>
                <a:gd name="T22" fmla="*/ 264 w 812"/>
                <a:gd name="T23" fmla="*/ 430 h 514"/>
                <a:gd name="T24" fmla="*/ 354 w 812"/>
                <a:gd name="T25" fmla="*/ 400 h 514"/>
                <a:gd name="T26" fmla="*/ 512 w 812"/>
                <a:gd name="T27" fmla="*/ 466 h 514"/>
                <a:gd name="T28" fmla="*/ 572 w 812"/>
                <a:gd name="T29" fmla="*/ 440 h 514"/>
                <a:gd name="T30" fmla="*/ 624 w 812"/>
                <a:gd name="T31" fmla="*/ 414 h 514"/>
                <a:gd name="T32" fmla="*/ 766 w 812"/>
                <a:gd name="T33" fmla="*/ 388 h 514"/>
                <a:gd name="T34" fmla="*/ 812 w 812"/>
                <a:gd name="T35" fmla="*/ 368 h 514"/>
                <a:gd name="T36" fmla="*/ 764 w 812"/>
                <a:gd name="T37" fmla="*/ 242 h 514"/>
                <a:gd name="T38" fmla="*/ 732 w 812"/>
                <a:gd name="T39" fmla="*/ 248 h 514"/>
                <a:gd name="T40" fmla="*/ 684 w 812"/>
                <a:gd name="T41" fmla="*/ 218 h 514"/>
                <a:gd name="T42" fmla="*/ 686 w 812"/>
                <a:gd name="T43" fmla="*/ 192 h 514"/>
                <a:gd name="T44" fmla="*/ 676 w 812"/>
                <a:gd name="T45" fmla="*/ 162 h 514"/>
                <a:gd name="T46" fmla="*/ 666 w 812"/>
                <a:gd name="T47" fmla="*/ 126 h 514"/>
                <a:gd name="T48" fmla="*/ 654 w 812"/>
                <a:gd name="T49" fmla="*/ 102 h 514"/>
                <a:gd name="T50" fmla="*/ 634 w 812"/>
                <a:gd name="T51" fmla="*/ 104 h 514"/>
                <a:gd name="T52" fmla="*/ 602 w 812"/>
                <a:gd name="T53" fmla="*/ 118 h 514"/>
                <a:gd name="T54" fmla="*/ 570 w 812"/>
                <a:gd name="T55" fmla="*/ 100 h 514"/>
                <a:gd name="T56" fmla="*/ 534 w 812"/>
                <a:gd name="T57" fmla="*/ 72 h 514"/>
                <a:gd name="T58" fmla="*/ 510 w 812"/>
                <a:gd name="T59" fmla="*/ 52 h 514"/>
                <a:gd name="T60" fmla="*/ 502 w 812"/>
                <a:gd name="T61" fmla="*/ 24 h 514"/>
                <a:gd name="T62" fmla="*/ 484 w 812"/>
                <a:gd name="T63" fmla="*/ 6 h 514"/>
                <a:gd name="T64" fmla="*/ 468 w 812"/>
                <a:gd name="T65" fmla="*/ 16 h 514"/>
                <a:gd name="T66" fmla="*/ 448 w 812"/>
                <a:gd name="T67" fmla="*/ 28 h 514"/>
                <a:gd name="T68" fmla="*/ 408 w 812"/>
                <a:gd name="T69" fmla="*/ 26 h 514"/>
                <a:gd name="T70" fmla="*/ 388 w 812"/>
                <a:gd name="T71" fmla="*/ 46 h 514"/>
                <a:gd name="T72" fmla="*/ 372 w 812"/>
                <a:gd name="T73" fmla="*/ 54 h 514"/>
                <a:gd name="T74" fmla="*/ 384 w 812"/>
                <a:gd name="T75" fmla="*/ 22 h 514"/>
                <a:gd name="T76" fmla="*/ 438 w 812"/>
                <a:gd name="T77" fmla="*/ 14 h 514"/>
                <a:gd name="T78" fmla="*/ 456 w 812"/>
                <a:gd name="T79" fmla="*/ 6 h 514"/>
                <a:gd name="T80" fmla="*/ 414 w 812"/>
                <a:gd name="T81" fmla="*/ 0 h 514"/>
                <a:gd name="T82" fmla="*/ 372 w 812"/>
                <a:gd name="T83" fmla="*/ 16 h 514"/>
                <a:gd name="T84" fmla="*/ 336 w 812"/>
                <a:gd name="T85" fmla="*/ 74 h 514"/>
                <a:gd name="T86" fmla="*/ 316 w 812"/>
                <a:gd name="T87" fmla="*/ 98 h 514"/>
                <a:gd name="T88" fmla="*/ 266 w 812"/>
                <a:gd name="T89" fmla="*/ 116 h 514"/>
                <a:gd name="T90" fmla="*/ 228 w 812"/>
                <a:gd name="T91" fmla="*/ 116 h 514"/>
                <a:gd name="T92" fmla="*/ 188 w 812"/>
                <a:gd name="T93" fmla="*/ 140 h 514"/>
                <a:gd name="T94" fmla="*/ 198 w 812"/>
                <a:gd name="T95" fmla="*/ 156 h 514"/>
                <a:gd name="T96" fmla="*/ 188 w 812"/>
                <a:gd name="T97" fmla="*/ 192 h 514"/>
                <a:gd name="T98" fmla="*/ 170 w 812"/>
                <a:gd name="T99" fmla="*/ 210 h 514"/>
                <a:gd name="T100" fmla="*/ 142 w 812"/>
                <a:gd name="T101" fmla="*/ 190 h 514"/>
                <a:gd name="T102" fmla="*/ 108 w 812"/>
                <a:gd name="T103" fmla="*/ 168 h 514"/>
                <a:gd name="T104" fmla="*/ 64 w 812"/>
                <a:gd name="T105" fmla="*/ 186 h 5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12" h="514">
                  <a:moveTo>
                    <a:pt x="54" y="190"/>
                  </a:moveTo>
                  <a:lnTo>
                    <a:pt x="30" y="234"/>
                  </a:lnTo>
                  <a:lnTo>
                    <a:pt x="32" y="264"/>
                  </a:lnTo>
                  <a:lnTo>
                    <a:pt x="58" y="280"/>
                  </a:lnTo>
                  <a:lnTo>
                    <a:pt x="60" y="310"/>
                  </a:lnTo>
                  <a:lnTo>
                    <a:pt x="38" y="318"/>
                  </a:lnTo>
                  <a:lnTo>
                    <a:pt x="38" y="346"/>
                  </a:lnTo>
                  <a:lnTo>
                    <a:pt x="4" y="366"/>
                  </a:lnTo>
                  <a:lnTo>
                    <a:pt x="0" y="378"/>
                  </a:lnTo>
                  <a:lnTo>
                    <a:pt x="0" y="400"/>
                  </a:lnTo>
                  <a:lnTo>
                    <a:pt x="0" y="400"/>
                  </a:lnTo>
                  <a:lnTo>
                    <a:pt x="4" y="400"/>
                  </a:lnTo>
                  <a:lnTo>
                    <a:pt x="10" y="400"/>
                  </a:lnTo>
                  <a:lnTo>
                    <a:pt x="10" y="400"/>
                  </a:lnTo>
                  <a:lnTo>
                    <a:pt x="18" y="404"/>
                  </a:lnTo>
                  <a:lnTo>
                    <a:pt x="22" y="406"/>
                  </a:lnTo>
                  <a:lnTo>
                    <a:pt x="24" y="410"/>
                  </a:lnTo>
                  <a:lnTo>
                    <a:pt x="26" y="416"/>
                  </a:lnTo>
                  <a:lnTo>
                    <a:pt x="26" y="416"/>
                  </a:lnTo>
                  <a:lnTo>
                    <a:pt x="32" y="424"/>
                  </a:lnTo>
                  <a:lnTo>
                    <a:pt x="36" y="428"/>
                  </a:lnTo>
                  <a:lnTo>
                    <a:pt x="42" y="432"/>
                  </a:lnTo>
                  <a:lnTo>
                    <a:pt x="42" y="432"/>
                  </a:lnTo>
                  <a:lnTo>
                    <a:pt x="56" y="440"/>
                  </a:lnTo>
                  <a:lnTo>
                    <a:pt x="72" y="452"/>
                  </a:lnTo>
                  <a:lnTo>
                    <a:pt x="72" y="452"/>
                  </a:lnTo>
                  <a:lnTo>
                    <a:pt x="86" y="466"/>
                  </a:lnTo>
                  <a:lnTo>
                    <a:pt x="94" y="468"/>
                  </a:lnTo>
                  <a:lnTo>
                    <a:pt x="100" y="468"/>
                  </a:lnTo>
                  <a:lnTo>
                    <a:pt x="100" y="468"/>
                  </a:lnTo>
                  <a:lnTo>
                    <a:pt x="112" y="466"/>
                  </a:lnTo>
                  <a:lnTo>
                    <a:pt x="118" y="466"/>
                  </a:lnTo>
                  <a:lnTo>
                    <a:pt x="122" y="470"/>
                  </a:lnTo>
                  <a:lnTo>
                    <a:pt x="122" y="470"/>
                  </a:lnTo>
                  <a:lnTo>
                    <a:pt x="134" y="486"/>
                  </a:lnTo>
                  <a:lnTo>
                    <a:pt x="142" y="494"/>
                  </a:lnTo>
                  <a:lnTo>
                    <a:pt x="148" y="496"/>
                  </a:lnTo>
                  <a:lnTo>
                    <a:pt x="152" y="496"/>
                  </a:lnTo>
                  <a:lnTo>
                    <a:pt x="152" y="496"/>
                  </a:lnTo>
                  <a:lnTo>
                    <a:pt x="160" y="494"/>
                  </a:lnTo>
                  <a:lnTo>
                    <a:pt x="168" y="492"/>
                  </a:lnTo>
                  <a:lnTo>
                    <a:pt x="174" y="490"/>
                  </a:lnTo>
                  <a:lnTo>
                    <a:pt x="178" y="492"/>
                  </a:lnTo>
                  <a:lnTo>
                    <a:pt x="178" y="492"/>
                  </a:lnTo>
                  <a:lnTo>
                    <a:pt x="190" y="500"/>
                  </a:lnTo>
                  <a:lnTo>
                    <a:pt x="206" y="504"/>
                  </a:lnTo>
                  <a:lnTo>
                    <a:pt x="206" y="504"/>
                  </a:lnTo>
                  <a:lnTo>
                    <a:pt x="218" y="510"/>
                  </a:lnTo>
                  <a:lnTo>
                    <a:pt x="222" y="512"/>
                  </a:lnTo>
                  <a:lnTo>
                    <a:pt x="224" y="514"/>
                  </a:lnTo>
                  <a:lnTo>
                    <a:pt x="236" y="502"/>
                  </a:lnTo>
                  <a:lnTo>
                    <a:pt x="224" y="484"/>
                  </a:lnTo>
                  <a:lnTo>
                    <a:pt x="212" y="480"/>
                  </a:lnTo>
                  <a:lnTo>
                    <a:pt x="206" y="460"/>
                  </a:lnTo>
                  <a:lnTo>
                    <a:pt x="210" y="450"/>
                  </a:lnTo>
                  <a:lnTo>
                    <a:pt x="234" y="438"/>
                  </a:lnTo>
                  <a:lnTo>
                    <a:pt x="240" y="440"/>
                  </a:lnTo>
                  <a:lnTo>
                    <a:pt x="252" y="422"/>
                  </a:lnTo>
                  <a:lnTo>
                    <a:pt x="264" y="422"/>
                  </a:lnTo>
                  <a:lnTo>
                    <a:pt x="264" y="430"/>
                  </a:lnTo>
                  <a:lnTo>
                    <a:pt x="308" y="416"/>
                  </a:lnTo>
                  <a:lnTo>
                    <a:pt x="308" y="402"/>
                  </a:lnTo>
                  <a:lnTo>
                    <a:pt x="322" y="394"/>
                  </a:lnTo>
                  <a:lnTo>
                    <a:pt x="330" y="398"/>
                  </a:lnTo>
                  <a:lnTo>
                    <a:pt x="354" y="400"/>
                  </a:lnTo>
                  <a:lnTo>
                    <a:pt x="396" y="432"/>
                  </a:lnTo>
                  <a:lnTo>
                    <a:pt x="442" y="436"/>
                  </a:lnTo>
                  <a:lnTo>
                    <a:pt x="484" y="456"/>
                  </a:lnTo>
                  <a:lnTo>
                    <a:pt x="508" y="452"/>
                  </a:lnTo>
                  <a:lnTo>
                    <a:pt x="512" y="466"/>
                  </a:lnTo>
                  <a:lnTo>
                    <a:pt x="540" y="454"/>
                  </a:lnTo>
                  <a:lnTo>
                    <a:pt x="542" y="438"/>
                  </a:lnTo>
                  <a:lnTo>
                    <a:pt x="556" y="432"/>
                  </a:lnTo>
                  <a:lnTo>
                    <a:pt x="562" y="438"/>
                  </a:lnTo>
                  <a:lnTo>
                    <a:pt x="572" y="440"/>
                  </a:lnTo>
                  <a:lnTo>
                    <a:pt x="576" y="428"/>
                  </a:lnTo>
                  <a:lnTo>
                    <a:pt x="594" y="422"/>
                  </a:lnTo>
                  <a:lnTo>
                    <a:pt x="606" y="430"/>
                  </a:lnTo>
                  <a:lnTo>
                    <a:pt x="614" y="416"/>
                  </a:lnTo>
                  <a:lnTo>
                    <a:pt x="624" y="414"/>
                  </a:lnTo>
                  <a:lnTo>
                    <a:pt x="642" y="370"/>
                  </a:lnTo>
                  <a:lnTo>
                    <a:pt x="700" y="374"/>
                  </a:lnTo>
                  <a:lnTo>
                    <a:pt x="714" y="352"/>
                  </a:lnTo>
                  <a:lnTo>
                    <a:pt x="732" y="350"/>
                  </a:lnTo>
                  <a:lnTo>
                    <a:pt x="766" y="388"/>
                  </a:lnTo>
                  <a:lnTo>
                    <a:pt x="764" y="412"/>
                  </a:lnTo>
                  <a:lnTo>
                    <a:pt x="780" y="414"/>
                  </a:lnTo>
                  <a:lnTo>
                    <a:pt x="798" y="384"/>
                  </a:lnTo>
                  <a:lnTo>
                    <a:pt x="810" y="384"/>
                  </a:lnTo>
                  <a:lnTo>
                    <a:pt x="812" y="368"/>
                  </a:lnTo>
                  <a:lnTo>
                    <a:pt x="804" y="334"/>
                  </a:lnTo>
                  <a:lnTo>
                    <a:pt x="792" y="328"/>
                  </a:lnTo>
                  <a:lnTo>
                    <a:pt x="792" y="328"/>
                  </a:lnTo>
                  <a:lnTo>
                    <a:pt x="764" y="242"/>
                  </a:lnTo>
                  <a:lnTo>
                    <a:pt x="764" y="242"/>
                  </a:lnTo>
                  <a:lnTo>
                    <a:pt x="762" y="238"/>
                  </a:lnTo>
                  <a:lnTo>
                    <a:pt x="758" y="240"/>
                  </a:lnTo>
                  <a:lnTo>
                    <a:pt x="750" y="244"/>
                  </a:lnTo>
                  <a:lnTo>
                    <a:pt x="738" y="248"/>
                  </a:lnTo>
                  <a:lnTo>
                    <a:pt x="732" y="248"/>
                  </a:lnTo>
                  <a:lnTo>
                    <a:pt x="728" y="246"/>
                  </a:lnTo>
                  <a:lnTo>
                    <a:pt x="728" y="246"/>
                  </a:lnTo>
                  <a:lnTo>
                    <a:pt x="706" y="232"/>
                  </a:lnTo>
                  <a:lnTo>
                    <a:pt x="684" y="218"/>
                  </a:lnTo>
                  <a:lnTo>
                    <a:pt x="684" y="218"/>
                  </a:lnTo>
                  <a:lnTo>
                    <a:pt x="678" y="212"/>
                  </a:lnTo>
                  <a:lnTo>
                    <a:pt x="676" y="206"/>
                  </a:lnTo>
                  <a:lnTo>
                    <a:pt x="678" y="198"/>
                  </a:lnTo>
                  <a:lnTo>
                    <a:pt x="686" y="192"/>
                  </a:lnTo>
                  <a:lnTo>
                    <a:pt x="686" y="192"/>
                  </a:lnTo>
                  <a:lnTo>
                    <a:pt x="690" y="184"/>
                  </a:lnTo>
                  <a:lnTo>
                    <a:pt x="692" y="182"/>
                  </a:lnTo>
                  <a:lnTo>
                    <a:pt x="692" y="178"/>
                  </a:lnTo>
                  <a:lnTo>
                    <a:pt x="686" y="170"/>
                  </a:lnTo>
                  <a:lnTo>
                    <a:pt x="676" y="162"/>
                  </a:lnTo>
                  <a:lnTo>
                    <a:pt x="676" y="162"/>
                  </a:lnTo>
                  <a:lnTo>
                    <a:pt x="668" y="152"/>
                  </a:lnTo>
                  <a:lnTo>
                    <a:pt x="664" y="144"/>
                  </a:lnTo>
                  <a:lnTo>
                    <a:pt x="664" y="136"/>
                  </a:lnTo>
                  <a:lnTo>
                    <a:pt x="666" y="126"/>
                  </a:lnTo>
                  <a:lnTo>
                    <a:pt x="666" y="126"/>
                  </a:lnTo>
                  <a:lnTo>
                    <a:pt x="666" y="118"/>
                  </a:lnTo>
                  <a:lnTo>
                    <a:pt x="664" y="112"/>
                  </a:lnTo>
                  <a:lnTo>
                    <a:pt x="660" y="108"/>
                  </a:lnTo>
                  <a:lnTo>
                    <a:pt x="654" y="102"/>
                  </a:lnTo>
                  <a:lnTo>
                    <a:pt x="654" y="102"/>
                  </a:lnTo>
                  <a:lnTo>
                    <a:pt x="648" y="98"/>
                  </a:lnTo>
                  <a:lnTo>
                    <a:pt x="644" y="98"/>
                  </a:lnTo>
                  <a:lnTo>
                    <a:pt x="638" y="100"/>
                  </a:lnTo>
                  <a:lnTo>
                    <a:pt x="634" y="104"/>
                  </a:lnTo>
                  <a:lnTo>
                    <a:pt x="634" y="104"/>
                  </a:lnTo>
                  <a:lnTo>
                    <a:pt x="624" y="112"/>
                  </a:lnTo>
                  <a:lnTo>
                    <a:pt x="616" y="114"/>
                  </a:lnTo>
                  <a:lnTo>
                    <a:pt x="602" y="118"/>
                  </a:lnTo>
                  <a:lnTo>
                    <a:pt x="602" y="118"/>
                  </a:lnTo>
                  <a:lnTo>
                    <a:pt x="594" y="118"/>
                  </a:lnTo>
                  <a:lnTo>
                    <a:pt x="588" y="116"/>
                  </a:lnTo>
                  <a:lnTo>
                    <a:pt x="582" y="114"/>
                  </a:lnTo>
                  <a:lnTo>
                    <a:pt x="578" y="110"/>
                  </a:lnTo>
                  <a:lnTo>
                    <a:pt x="570" y="100"/>
                  </a:lnTo>
                  <a:lnTo>
                    <a:pt x="558" y="86"/>
                  </a:lnTo>
                  <a:lnTo>
                    <a:pt x="558" y="86"/>
                  </a:lnTo>
                  <a:lnTo>
                    <a:pt x="546" y="76"/>
                  </a:lnTo>
                  <a:lnTo>
                    <a:pt x="540" y="72"/>
                  </a:lnTo>
                  <a:lnTo>
                    <a:pt x="534" y="72"/>
                  </a:lnTo>
                  <a:lnTo>
                    <a:pt x="528" y="70"/>
                  </a:lnTo>
                  <a:lnTo>
                    <a:pt x="528" y="70"/>
                  </a:lnTo>
                  <a:lnTo>
                    <a:pt x="520" y="66"/>
                  </a:lnTo>
                  <a:lnTo>
                    <a:pt x="514" y="60"/>
                  </a:lnTo>
                  <a:lnTo>
                    <a:pt x="510" y="52"/>
                  </a:lnTo>
                  <a:lnTo>
                    <a:pt x="510" y="42"/>
                  </a:lnTo>
                  <a:lnTo>
                    <a:pt x="510" y="42"/>
                  </a:lnTo>
                  <a:lnTo>
                    <a:pt x="508" y="34"/>
                  </a:lnTo>
                  <a:lnTo>
                    <a:pt x="506" y="28"/>
                  </a:lnTo>
                  <a:lnTo>
                    <a:pt x="502" y="24"/>
                  </a:lnTo>
                  <a:lnTo>
                    <a:pt x="496" y="22"/>
                  </a:lnTo>
                  <a:lnTo>
                    <a:pt x="496" y="22"/>
                  </a:lnTo>
                  <a:lnTo>
                    <a:pt x="492" y="18"/>
                  </a:lnTo>
                  <a:lnTo>
                    <a:pt x="488" y="14"/>
                  </a:lnTo>
                  <a:lnTo>
                    <a:pt x="484" y="6"/>
                  </a:lnTo>
                  <a:lnTo>
                    <a:pt x="484" y="6"/>
                  </a:lnTo>
                  <a:lnTo>
                    <a:pt x="480" y="4"/>
                  </a:lnTo>
                  <a:lnTo>
                    <a:pt x="476" y="6"/>
                  </a:lnTo>
                  <a:lnTo>
                    <a:pt x="472" y="10"/>
                  </a:lnTo>
                  <a:lnTo>
                    <a:pt x="468" y="16"/>
                  </a:lnTo>
                  <a:lnTo>
                    <a:pt x="468" y="16"/>
                  </a:lnTo>
                  <a:lnTo>
                    <a:pt x="466" y="20"/>
                  </a:lnTo>
                  <a:lnTo>
                    <a:pt x="462" y="24"/>
                  </a:lnTo>
                  <a:lnTo>
                    <a:pt x="456" y="26"/>
                  </a:lnTo>
                  <a:lnTo>
                    <a:pt x="448" y="28"/>
                  </a:lnTo>
                  <a:lnTo>
                    <a:pt x="448" y="28"/>
                  </a:lnTo>
                  <a:lnTo>
                    <a:pt x="432" y="26"/>
                  </a:lnTo>
                  <a:lnTo>
                    <a:pt x="414" y="26"/>
                  </a:lnTo>
                  <a:lnTo>
                    <a:pt x="414" y="26"/>
                  </a:lnTo>
                  <a:lnTo>
                    <a:pt x="408" y="26"/>
                  </a:lnTo>
                  <a:lnTo>
                    <a:pt x="402" y="26"/>
                  </a:lnTo>
                  <a:lnTo>
                    <a:pt x="396" y="32"/>
                  </a:lnTo>
                  <a:lnTo>
                    <a:pt x="392" y="38"/>
                  </a:lnTo>
                  <a:lnTo>
                    <a:pt x="388" y="46"/>
                  </a:lnTo>
                  <a:lnTo>
                    <a:pt x="388" y="46"/>
                  </a:lnTo>
                  <a:lnTo>
                    <a:pt x="384" y="52"/>
                  </a:lnTo>
                  <a:lnTo>
                    <a:pt x="380" y="54"/>
                  </a:lnTo>
                  <a:lnTo>
                    <a:pt x="376" y="56"/>
                  </a:lnTo>
                  <a:lnTo>
                    <a:pt x="372" y="54"/>
                  </a:lnTo>
                  <a:lnTo>
                    <a:pt x="372" y="54"/>
                  </a:lnTo>
                  <a:lnTo>
                    <a:pt x="370" y="52"/>
                  </a:lnTo>
                  <a:lnTo>
                    <a:pt x="370" y="48"/>
                  </a:lnTo>
                  <a:lnTo>
                    <a:pt x="372" y="40"/>
                  </a:lnTo>
                  <a:lnTo>
                    <a:pt x="378" y="30"/>
                  </a:lnTo>
                  <a:lnTo>
                    <a:pt x="384" y="22"/>
                  </a:lnTo>
                  <a:lnTo>
                    <a:pt x="384" y="22"/>
                  </a:lnTo>
                  <a:lnTo>
                    <a:pt x="388" y="18"/>
                  </a:lnTo>
                  <a:lnTo>
                    <a:pt x="392" y="16"/>
                  </a:lnTo>
                  <a:lnTo>
                    <a:pt x="406" y="14"/>
                  </a:lnTo>
                  <a:lnTo>
                    <a:pt x="438" y="14"/>
                  </a:lnTo>
                  <a:lnTo>
                    <a:pt x="438" y="14"/>
                  </a:lnTo>
                  <a:lnTo>
                    <a:pt x="450" y="12"/>
                  </a:lnTo>
                  <a:lnTo>
                    <a:pt x="454" y="12"/>
                  </a:lnTo>
                  <a:lnTo>
                    <a:pt x="456" y="10"/>
                  </a:lnTo>
                  <a:lnTo>
                    <a:pt x="456" y="6"/>
                  </a:lnTo>
                  <a:lnTo>
                    <a:pt x="456" y="6"/>
                  </a:lnTo>
                  <a:lnTo>
                    <a:pt x="456" y="4"/>
                  </a:lnTo>
                  <a:lnTo>
                    <a:pt x="454" y="2"/>
                  </a:lnTo>
                  <a:lnTo>
                    <a:pt x="446" y="2"/>
                  </a:lnTo>
                  <a:lnTo>
                    <a:pt x="414" y="0"/>
                  </a:lnTo>
                  <a:lnTo>
                    <a:pt x="414" y="0"/>
                  </a:lnTo>
                  <a:lnTo>
                    <a:pt x="396" y="0"/>
                  </a:lnTo>
                  <a:lnTo>
                    <a:pt x="386" y="2"/>
                  </a:lnTo>
                  <a:lnTo>
                    <a:pt x="378" y="6"/>
                  </a:lnTo>
                  <a:lnTo>
                    <a:pt x="372" y="16"/>
                  </a:lnTo>
                  <a:lnTo>
                    <a:pt x="372" y="16"/>
                  </a:lnTo>
                  <a:lnTo>
                    <a:pt x="354" y="48"/>
                  </a:lnTo>
                  <a:lnTo>
                    <a:pt x="346" y="62"/>
                  </a:lnTo>
                  <a:lnTo>
                    <a:pt x="336" y="74"/>
                  </a:lnTo>
                  <a:lnTo>
                    <a:pt x="336" y="74"/>
                  </a:lnTo>
                  <a:lnTo>
                    <a:pt x="330" y="80"/>
                  </a:lnTo>
                  <a:lnTo>
                    <a:pt x="326" y="86"/>
                  </a:lnTo>
                  <a:lnTo>
                    <a:pt x="322" y="92"/>
                  </a:lnTo>
                  <a:lnTo>
                    <a:pt x="316" y="98"/>
                  </a:lnTo>
                  <a:lnTo>
                    <a:pt x="316" y="98"/>
                  </a:lnTo>
                  <a:lnTo>
                    <a:pt x="304" y="104"/>
                  </a:lnTo>
                  <a:lnTo>
                    <a:pt x="296" y="108"/>
                  </a:lnTo>
                  <a:lnTo>
                    <a:pt x="278" y="114"/>
                  </a:lnTo>
                  <a:lnTo>
                    <a:pt x="278" y="114"/>
                  </a:lnTo>
                  <a:lnTo>
                    <a:pt x="266" y="116"/>
                  </a:lnTo>
                  <a:lnTo>
                    <a:pt x="256" y="118"/>
                  </a:lnTo>
                  <a:lnTo>
                    <a:pt x="246" y="116"/>
                  </a:lnTo>
                  <a:lnTo>
                    <a:pt x="238" y="116"/>
                  </a:lnTo>
                  <a:lnTo>
                    <a:pt x="238" y="116"/>
                  </a:lnTo>
                  <a:lnTo>
                    <a:pt x="228" y="116"/>
                  </a:lnTo>
                  <a:lnTo>
                    <a:pt x="218" y="118"/>
                  </a:lnTo>
                  <a:lnTo>
                    <a:pt x="200" y="130"/>
                  </a:lnTo>
                  <a:lnTo>
                    <a:pt x="200" y="130"/>
                  </a:lnTo>
                  <a:lnTo>
                    <a:pt x="192" y="136"/>
                  </a:lnTo>
                  <a:lnTo>
                    <a:pt x="188" y="140"/>
                  </a:lnTo>
                  <a:lnTo>
                    <a:pt x="188" y="146"/>
                  </a:lnTo>
                  <a:lnTo>
                    <a:pt x="194" y="148"/>
                  </a:lnTo>
                  <a:lnTo>
                    <a:pt x="194" y="148"/>
                  </a:lnTo>
                  <a:lnTo>
                    <a:pt x="196" y="150"/>
                  </a:lnTo>
                  <a:lnTo>
                    <a:pt x="198" y="156"/>
                  </a:lnTo>
                  <a:lnTo>
                    <a:pt x="198" y="160"/>
                  </a:lnTo>
                  <a:lnTo>
                    <a:pt x="198" y="166"/>
                  </a:lnTo>
                  <a:lnTo>
                    <a:pt x="198" y="166"/>
                  </a:lnTo>
                  <a:lnTo>
                    <a:pt x="190" y="182"/>
                  </a:lnTo>
                  <a:lnTo>
                    <a:pt x="188" y="192"/>
                  </a:lnTo>
                  <a:lnTo>
                    <a:pt x="182" y="202"/>
                  </a:lnTo>
                  <a:lnTo>
                    <a:pt x="182" y="202"/>
                  </a:lnTo>
                  <a:lnTo>
                    <a:pt x="178" y="206"/>
                  </a:lnTo>
                  <a:lnTo>
                    <a:pt x="174" y="210"/>
                  </a:lnTo>
                  <a:lnTo>
                    <a:pt x="170" y="210"/>
                  </a:lnTo>
                  <a:lnTo>
                    <a:pt x="168" y="210"/>
                  </a:lnTo>
                  <a:lnTo>
                    <a:pt x="160" y="204"/>
                  </a:lnTo>
                  <a:lnTo>
                    <a:pt x="152" y="196"/>
                  </a:lnTo>
                  <a:lnTo>
                    <a:pt x="152" y="196"/>
                  </a:lnTo>
                  <a:lnTo>
                    <a:pt x="142" y="190"/>
                  </a:lnTo>
                  <a:lnTo>
                    <a:pt x="132" y="184"/>
                  </a:lnTo>
                  <a:lnTo>
                    <a:pt x="122" y="178"/>
                  </a:lnTo>
                  <a:lnTo>
                    <a:pt x="112" y="170"/>
                  </a:lnTo>
                  <a:lnTo>
                    <a:pt x="112" y="170"/>
                  </a:lnTo>
                  <a:lnTo>
                    <a:pt x="108" y="168"/>
                  </a:lnTo>
                  <a:lnTo>
                    <a:pt x="102" y="168"/>
                  </a:lnTo>
                  <a:lnTo>
                    <a:pt x="96" y="168"/>
                  </a:lnTo>
                  <a:lnTo>
                    <a:pt x="90" y="170"/>
                  </a:lnTo>
                  <a:lnTo>
                    <a:pt x="64" y="186"/>
                  </a:lnTo>
                  <a:lnTo>
                    <a:pt x="64" y="186"/>
                  </a:lnTo>
                  <a:lnTo>
                    <a:pt x="54" y="190"/>
                  </a:lnTo>
                  <a:lnTo>
                    <a:pt x="54" y="19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4126"/>
              <a:endParaRPr lang="de-DE" sz="1799" dirty="0">
                <a:solidFill>
                  <a:srgbClr val="3B3B3B"/>
                </a:solidFill>
                <a:latin typeface="EnBW DIN Pro"/>
              </a:endParaRPr>
            </a:p>
          </p:txBody>
        </p:sp>
        <p:sp>
          <p:nvSpPr>
            <p:cNvPr id="36" name="Freeform 31">
              <a:extLst>
                <a:ext uri="{FF2B5EF4-FFF2-40B4-BE49-F238E27FC236}">
                  <a16:creationId xmlns:a16="http://schemas.microsoft.com/office/drawing/2014/main" id="{689A66C3-FAF9-4D1C-AD4D-D9BF60156634}"/>
                </a:ext>
              </a:extLst>
            </p:cNvPr>
            <p:cNvSpPr>
              <a:spLocks/>
            </p:cNvSpPr>
            <p:nvPr/>
          </p:nvSpPr>
          <p:spPr bwMode="gray">
            <a:xfrm>
              <a:off x="3338" y="2275"/>
              <a:ext cx="694" cy="542"/>
            </a:xfrm>
            <a:custGeom>
              <a:avLst/>
              <a:gdLst>
                <a:gd name="T0" fmla="*/ 620 w 694"/>
                <a:gd name="T1" fmla="*/ 30 h 542"/>
                <a:gd name="T2" fmla="*/ 656 w 694"/>
                <a:gd name="T3" fmla="*/ 50 h 542"/>
                <a:gd name="T4" fmla="*/ 662 w 694"/>
                <a:gd name="T5" fmla="*/ 58 h 542"/>
                <a:gd name="T6" fmla="*/ 668 w 694"/>
                <a:gd name="T7" fmla="*/ 92 h 542"/>
                <a:gd name="T8" fmla="*/ 682 w 694"/>
                <a:gd name="T9" fmla="*/ 108 h 542"/>
                <a:gd name="T10" fmla="*/ 694 w 694"/>
                <a:gd name="T11" fmla="*/ 124 h 542"/>
                <a:gd name="T12" fmla="*/ 688 w 694"/>
                <a:gd name="T13" fmla="*/ 162 h 542"/>
                <a:gd name="T14" fmla="*/ 670 w 694"/>
                <a:gd name="T15" fmla="*/ 196 h 542"/>
                <a:gd name="T16" fmla="*/ 658 w 694"/>
                <a:gd name="T17" fmla="*/ 228 h 542"/>
                <a:gd name="T18" fmla="*/ 658 w 694"/>
                <a:gd name="T19" fmla="*/ 242 h 542"/>
                <a:gd name="T20" fmla="*/ 644 w 694"/>
                <a:gd name="T21" fmla="*/ 256 h 542"/>
                <a:gd name="T22" fmla="*/ 638 w 694"/>
                <a:gd name="T23" fmla="*/ 266 h 542"/>
                <a:gd name="T24" fmla="*/ 606 w 694"/>
                <a:gd name="T25" fmla="*/ 256 h 542"/>
                <a:gd name="T26" fmla="*/ 568 w 694"/>
                <a:gd name="T27" fmla="*/ 214 h 542"/>
                <a:gd name="T28" fmla="*/ 532 w 694"/>
                <a:gd name="T29" fmla="*/ 240 h 542"/>
                <a:gd name="T30" fmla="*/ 442 w 694"/>
                <a:gd name="T31" fmla="*/ 300 h 542"/>
                <a:gd name="T32" fmla="*/ 362 w 694"/>
                <a:gd name="T33" fmla="*/ 360 h 542"/>
                <a:gd name="T34" fmla="*/ 294 w 694"/>
                <a:gd name="T35" fmla="*/ 388 h 542"/>
                <a:gd name="T36" fmla="*/ 216 w 694"/>
                <a:gd name="T37" fmla="*/ 452 h 542"/>
                <a:gd name="T38" fmla="*/ 156 w 694"/>
                <a:gd name="T39" fmla="*/ 458 h 542"/>
                <a:gd name="T40" fmla="*/ 114 w 694"/>
                <a:gd name="T41" fmla="*/ 530 h 542"/>
                <a:gd name="T42" fmla="*/ 74 w 694"/>
                <a:gd name="T43" fmla="*/ 518 h 542"/>
                <a:gd name="T44" fmla="*/ 32 w 694"/>
                <a:gd name="T45" fmla="*/ 488 h 542"/>
                <a:gd name="T46" fmla="*/ 6 w 694"/>
                <a:gd name="T47" fmla="*/ 440 h 542"/>
                <a:gd name="T48" fmla="*/ 0 w 694"/>
                <a:gd name="T49" fmla="*/ 410 h 542"/>
                <a:gd name="T50" fmla="*/ 40 w 694"/>
                <a:gd name="T51" fmla="*/ 386 h 542"/>
                <a:gd name="T52" fmla="*/ 62 w 694"/>
                <a:gd name="T53" fmla="*/ 386 h 542"/>
                <a:gd name="T54" fmla="*/ 86 w 694"/>
                <a:gd name="T55" fmla="*/ 372 h 542"/>
                <a:gd name="T56" fmla="*/ 80 w 694"/>
                <a:gd name="T57" fmla="*/ 312 h 542"/>
                <a:gd name="T58" fmla="*/ 124 w 694"/>
                <a:gd name="T59" fmla="*/ 300 h 542"/>
                <a:gd name="T60" fmla="*/ 160 w 694"/>
                <a:gd name="T61" fmla="*/ 280 h 542"/>
                <a:gd name="T62" fmla="*/ 136 w 694"/>
                <a:gd name="T63" fmla="*/ 236 h 542"/>
                <a:gd name="T64" fmla="*/ 86 w 694"/>
                <a:gd name="T65" fmla="*/ 216 h 542"/>
                <a:gd name="T66" fmla="*/ 54 w 694"/>
                <a:gd name="T67" fmla="*/ 168 h 542"/>
                <a:gd name="T68" fmla="*/ 60 w 694"/>
                <a:gd name="T69" fmla="*/ 94 h 542"/>
                <a:gd name="T70" fmla="*/ 92 w 694"/>
                <a:gd name="T71" fmla="*/ 44 h 542"/>
                <a:gd name="T72" fmla="*/ 150 w 694"/>
                <a:gd name="T73" fmla="*/ 26 h 542"/>
                <a:gd name="T74" fmla="*/ 172 w 694"/>
                <a:gd name="T75" fmla="*/ 10 h 542"/>
                <a:gd name="T76" fmla="*/ 226 w 694"/>
                <a:gd name="T77" fmla="*/ 14 h 542"/>
                <a:gd name="T78" fmla="*/ 266 w 694"/>
                <a:gd name="T79" fmla="*/ 32 h 542"/>
                <a:gd name="T80" fmla="*/ 290 w 694"/>
                <a:gd name="T81" fmla="*/ 98 h 542"/>
                <a:gd name="T82" fmla="*/ 374 w 694"/>
                <a:gd name="T83" fmla="*/ 104 h 542"/>
                <a:gd name="T84" fmla="*/ 468 w 694"/>
                <a:gd name="T85" fmla="*/ 94 h 542"/>
                <a:gd name="T86" fmla="*/ 492 w 694"/>
                <a:gd name="T87" fmla="*/ 40 h 542"/>
                <a:gd name="T88" fmla="*/ 616 w 694"/>
                <a:gd name="T89" fmla="*/ 22 h 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4" h="542">
                  <a:moveTo>
                    <a:pt x="616" y="24"/>
                  </a:moveTo>
                  <a:lnTo>
                    <a:pt x="616" y="24"/>
                  </a:lnTo>
                  <a:lnTo>
                    <a:pt x="620" y="30"/>
                  </a:lnTo>
                  <a:lnTo>
                    <a:pt x="624" y="34"/>
                  </a:lnTo>
                  <a:lnTo>
                    <a:pt x="634" y="40"/>
                  </a:lnTo>
                  <a:lnTo>
                    <a:pt x="656" y="50"/>
                  </a:lnTo>
                  <a:lnTo>
                    <a:pt x="656" y="50"/>
                  </a:lnTo>
                  <a:lnTo>
                    <a:pt x="660" y="52"/>
                  </a:lnTo>
                  <a:lnTo>
                    <a:pt x="662" y="58"/>
                  </a:lnTo>
                  <a:lnTo>
                    <a:pt x="666" y="68"/>
                  </a:lnTo>
                  <a:lnTo>
                    <a:pt x="666" y="80"/>
                  </a:lnTo>
                  <a:lnTo>
                    <a:pt x="668" y="92"/>
                  </a:lnTo>
                  <a:lnTo>
                    <a:pt x="668" y="92"/>
                  </a:lnTo>
                  <a:lnTo>
                    <a:pt x="674" y="100"/>
                  </a:lnTo>
                  <a:lnTo>
                    <a:pt x="682" y="108"/>
                  </a:lnTo>
                  <a:lnTo>
                    <a:pt x="688" y="114"/>
                  </a:lnTo>
                  <a:lnTo>
                    <a:pt x="694" y="124"/>
                  </a:lnTo>
                  <a:lnTo>
                    <a:pt x="694" y="124"/>
                  </a:lnTo>
                  <a:lnTo>
                    <a:pt x="694" y="132"/>
                  </a:lnTo>
                  <a:lnTo>
                    <a:pt x="692" y="142"/>
                  </a:lnTo>
                  <a:lnTo>
                    <a:pt x="688" y="162"/>
                  </a:lnTo>
                  <a:lnTo>
                    <a:pt x="678" y="184"/>
                  </a:lnTo>
                  <a:lnTo>
                    <a:pt x="670" y="196"/>
                  </a:lnTo>
                  <a:lnTo>
                    <a:pt x="670" y="196"/>
                  </a:lnTo>
                  <a:lnTo>
                    <a:pt x="664" y="206"/>
                  </a:lnTo>
                  <a:lnTo>
                    <a:pt x="660" y="216"/>
                  </a:lnTo>
                  <a:lnTo>
                    <a:pt x="658" y="228"/>
                  </a:lnTo>
                  <a:lnTo>
                    <a:pt x="658" y="236"/>
                  </a:lnTo>
                  <a:lnTo>
                    <a:pt x="658" y="236"/>
                  </a:lnTo>
                  <a:lnTo>
                    <a:pt x="658" y="242"/>
                  </a:lnTo>
                  <a:lnTo>
                    <a:pt x="654" y="248"/>
                  </a:lnTo>
                  <a:lnTo>
                    <a:pt x="650" y="252"/>
                  </a:lnTo>
                  <a:lnTo>
                    <a:pt x="644" y="256"/>
                  </a:lnTo>
                  <a:lnTo>
                    <a:pt x="644" y="256"/>
                  </a:lnTo>
                  <a:lnTo>
                    <a:pt x="640" y="260"/>
                  </a:lnTo>
                  <a:lnTo>
                    <a:pt x="638" y="266"/>
                  </a:lnTo>
                  <a:lnTo>
                    <a:pt x="638" y="272"/>
                  </a:lnTo>
                  <a:lnTo>
                    <a:pt x="624" y="282"/>
                  </a:lnTo>
                  <a:lnTo>
                    <a:pt x="606" y="256"/>
                  </a:lnTo>
                  <a:lnTo>
                    <a:pt x="610" y="238"/>
                  </a:lnTo>
                  <a:lnTo>
                    <a:pt x="594" y="240"/>
                  </a:lnTo>
                  <a:lnTo>
                    <a:pt x="568" y="214"/>
                  </a:lnTo>
                  <a:lnTo>
                    <a:pt x="524" y="216"/>
                  </a:lnTo>
                  <a:lnTo>
                    <a:pt x="512" y="230"/>
                  </a:lnTo>
                  <a:lnTo>
                    <a:pt x="532" y="240"/>
                  </a:lnTo>
                  <a:lnTo>
                    <a:pt x="526" y="264"/>
                  </a:lnTo>
                  <a:lnTo>
                    <a:pt x="528" y="278"/>
                  </a:lnTo>
                  <a:lnTo>
                    <a:pt x="442" y="300"/>
                  </a:lnTo>
                  <a:lnTo>
                    <a:pt x="408" y="340"/>
                  </a:lnTo>
                  <a:lnTo>
                    <a:pt x="364" y="336"/>
                  </a:lnTo>
                  <a:lnTo>
                    <a:pt x="362" y="360"/>
                  </a:lnTo>
                  <a:lnTo>
                    <a:pt x="348" y="374"/>
                  </a:lnTo>
                  <a:lnTo>
                    <a:pt x="324" y="370"/>
                  </a:lnTo>
                  <a:lnTo>
                    <a:pt x="294" y="388"/>
                  </a:lnTo>
                  <a:lnTo>
                    <a:pt x="266" y="416"/>
                  </a:lnTo>
                  <a:lnTo>
                    <a:pt x="248" y="448"/>
                  </a:lnTo>
                  <a:lnTo>
                    <a:pt x="216" y="452"/>
                  </a:lnTo>
                  <a:lnTo>
                    <a:pt x="200" y="442"/>
                  </a:lnTo>
                  <a:lnTo>
                    <a:pt x="168" y="466"/>
                  </a:lnTo>
                  <a:lnTo>
                    <a:pt x="156" y="458"/>
                  </a:lnTo>
                  <a:lnTo>
                    <a:pt x="130" y="490"/>
                  </a:lnTo>
                  <a:lnTo>
                    <a:pt x="102" y="508"/>
                  </a:lnTo>
                  <a:lnTo>
                    <a:pt x="114" y="530"/>
                  </a:lnTo>
                  <a:lnTo>
                    <a:pt x="104" y="542"/>
                  </a:lnTo>
                  <a:lnTo>
                    <a:pt x="90" y="536"/>
                  </a:lnTo>
                  <a:lnTo>
                    <a:pt x="74" y="518"/>
                  </a:lnTo>
                  <a:lnTo>
                    <a:pt x="72" y="490"/>
                  </a:lnTo>
                  <a:lnTo>
                    <a:pt x="48" y="494"/>
                  </a:lnTo>
                  <a:lnTo>
                    <a:pt x="32" y="488"/>
                  </a:lnTo>
                  <a:lnTo>
                    <a:pt x="14" y="456"/>
                  </a:lnTo>
                  <a:lnTo>
                    <a:pt x="6" y="446"/>
                  </a:lnTo>
                  <a:lnTo>
                    <a:pt x="6" y="440"/>
                  </a:lnTo>
                  <a:lnTo>
                    <a:pt x="16" y="434"/>
                  </a:lnTo>
                  <a:lnTo>
                    <a:pt x="20" y="422"/>
                  </a:lnTo>
                  <a:lnTo>
                    <a:pt x="0" y="410"/>
                  </a:lnTo>
                  <a:lnTo>
                    <a:pt x="2" y="398"/>
                  </a:lnTo>
                  <a:lnTo>
                    <a:pt x="28" y="376"/>
                  </a:lnTo>
                  <a:lnTo>
                    <a:pt x="40" y="386"/>
                  </a:lnTo>
                  <a:lnTo>
                    <a:pt x="38" y="396"/>
                  </a:lnTo>
                  <a:lnTo>
                    <a:pt x="46" y="400"/>
                  </a:lnTo>
                  <a:lnTo>
                    <a:pt x="62" y="386"/>
                  </a:lnTo>
                  <a:lnTo>
                    <a:pt x="58" y="378"/>
                  </a:lnTo>
                  <a:lnTo>
                    <a:pt x="64" y="370"/>
                  </a:lnTo>
                  <a:lnTo>
                    <a:pt x="86" y="372"/>
                  </a:lnTo>
                  <a:lnTo>
                    <a:pt x="92" y="364"/>
                  </a:lnTo>
                  <a:lnTo>
                    <a:pt x="68" y="334"/>
                  </a:lnTo>
                  <a:lnTo>
                    <a:pt x="80" y="312"/>
                  </a:lnTo>
                  <a:lnTo>
                    <a:pt x="102" y="306"/>
                  </a:lnTo>
                  <a:lnTo>
                    <a:pt x="110" y="298"/>
                  </a:lnTo>
                  <a:lnTo>
                    <a:pt x="124" y="300"/>
                  </a:lnTo>
                  <a:lnTo>
                    <a:pt x="128" y="288"/>
                  </a:lnTo>
                  <a:lnTo>
                    <a:pt x="146" y="280"/>
                  </a:lnTo>
                  <a:lnTo>
                    <a:pt x="160" y="280"/>
                  </a:lnTo>
                  <a:lnTo>
                    <a:pt x="168" y="270"/>
                  </a:lnTo>
                  <a:lnTo>
                    <a:pt x="158" y="246"/>
                  </a:lnTo>
                  <a:lnTo>
                    <a:pt x="136" y="236"/>
                  </a:lnTo>
                  <a:lnTo>
                    <a:pt x="130" y="224"/>
                  </a:lnTo>
                  <a:lnTo>
                    <a:pt x="116" y="214"/>
                  </a:lnTo>
                  <a:lnTo>
                    <a:pt x="86" y="216"/>
                  </a:lnTo>
                  <a:lnTo>
                    <a:pt x="62" y="196"/>
                  </a:lnTo>
                  <a:lnTo>
                    <a:pt x="62" y="176"/>
                  </a:lnTo>
                  <a:lnTo>
                    <a:pt x="54" y="168"/>
                  </a:lnTo>
                  <a:lnTo>
                    <a:pt x="52" y="134"/>
                  </a:lnTo>
                  <a:lnTo>
                    <a:pt x="62" y="128"/>
                  </a:lnTo>
                  <a:lnTo>
                    <a:pt x="60" y="94"/>
                  </a:lnTo>
                  <a:lnTo>
                    <a:pt x="48" y="76"/>
                  </a:lnTo>
                  <a:lnTo>
                    <a:pt x="64" y="50"/>
                  </a:lnTo>
                  <a:lnTo>
                    <a:pt x="92" y="44"/>
                  </a:lnTo>
                  <a:lnTo>
                    <a:pt x="110" y="30"/>
                  </a:lnTo>
                  <a:lnTo>
                    <a:pt x="142" y="22"/>
                  </a:lnTo>
                  <a:lnTo>
                    <a:pt x="150" y="26"/>
                  </a:lnTo>
                  <a:lnTo>
                    <a:pt x="158" y="24"/>
                  </a:lnTo>
                  <a:lnTo>
                    <a:pt x="162" y="12"/>
                  </a:lnTo>
                  <a:lnTo>
                    <a:pt x="172" y="10"/>
                  </a:lnTo>
                  <a:lnTo>
                    <a:pt x="182" y="12"/>
                  </a:lnTo>
                  <a:lnTo>
                    <a:pt x="202" y="0"/>
                  </a:lnTo>
                  <a:lnTo>
                    <a:pt x="226" y="14"/>
                  </a:lnTo>
                  <a:lnTo>
                    <a:pt x="236" y="8"/>
                  </a:lnTo>
                  <a:lnTo>
                    <a:pt x="258" y="16"/>
                  </a:lnTo>
                  <a:lnTo>
                    <a:pt x="266" y="32"/>
                  </a:lnTo>
                  <a:lnTo>
                    <a:pt x="290" y="54"/>
                  </a:lnTo>
                  <a:lnTo>
                    <a:pt x="282" y="78"/>
                  </a:lnTo>
                  <a:lnTo>
                    <a:pt x="290" y="98"/>
                  </a:lnTo>
                  <a:lnTo>
                    <a:pt x="314" y="86"/>
                  </a:lnTo>
                  <a:lnTo>
                    <a:pt x="348" y="84"/>
                  </a:lnTo>
                  <a:lnTo>
                    <a:pt x="374" y="104"/>
                  </a:lnTo>
                  <a:lnTo>
                    <a:pt x="428" y="100"/>
                  </a:lnTo>
                  <a:lnTo>
                    <a:pt x="450" y="90"/>
                  </a:lnTo>
                  <a:lnTo>
                    <a:pt x="468" y="94"/>
                  </a:lnTo>
                  <a:lnTo>
                    <a:pt x="476" y="76"/>
                  </a:lnTo>
                  <a:lnTo>
                    <a:pt x="472" y="62"/>
                  </a:lnTo>
                  <a:lnTo>
                    <a:pt x="492" y="40"/>
                  </a:lnTo>
                  <a:lnTo>
                    <a:pt x="528" y="46"/>
                  </a:lnTo>
                  <a:lnTo>
                    <a:pt x="554" y="34"/>
                  </a:lnTo>
                  <a:lnTo>
                    <a:pt x="616" y="22"/>
                  </a:lnTo>
                  <a:lnTo>
                    <a:pt x="616" y="2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4126"/>
              <a:endParaRPr lang="de-DE" sz="1799" dirty="0">
                <a:solidFill>
                  <a:srgbClr val="3B3B3B"/>
                </a:solidFill>
                <a:latin typeface="EnBW DIN Pro"/>
              </a:endParaRPr>
            </a:p>
          </p:txBody>
        </p:sp>
        <p:sp>
          <p:nvSpPr>
            <p:cNvPr id="37" name="Freeform 32">
              <a:extLst>
                <a:ext uri="{FF2B5EF4-FFF2-40B4-BE49-F238E27FC236}">
                  <a16:creationId xmlns:a16="http://schemas.microsoft.com/office/drawing/2014/main" id="{8EF88D34-2958-4673-9C44-55139B33622D}"/>
                </a:ext>
              </a:extLst>
            </p:cNvPr>
            <p:cNvSpPr>
              <a:spLocks/>
            </p:cNvSpPr>
            <p:nvPr/>
          </p:nvSpPr>
          <p:spPr bwMode="gray">
            <a:xfrm>
              <a:off x="2662" y="2703"/>
              <a:ext cx="1134" cy="1134"/>
            </a:xfrm>
            <a:custGeom>
              <a:avLst/>
              <a:gdLst>
                <a:gd name="T0" fmla="*/ 738 w 1134"/>
                <a:gd name="T1" fmla="*/ 114 h 1134"/>
                <a:gd name="T2" fmla="*/ 824 w 1134"/>
                <a:gd name="T3" fmla="*/ 208 h 1134"/>
                <a:gd name="T4" fmla="*/ 804 w 1134"/>
                <a:gd name="T5" fmla="*/ 266 h 1134"/>
                <a:gd name="T6" fmla="*/ 850 w 1134"/>
                <a:gd name="T7" fmla="*/ 348 h 1134"/>
                <a:gd name="T8" fmla="*/ 978 w 1134"/>
                <a:gd name="T9" fmla="*/ 484 h 1134"/>
                <a:gd name="T10" fmla="*/ 1074 w 1134"/>
                <a:gd name="T11" fmla="*/ 526 h 1134"/>
                <a:gd name="T12" fmla="*/ 1112 w 1134"/>
                <a:gd name="T13" fmla="*/ 600 h 1134"/>
                <a:gd name="T14" fmla="*/ 1110 w 1134"/>
                <a:gd name="T15" fmla="*/ 664 h 1134"/>
                <a:gd name="T16" fmla="*/ 1074 w 1134"/>
                <a:gd name="T17" fmla="*/ 646 h 1134"/>
                <a:gd name="T18" fmla="*/ 1050 w 1134"/>
                <a:gd name="T19" fmla="*/ 688 h 1134"/>
                <a:gd name="T20" fmla="*/ 1050 w 1134"/>
                <a:gd name="T21" fmla="*/ 710 h 1134"/>
                <a:gd name="T22" fmla="*/ 1032 w 1134"/>
                <a:gd name="T23" fmla="*/ 746 h 1134"/>
                <a:gd name="T24" fmla="*/ 986 w 1134"/>
                <a:gd name="T25" fmla="*/ 766 h 1134"/>
                <a:gd name="T26" fmla="*/ 954 w 1134"/>
                <a:gd name="T27" fmla="*/ 780 h 1134"/>
                <a:gd name="T28" fmla="*/ 928 w 1134"/>
                <a:gd name="T29" fmla="*/ 784 h 1134"/>
                <a:gd name="T30" fmla="*/ 918 w 1134"/>
                <a:gd name="T31" fmla="*/ 806 h 1134"/>
                <a:gd name="T32" fmla="*/ 892 w 1134"/>
                <a:gd name="T33" fmla="*/ 832 h 1134"/>
                <a:gd name="T34" fmla="*/ 924 w 1134"/>
                <a:gd name="T35" fmla="*/ 876 h 1134"/>
                <a:gd name="T36" fmla="*/ 946 w 1134"/>
                <a:gd name="T37" fmla="*/ 956 h 1134"/>
                <a:gd name="T38" fmla="*/ 964 w 1134"/>
                <a:gd name="T39" fmla="*/ 1042 h 1134"/>
                <a:gd name="T40" fmla="*/ 882 w 1134"/>
                <a:gd name="T41" fmla="*/ 992 h 1134"/>
                <a:gd name="T42" fmla="*/ 786 w 1134"/>
                <a:gd name="T43" fmla="*/ 970 h 1134"/>
                <a:gd name="T44" fmla="*/ 662 w 1134"/>
                <a:gd name="T45" fmla="*/ 1024 h 1134"/>
                <a:gd name="T46" fmla="*/ 540 w 1134"/>
                <a:gd name="T47" fmla="*/ 1088 h 1134"/>
                <a:gd name="T48" fmla="*/ 472 w 1134"/>
                <a:gd name="T49" fmla="*/ 1056 h 1134"/>
                <a:gd name="T50" fmla="*/ 376 w 1134"/>
                <a:gd name="T51" fmla="*/ 1048 h 1134"/>
                <a:gd name="T52" fmla="*/ 330 w 1134"/>
                <a:gd name="T53" fmla="*/ 1032 h 1134"/>
                <a:gd name="T54" fmla="*/ 274 w 1134"/>
                <a:gd name="T55" fmla="*/ 1134 h 1134"/>
                <a:gd name="T56" fmla="*/ 244 w 1134"/>
                <a:gd name="T57" fmla="*/ 1056 h 1134"/>
                <a:gd name="T58" fmla="*/ 164 w 1134"/>
                <a:gd name="T59" fmla="*/ 1036 h 1134"/>
                <a:gd name="T60" fmla="*/ 204 w 1134"/>
                <a:gd name="T61" fmla="*/ 980 h 1134"/>
                <a:gd name="T62" fmla="*/ 280 w 1134"/>
                <a:gd name="T63" fmla="*/ 970 h 1134"/>
                <a:gd name="T64" fmla="*/ 278 w 1134"/>
                <a:gd name="T65" fmla="*/ 920 h 1134"/>
                <a:gd name="T66" fmla="*/ 258 w 1134"/>
                <a:gd name="T67" fmla="*/ 822 h 1134"/>
                <a:gd name="T68" fmla="*/ 256 w 1134"/>
                <a:gd name="T69" fmla="*/ 718 h 1134"/>
                <a:gd name="T70" fmla="*/ 304 w 1134"/>
                <a:gd name="T71" fmla="*/ 676 h 1134"/>
                <a:gd name="T72" fmla="*/ 326 w 1134"/>
                <a:gd name="T73" fmla="*/ 634 h 1134"/>
                <a:gd name="T74" fmla="*/ 368 w 1134"/>
                <a:gd name="T75" fmla="*/ 626 h 1134"/>
                <a:gd name="T76" fmla="*/ 316 w 1134"/>
                <a:gd name="T77" fmla="*/ 512 h 1134"/>
                <a:gd name="T78" fmla="*/ 284 w 1134"/>
                <a:gd name="T79" fmla="*/ 406 h 1134"/>
                <a:gd name="T80" fmla="*/ 264 w 1134"/>
                <a:gd name="T81" fmla="*/ 314 h 1134"/>
                <a:gd name="T82" fmla="*/ 224 w 1134"/>
                <a:gd name="T83" fmla="*/ 314 h 1134"/>
                <a:gd name="T84" fmla="*/ 204 w 1134"/>
                <a:gd name="T85" fmla="*/ 266 h 1134"/>
                <a:gd name="T86" fmla="*/ 158 w 1134"/>
                <a:gd name="T87" fmla="*/ 270 h 1134"/>
                <a:gd name="T88" fmla="*/ 132 w 1134"/>
                <a:gd name="T89" fmla="*/ 262 h 1134"/>
                <a:gd name="T90" fmla="*/ 90 w 1134"/>
                <a:gd name="T91" fmla="*/ 266 h 1134"/>
                <a:gd name="T92" fmla="*/ 10 w 1134"/>
                <a:gd name="T93" fmla="*/ 308 h 1134"/>
                <a:gd name="T94" fmla="*/ 0 w 1134"/>
                <a:gd name="T95" fmla="*/ 180 h 1134"/>
                <a:gd name="T96" fmla="*/ 44 w 1134"/>
                <a:gd name="T97" fmla="*/ 126 h 1134"/>
                <a:gd name="T98" fmla="*/ 126 w 1134"/>
                <a:gd name="T99" fmla="*/ 120 h 1134"/>
                <a:gd name="T100" fmla="*/ 186 w 1134"/>
                <a:gd name="T101" fmla="*/ 28 h 1134"/>
                <a:gd name="T102" fmla="*/ 274 w 1134"/>
                <a:gd name="T103" fmla="*/ 6 h 1134"/>
                <a:gd name="T104" fmla="*/ 334 w 1134"/>
                <a:gd name="T105" fmla="*/ 44 h 1134"/>
                <a:gd name="T106" fmla="*/ 428 w 1134"/>
                <a:gd name="T107" fmla="*/ 102 h 1134"/>
                <a:gd name="T108" fmla="*/ 448 w 1134"/>
                <a:gd name="T109" fmla="*/ 66 h 1134"/>
                <a:gd name="T110" fmla="*/ 496 w 1134"/>
                <a:gd name="T111" fmla="*/ 96 h 1134"/>
                <a:gd name="T112" fmla="*/ 566 w 1134"/>
                <a:gd name="T113" fmla="*/ 40 h 1134"/>
                <a:gd name="T114" fmla="*/ 654 w 1134"/>
                <a:gd name="T115" fmla="*/ 32 h 1134"/>
                <a:gd name="T116" fmla="*/ 724 w 1134"/>
                <a:gd name="T117" fmla="*/ 66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134" h="1134">
                  <a:moveTo>
                    <a:pt x="724" y="66"/>
                  </a:moveTo>
                  <a:lnTo>
                    <a:pt x="724" y="80"/>
                  </a:lnTo>
                  <a:lnTo>
                    <a:pt x="712" y="78"/>
                  </a:lnTo>
                  <a:lnTo>
                    <a:pt x="712" y="90"/>
                  </a:lnTo>
                  <a:lnTo>
                    <a:pt x="738" y="114"/>
                  </a:lnTo>
                  <a:lnTo>
                    <a:pt x="726" y="130"/>
                  </a:lnTo>
                  <a:lnTo>
                    <a:pt x="754" y="142"/>
                  </a:lnTo>
                  <a:lnTo>
                    <a:pt x="810" y="188"/>
                  </a:lnTo>
                  <a:lnTo>
                    <a:pt x="806" y="200"/>
                  </a:lnTo>
                  <a:lnTo>
                    <a:pt x="824" y="208"/>
                  </a:lnTo>
                  <a:lnTo>
                    <a:pt x="818" y="238"/>
                  </a:lnTo>
                  <a:lnTo>
                    <a:pt x="800" y="234"/>
                  </a:lnTo>
                  <a:lnTo>
                    <a:pt x="798" y="246"/>
                  </a:lnTo>
                  <a:lnTo>
                    <a:pt x="810" y="252"/>
                  </a:lnTo>
                  <a:lnTo>
                    <a:pt x="804" y="266"/>
                  </a:lnTo>
                  <a:lnTo>
                    <a:pt x="792" y="264"/>
                  </a:lnTo>
                  <a:lnTo>
                    <a:pt x="790" y="278"/>
                  </a:lnTo>
                  <a:lnTo>
                    <a:pt x="826" y="302"/>
                  </a:lnTo>
                  <a:lnTo>
                    <a:pt x="834" y="346"/>
                  </a:lnTo>
                  <a:lnTo>
                    <a:pt x="850" y="348"/>
                  </a:lnTo>
                  <a:lnTo>
                    <a:pt x="858" y="382"/>
                  </a:lnTo>
                  <a:lnTo>
                    <a:pt x="876" y="386"/>
                  </a:lnTo>
                  <a:lnTo>
                    <a:pt x="896" y="420"/>
                  </a:lnTo>
                  <a:lnTo>
                    <a:pt x="946" y="446"/>
                  </a:lnTo>
                  <a:lnTo>
                    <a:pt x="978" y="484"/>
                  </a:lnTo>
                  <a:lnTo>
                    <a:pt x="1002" y="484"/>
                  </a:lnTo>
                  <a:lnTo>
                    <a:pt x="1030" y="502"/>
                  </a:lnTo>
                  <a:lnTo>
                    <a:pt x="1040" y="522"/>
                  </a:lnTo>
                  <a:lnTo>
                    <a:pt x="1052" y="530"/>
                  </a:lnTo>
                  <a:lnTo>
                    <a:pt x="1074" y="526"/>
                  </a:lnTo>
                  <a:lnTo>
                    <a:pt x="1086" y="536"/>
                  </a:lnTo>
                  <a:lnTo>
                    <a:pt x="1088" y="558"/>
                  </a:lnTo>
                  <a:lnTo>
                    <a:pt x="1110" y="568"/>
                  </a:lnTo>
                  <a:lnTo>
                    <a:pt x="1120" y="590"/>
                  </a:lnTo>
                  <a:lnTo>
                    <a:pt x="1112" y="600"/>
                  </a:lnTo>
                  <a:lnTo>
                    <a:pt x="1132" y="618"/>
                  </a:lnTo>
                  <a:lnTo>
                    <a:pt x="1134" y="650"/>
                  </a:lnTo>
                  <a:lnTo>
                    <a:pt x="1114" y="668"/>
                  </a:lnTo>
                  <a:lnTo>
                    <a:pt x="1114" y="668"/>
                  </a:lnTo>
                  <a:lnTo>
                    <a:pt x="1110" y="664"/>
                  </a:lnTo>
                  <a:lnTo>
                    <a:pt x="1098" y="654"/>
                  </a:lnTo>
                  <a:lnTo>
                    <a:pt x="1098" y="654"/>
                  </a:lnTo>
                  <a:lnTo>
                    <a:pt x="1088" y="650"/>
                  </a:lnTo>
                  <a:lnTo>
                    <a:pt x="1080" y="648"/>
                  </a:lnTo>
                  <a:lnTo>
                    <a:pt x="1074" y="646"/>
                  </a:lnTo>
                  <a:lnTo>
                    <a:pt x="1068" y="672"/>
                  </a:lnTo>
                  <a:lnTo>
                    <a:pt x="1048" y="670"/>
                  </a:lnTo>
                  <a:lnTo>
                    <a:pt x="1048" y="670"/>
                  </a:lnTo>
                  <a:lnTo>
                    <a:pt x="1050" y="682"/>
                  </a:lnTo>
                  <a:lnTo>
                    <a:pt x="1050" y="688"/>
                  </a:lnTo>
                  <a:lnTo>
                    <a:pt x="1048" y="694"/>
                  </a:lnTo>
                  <a:lnTo>
                    <a:pt x="1048" y="694"/>
                  </a:lnTo>
                  <a:lnTo>
                    <a:pt x="1046" y="696"/>
                  </a:lnTo>
                  <a:lnTo>
                    <a:pt x="1046" y="702"/>
                  </a:lnTo>
                  <a:lnTo>
                    <a:pt x="1050" y="710"/>
                  </a:lnTo>
                  <a:lnTo>
                    <a:pt x="1050" y="710"/>
                  </a:lnTo>
                  <a:lnTo>
                    <a:pt x="1050" y="716"/>
                  </a:lnTo>
                  <a:lnTo>
                    <a:pt x="1046" y="726"/>
                  </a:lnTo>
                  <a:lnTo>
                    <a:pt x="1040" y="736"/>
                  </a:lnTo>
                  <a:lnTo>
                    <a:pt x="1032" y="746"/>
                  </a:lnTo>
                  <a:lnTo>
                    <a:pt x="1032" y="746"/>
                  </a:lnTo>
                  <a:lnTo>
                    <a:pt x="1022" y="756"/>
                  </a:lnTo>
                  <a:lnTo>
                    <a:pt x="1008" y="762"/>
                  </a:lnTo>
                  <a:lnTo>
                    <a:pt x="996" y="766"/>
                  </a:lnTo>
                  <a:lnTo>
                    <a:pt x="986" y="766"/>
                  </a:lnTo>
                  <a:lnTo>
                    <a:pt x="986" y="766"/>
                  </a:lnTo>
                  <a:lnTo>
                    <a:pt x="976" y="768"/>
                  </a:lnTo>
                  <a:lnTo>
                    <a:pt x="968" y="772"/>
                  </a:lnTo>
                  <a:lnTo>
                    <a:pt x="954" y="780"/>
                  </a:lnTo>
                  <a:lnTo>
                    <a:pt x="954" y="780"/>
                  </a:lnTo>
                  <a:lnTo>
                    <a:pt x="950" y="782"/>
                  </a:lnTo>
                  <a:lnTo>
                    <a:pt x="946" y="784"/>
                  </a:lnTo>
                  <a:lnTo>
                    <a:pt x="930" y="784"/>
                  </a:lnTo>
                  <a:lnTo>
                    <a:pt x="930" y="784"/>
                  </a:lnTo>
                  <a:lnTo>
                    <a:pt x="928" y="784"/>
                  </a:lnTo>
                  <a:lnTo>
                    <a:pt x="924" y="786"/>
                  </a:lnTo>
                  <a:lnTo>
                    <a:pt x="922" y="792"/>
                  </a:lnTo>
                  <a:lnTo>
                    <a:pt x="920" y="804"/>
                  </a:lnTo>
                  <a:lnTo>
                    <a:pt x="920" y="804"/>
                  </a:lnTo>
                  <a:lnTo>
                    <a:pt x="918" y="806"/>
                  </a:lnTo>
                  <a:lnTo>
                    <a:pt x="914" y="810"/>
                  </a:lnTo>
                  <a:lnTo>
                    <a:pt x="896" y="820"/>
                  </a:lnTo>
                  <a:lnTo>
                    <a:pt x="896" y="820"/>
                  </a:lnTo>
                  <a:lnTo>
                    <a:pt x="892" y="826"/>
                  </a:lnTo>
                  <a:lnTo>
                    <a:pt x="892" y="832"/>
                  </a:lnTo>
                  <a:lnTo>
                    <a:pt x="894" y="838"/>
                  </a:lnTo>
                  <a:lnTo>
                    <a:pt x="900" y="846"/>
                  </a:lnTo>
                  <a:lnTo>
                    <a:pt x="912" y="862"/>
                  </a:lnTo>
                  <a:lnTo>
                    <a:pt x="924" y="876"/>
                  </a:lnTo>
                  <a:lnTo>
                    <a:pt x="924" y="876"/>
                  </a:lnTo>
                  <a:lnTo>
                    <a:pt x="936" y="892"/>
                  </a:lnTo>
                  <a:lnTo>
                    <a:pt x="942" y="906"/>
                  </a:lnTo>
                  <a:lnTo>
                    <a:pt x="946" y="922"/>
                  </a:lnTo>
                  <a:lnTo>
                    <a:pt x="938" y="934"/>
                  </a:lnTo>
                  <a:lnTo>
                    <a:pt x="946" y="956"/>
                  </a:lnTo>
                  <a:lnTo>
                    <a:pt x="938" y="968"/>
                  </a:lnTo>
                  <a:lnTo>
                    <a:pt x="948" y="980"/>
                  </a:lnTo>
                  <a:lnTo>
                    <a:pt x="966" y="976"/>
                  </a:lnTo>
                  <a:lnTo>
                    <a:pt x="982" y="1004"/>
                  </a:lnTo>
                  <a:lnTo>
                    <a:pt x="964" y="1042"/>
                  </a:lnTo>
                  <a:lnTo>
                    <a:pt x="972" y="1058"/>
                  </a:lnTo>
                  <a:lnTo>
                    <a:pt x="954" y="1066"/>
                  </a:lnTo>
                  <a:lnTo>
                    <a:pt x="900" y="1036"/>
                  </a:lnTo>
                  <a:lnTo>
                    <a:pt x="912" y="1010"/>
                  </a:lnTo>
                  <a:lnTo>
                    <a:pt x="882" y="992"/>
                  </a:lnTo>
                  <a:lnTo>
                    <a:pt x="856" y="998"/>
                  </a:lnTo>
                  <a:lnTo>
                    <a:pt x="834" y="998"/>
                  </a:lnTo>
                  <a:lnTo>
                    <a:pt x="828" y="988"/>
                  </a:lnTo>
                  <a:lnTo>
                    <a:pt x="796" y="982"/>
                  </a:lnTo>
                  <a:lnTo>
                    <a:pt x="786" y="970"/>
                  </a:lnTo>
                  <a:lnTo>
                    <a:pt x="756" y="984"/>
                  </a:lnTo>
                  <a:lnTo>
                    <a:pt x="760" y="1018"/>
                  </a:lnTo>
                  <a:lnTo>
                    <a:pt x="748" y="1030"/>
                  </a:lnTo>
                  <a:lnTo>
                    <a:pt x="740" y="1012"/>
                  </a:lnTo>
                  <a:lnTo>
                    <a:pt x="662" y="1024"/>
                  </a:lnTo>
                  <a:lnTo>
                    <a:pt x="638" y="1014"/>
                  </a:lnTo>
                  <a:lnTo>
                    <a:pt x="632" y="1042"/>
                  </a:lnTo>
                  <a:lnTo>
                    <a:pt x="598" y="1046"/>
                  </a:lnTo>
                  <a:lnTo>
                    <a:pt x="592" y="1068"/>
                  </a:lnTo>
                  <a:lnTo>
                    <a:pt x="540" y="1088"/>
                  </a:lnTo>
                  <a:lnTo>
                    <a:pt x="528" y="1076"/>
                  </a:lnTo>
                  <a:lnTo>
                    <a:pt x="498" y="1078"/>
                  </a:lnTo>
                  <a:lnTo>
                    <a:pt x="490" y="1084"/>
                  </a:lnTo>
                  <a:lnTo>
                    <a:pt x="476" y="1076"/>
                  </a:lnTo>
                  <a:lnTo>
                    <a:pt x="472" y="1056"/>
                  </a:lnTo>
                  <a:lnTo>
                    <a:pt x="480" y="1050"/>
                  </a:lnTo>
                  <a:lnTo>
                    <a:pt x="484" y="1030"/>
                  </a:lnTo>
                  <a:lnTo>
                    <a:pt x="428" y="1046"/>
                  </a:lnTo>
                  <a:lnTo>
                    <a:pt x="382" y="1024"/>
                  </a:lnTo>
                  <a:lnTo>
                    <a:pt x="376" y="1048"/>
                  </a:lnTo>
                  <a:lnTo>
                    <a:pt x="360" y="1048"/>
                  </a:lnTo>
                  <a:lnTo>
                    <a:pt x="358" y="1034"/>
                  </a:lnTo>
                  <a:lnTo>
                    <a:pt x="368" y="1016"/>
                  </a:lnTo>
                  <a:lnTo>
                    <a:pt x="356" y="1004"/>
                  </a:lnTo>
                  <a:lnTo>
                    <a:pt x="330" y="1032"/>
                  </a:lnTo>
                  <a:lnTo>
                    <a:pt x="330" y="1054"/>
                  </a:lnTo>
                  <a:lnTo>
                    <a:pt x="340" y="1054"/>
                  </a:lnTo>
                  <a:lnTo>
                    <a:pt x="340" y="1102"/>
                  </a:lnTo>
                  <a:lnTo>
                    <a:pt x="292" y="1134"/>
                  </a:lnTo>
                  <a:lnTo>
                    <a:pt x="274" y="1134"/>
                  </a:lnTo>
                  <a:lnTo>
                    <a:pt x="276" y="1108"/>
                  </a:lnTo>
                  <a:lnTo>
                    <a:pt x="258" y="1106"/>
                  </a:lnTo>
                  <a:lnTo>
                    <a:pt x="254" y="1090"/>
                  </a:lnTo>
                  <a:lnTo>
                    <a:pt x="266" y="1078"/>
                  </a:lnTo>
                  <a:lnTo>
                    <a:pt x="244" y="1056"/>
                  </a:lnTo>
                  <a:lnTo>
                    <a:pt x="238" y="1034"/>
                  </a:lnTo>
                  <a:lnTo>
                    <a:pt x="214" y="1034"/>
                  </a:lnTo>
                  <a:lnTo>
                    <a:pt x="204" y="1006"/>
                  </a:lnTo>
                  <a:lnTo>
                    <a:pt x="164" y="1036"/>
                  </a:lnTo>
                  <a:lnTo>
                    <a:pt x="164" y="1036"/>
                  </a:lnTo>
                  <a:lnTo>
                    <a:pt x="142" y="1020"/>
                  </a:lnTo>
                  <a:lnTo>
                    <a:pt x="160" y="1000"/>
                  </a:lnTo>
                  <a:lnTo>
                    <a:pt x="172" y="1004"/>
                  </a:lnTo>
                  <a:lnTo>
                    <a:pt x="198" y="992"/>
                  </a:lnTo>
                  <a:lnTo>
                    <a:pt x="204" y="980"/>
                  </a:lnTo>
                  <a:lnTo>
                    <a:pt x="226" y="988"/>
                  </a:lnTo>
                  <a:lnTo>
                    <a:pt x="236" y="976"/>
                  </a:lnTo>
                  <a:lnTo>
                    <a:pt x="252" y="976"/>
                  </a:lnTo>
                  <a:lnTo>
                    <a:pt x="262" y="994"/>
                  </a:lnTo>
                  <a:lnTo>
                    <a:pt x="280" y="970"/>
                  </a:lnTo>
                  <a:lnTo>
                    <a:pt x="276" y="956"/>
                  </a:lnTo>
                  <a:lnTo>
                    <a:pt x="266" y="952"/>
                  </a:lnTo>
                  <a:lnTo>
                    <a:pt x="266" y="940"/>
                  </a:lnTo>
                  <a:lnTo>
                    <a:pt x="278" y="930"/>
                  </a:lnTo>
                  <a:lnTo>
                    <a:pt x="278" y="920"/>
                  </a:lnTo>
                  <a:lnTo>
                    <a:pt x="268" y="914"/>
                  </a:lnTo>
                  <a:lnTo>
                    <a:pt x="268" y="896"/>
                  </a:lnTo>
                  <a:lnTo>
                    <a:pt x="278" y="878"/>
                  </a:lnTo>
                  <a:lnTo>
                    <a:pt x="270" y="832"/>
                  </a:lnTo>
                  <a:lnTo>
                    <a:pt x="258" y="822"/>
                  </a:lnTo>
                  <a:lnTo>
                    <a:pt x="260" y="784"/>
                  </a:lnTo>
                  <a:lnTo>
                    <a:pt x="246" y="756"/>
                  </a:lnTo>
                  <a:lnTo>
                    <a:pt x="238" y="756"/>
                  </a:lnTo>
                  <a:lnTo>
                    <a:pt x="228" y="734"/>
                  </a:lnTo>
                  <a:lnTo>
                    <a:pt x="256" y="718"/>
                  </a:lnTo>
                  <a:lnTo>
                    <a:pt x="258" y="704"/>
                  </a:lnTo>
                  <a:lnTo>
                    <a:pt x="276" y="692"/>
                  </a:lnTo>
                  <a:lnTo>
                    <a:pt x="282" y="698"/>
                  </a:lnTo>
                  <a:lnTo>
                    <a:pt x="308" y="686"/>
                  </a:lnTo>
                  <a:lnTo>
                    <a:pt x="304" y="676"/>
                  </a:lnTo>
                  <a:lnTo>
                    <a:pt x="314" y="674"/>
                  </a:lnTo>
                  <a:lnTo>
                    <a:pt x="298" y="632"/>
                  </a:lnTo>
                  <a:lnTo>
                    <a:pt x="306" y="622"/>
                  </a:lnTo>
                  <a:lnTo>
                    <a:pt x="324" y="626"/>
                  </a:lnTo>
                  <a:lnTo>
                    <a:pt x="326" y="634"/>
                  </a:lnTo>
                  <a:lnTo>
                    <a:pt x="336" y="636"/>
                  </a:lnTo>
                  <a:lnTo>
                    <a:pt x="338" y="626"/>
                  </a:lnTo>
                  <a:lnTo>
                    <a:pt x="348" y="624"/>
                  </a:lnTo>
                  <a:lnTo>
                    <a:pt x="354" y="636"/>
                  </a:lnTo>
                  <a:lnTo>
                    <a:pt x="368" y="626"/>
                  </a:lnTo>
                  <a:lnTo>
                    <a:pt x="366" y="606"/>
                  </a:lnTo>
                  <a:lnTo>
                    <a:pt x="350" y="594"/>
                  </a:lnTo>
                  <a:lnTo>
                    <a:pt x="352" y="572"/>
                  </a:lnTo>
                  <a:lnTo>
                    <a:pt x="350" y="532"/>
                  </a:lnTo>
                  <a:lnTo>
                    <a:pt x="316" y="512"/>
                  </a:lnTo>
                  <a:lnTo>
                    <a:pt x="304" y="478"/>
                  </a:lnTo>
                  <a:lnTo>
                    <a:pt x="306" y="466"/>
                  </a:lnTo>
                  <a:lnTo>
                    <a:pt x="282" y="446"/>
                  </a:lnTo>
                  <a:lnTo>
                    <a:pt x="278" y="420"/>
                  </a:lnTo>
                  <a:lnTo>
                    <a:pt x="284" y="406"/>
                  </a:lnTo>
                  <a:lnTo>
                    <a:pt x="274" y="386"/>
                  </a:lnTo>
                  <a:lnTo>
                    <a:pt x="284" y="376"/>
                  </a:lnTo>
                  <a:lnTo>
                    <a:pt x="276" y="354"/>
                  </a:lnTo>
                  <a:lnTo>
                    <a:pt x="276" y="324"/>
                  </a:lnTo>
                  <a:lnTo>
                    <a:pt x="264" y="314"/>
                  </a:lnTo>
                  <a:lnTo>
                    <a:pt x="248" y="324"/>
                  </a:lnTo>
                  <a:lnTo>
                    <a:pt x="248" y="334"/>
                  </a:lnTo>
                  <a:lnTo>
                    <a:pt x="234" y="340"/>
                  </a:lnTo>
                  <a:lnTo>
                    <a:pt x="224" y="334"/>
                  </a:lnTo>
                  <a:lnTo>
                    <a:pt x="224" y="314"/>
                  </a:lnTo>
                  <a:lnTo>
                    <a:pt x="218" y="310"/>
                  </a:lnTo>
                  <a:lnTo>
                    <a:pt x="206" y="318"/>
                  </a:lnTo>
                  <a:lnTo>
                    <a:pt x="200" y="314"/>
                  </a:lnTo>
                  <a:lnTo>
                    <a:pt x="208" y="292"/>
                  </a:lnTo>
                  <a:lnTo>
                    <a:pt x="204" y="266"/>
                  </a:lnTo>
                  <a:lnTo>
                    <a:pt x="190" y="266"/>
                  </a:lnTo>
                  <a:lnTo>
                    <a:pt x="188" y="278"/>
                  </a:lnTo>
                  <a:lnTo>
                    <a:pt x="178" y="278"/>
                  </a:lnTo>
                  <a:lnTo>
                    <a:pt x="174" y="268"/>
                  </a:lnTo>
                  <a:lnTo>
                    <a:pt x="158" y="270"/>
                  </a:lnTo>
                  <a:lnTo>
                    <a:pt x="158" y="278"/>
                  </a:lnTo>
                  <a:lnTo>
                    <a:pt x="148" y="278"/>
                  </a:lnTo>
                  <a:lnTo>
                    <a:pt x="148" y="246"/>
                  </a:lnTo>
                  <a:lnTo>
                    <a:pt x="140" y="246"/>
                  </a:lnTo>
                  <a:lnTo>
                    <a:pt x="132" y="262"/>
                  </a:lnTo>
                  <a:lnTo>
                    <a:pt x="120" y="264"/>
                  </a:lnTo>
                  <a:lnTo>
                    <a:pt x="112" y="254"/>
                  </a:lnTo>
                  <a:lnTo>
                    <a:pt x="86" y="252"/>
                  </a:lnTo>
                  <a:lnTo>
                    <a:pt x="82" y="264"/>
                  </a:lnTo>
                  <a:lnTo>
                    <a:pt x="90" y="266"/>
                  </a:lnTo>
                  <a:lnTo>
                    <a:pt x="92" y="292"/>
                  </a:lnTo>
                  <a:lnTo>
                    <a:pt x="72" y="294"/>
                  </a:lnTo>
                  <a:lnTo>
                    <a:pt x="62" y="314"/>
                  </a:lnTo>
                  <a:lnTo>
                    <a:pt x="38" y="320"/>
                  </a:lnTo>
                  <a:lnTo>
                    <a:pt x="10" y="308"/>
                  </a:lnTo>
                  <a:lnTo>
                    <a:pt x="12" y="268"/>
                  </a:lnTo>
                  <a:lnTo>
                    <a:pt x="18" y="258"/>
                  </a:lnTo>
                  <a:lnTo>
                    <a:pt x="18" y="242"/>
                  </a:lnTo>
                  <a:lnTo>
                    <a:pt x="0" y="216"/>
                  </a:lnTo>
                  <a:lnTo>
                    <a:pt x="0" y="180"/>
                  </a:lnTo>
                  <a:lnTo>
                    <a:pt x="18" y="166"/>
                  </a:lnTo>
                  <a:lnTo>
                    <a:pt x="6" y="144"/>
                  </a:lnTo>
                  <a:lnTo>
                    <a:pt x="10" y="130"/>
                  </a:lnTo>
                  <a:lnTo>
                    <a:pt x="34" y="116"/>
                  </a:lnTo>
                  <a:lnTo>
                    <a:pt x="44" y="126"/>
                  </a:lnTo>
                  <a:lnTo>
                    <a:pt x="50" y="126"/>
                  </a:lnTo>
                  <a:lnTo>
                    <a:pt x="60" y="114"/>
                  </a:lnTo>
                  <a:lnTo>
                    <a:pt x="98" y="112"/>
                  </a:lnTo>
                  <a:lnTo>
                    <a:pt x="104" y="126"/>
                  </a:lnTo>
                  <a:lnTo>
                    <a:pt x="126" y="120"/>
                  </a:lnTo>
                  <a:lnTo>
                    <a:pt x="126" y="82"/>
                  </a:lnTo>
                  <a:lnTo>
                    <a:pt x="132" y="76"/>
                  </a:lnTo>
                  <a:lnTo>
                    <a:pt x="146" y="82"/>
                  </a:lnTo>
                  <a:lnTo>
                    <a:pt x="190" y="50"/>
                  </a:lnTo>
                  <a:lnTo>
                    <a:pt x="186" y="28"/>
                  </a:lnTo>
                  <a:lnTo>
                    <a:pt x="202" y="24"/>
                  </a:lnTo>
                  <a:lnTo>
                    <a:pt x="212" y="34"/>
                  </a:lnTo>
                  <a:lnTo>
                    <a:pt x="240" y="26"/>
                  </a:lnTo>
                  <a:lnTo>
                    <a:pt x="262" y="2"/>
                  </a:lnTo>
                  <a:lnTo>
                    <a:pt x="274" y="6"/>
                  </a:lnTo>
                  <a:lnTo>
                    <a:pt x="290" y="0"/>
                  </a:lnTo>
                  <a:lnTo>
                    <a:pt x="300" y="8"/>
                  </a:lnTo>
                  <a:lnTo>
                    <a:pt x="300" y="22"/>
                  </a:lnTo>
                  <a:lnTo>
                    <a:pt x="318" y="18"/>
                  </a:lnTo>
                  <a:lnTo>
                    <a:pt x="334" y="44"/>
                  </a:lnTo>
                  <a:lnTo>
                    <a:pt x="386" y="70"/>
                  </a:lnTo>
                  <a:lnTo>
                    <a:pt x="382" y="94"/>
                  </a:lnTo>
                  <a:lnTo>
                    <a:pt x="406" y="116"/>
                  </a:lnTo>
                  <a:lnTo>
                    <a:pt x="426" y="118"/>
                  </a:lnTo>
                  <a:lnTo>
                    <a:pt x="428" y="102"/>
                  </a:lnTo>
                  <a:lnTo>
                    <a:pt x="442" y="102"/>
                  </a:lnTo>
                  <a:lnTo>
                    <a:pt x="446" y="88"/>
                  </a:lnTo>
                  <a:lnTo>
                    <a:pt x="426" y="82"/>
                  </a:lnTo>
                  <a:lnTo>
                    <a:pt x="432" y="66"/>
                  </a:lnTo>
                  <a:lnTo>
                    <a:pt x="448" y="66"/>
                  </a:lnTo>
                  <a:lnTo>
                    <a:pt x="466" y="50"/>
                  </a:lnTo>
                  <a:lnTo>
                    <a:pt x="470" y="52"/>
                  </a:lnTo>
                  <a:lnTo>
                    <a:pt x="470" y="68"/>
                  </a:lnTo>
                  <a:lnTo>
                    <a:pt x="486" y="66"/>
                  </a:lnTo>
                  <a:lnTo>
                    <a:pt x="496" y="96"/>
                  </a:lnTo>
                  <a:lnTo>
                    <a:pt x="542" y="84"/>
                  </a:lnTo>
                  <a:lnTo>
                    <a:pt x="524" y="14"/>
                  </a:lnTo>
                  <a:lnTo>
                    <a:pt x="542" y="8"/>
                  </a:lnTo>
                  <a:lnTo>
                    <a:pt x="558" y="14"/>
                  </a:lnTo>
                  <a:lnTo>
                    <a:pt x="566" y="40"/>
                  </a:lnTo>
                  <a:lnTo>
                    <a:pt x="592" y="48"/>
                  </a:lnTo>
                  <a:lnTo>
                    <a:pt x="624" y="30"/>
                  </a:lnTo>
                  <a:lnTo>
                    <a:pt x="634" y="34"/>
                  </a:lnTo>
                  <a:lnTo>
                    <a:pt x="646" y="26"/>
                  </a:lnTo>
                  <a:lnTo>
                    <a:pt x="654" y="32"/>
                  </a:lnTo>
                  <a:lnTo>
                    <a:pt x="652" y="36"/>
                  </a:lnTo>
                  <a:lnTo>
                    <a:pt x="678" y="36"/>
                  </a:lnTo>
                  <a:lnTo>
                    <a:pt x="690" y="28"/>
                  </a:lnTo>
                  <a:lnTo>
                    <a:pt x="708" y="60"/>
                  </a:lnTo>
                  <a:lnTo>
                    <a:pt x="724" y="66"/>
                  </a:lnTo>
                  <a:lnTo>
                    <a:pt x="724" y="6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4126"/>
              <a:endParaRPr lang="de-DE" sz="1799" dirty="0">
                <a:solidFill>
                  <a:srgbClr val="3B3B3B"/>
                </a:solidFill>
                <a:latin typeface="EnBW DIN Pro"/>
              </a:endParaRPr>
            </a:p>
          </p:txBody>
        </p:sp>
        <p:sp>
          <p:nvSpPr>
            <p:cNvPr id="38" name="Freeform 33">
              <a:extLst>
                <a:ext uri="{FF2B5EF4-FFF2-40B4-BE49-F238E27FC236}">
                  <a16:creationId xmlns:a16="http://schemas.microsoft.com/office/drawing/2014/main" id="{03F7F9F6-F0B9-4697-B4EC-74B464E54D65}"/>
                </a:ext>
              </a:extLst>
            </p:cNvPr>
            <p:cNvSpPr>
              <a:spLocks/>
            </p:cNvSpPr>
            <p:nvPr/>
          </p:nvSpPr>
          <p:spPr bwMode="gray">
            <a:xfrm>
              <a:off x="2304" y="2949"/>
              <a:ext cx="726" cy="788"/>
            </a:xfrm>
            <a:custGeom>
              <a:avLst/>
              <a:gdLst>
                <a:gd name="T0" fmla="*/ 476 w 726"/>
                <a:gd name="T1" fmla="*/ 756 h 788"/>
                <a:gd name="T2" fmla="*/ 440 w 726"/>
                <a:gd name="T3" fmla="*/ 748 h 788"/>
                <a:gd name="T4" fmla="*/ 420 w 726"/>
                <a:gd name="T5" fmla="*/ 730 h 788"/>
                <a:gd name="T6" fmla="*/ 402 w 726"/>
                <a:gd name="T7" fmla="*/ 712 h 788"/>
                <a:gd name="T8" fmla="*/ 372 w 726"/>
                <a:gd name="T9" fmla="*/ 696 h 788"/>
                <a:gd name="T10" fmla="*/ 368 w 726"/>
                <a:gd name="T11" fmla="*/ 704 h 788"/>
                <a:gd name="T12" fmla="*/ 402 w 726"/>
                <a:gd name="T13" fmla="*/ 736 h 788"/>
                <a:gd name="T14" fmla="*/ 394 w 726"/>
                <a:gd name="T15" fmla="*/ 744 h 788"/>
                <a:gd name="T16" fmla="*/ 346 w 726"/>
                <a:gd name="T17" fmla="*/ 720 h 788"/>
                <a:gd name="T18" fmla="*/ 346 w 726"/>
                <a:gd name="T19" fmla="*/ 728 h 788"/>
                <a:gd name="T20" fmla="*/ 346 w 726"/>
                <a:gd name="T21" fmla="*/ 740 h 788"/>
                <a:gd name="T22" fmla="*/ 302 w 726"/>
                <a:gd name="T23" fmla="*/ 740 h 788"/>
                <a:gd name="T24" fmla="*/ 218 w 726"/>
                <a:gd name="T25" fmla="*/ 722 h 788"/>
                <a:gd name="T26" fmla="*/ 238 w 726"/>
                <a:gd name="T27" fmla="*/ 774 h 788"/>
                <a:gd name="T28" fmla="*/ 204 w 726"/>
                <a:gd name="T29" fmla="*/ 778 h 788"/>
                <a:gd name="T30" fmla="*/ 156 w 726"/>
                <a:gd name="T31" fmla="*/ 762 h 788"/>
                <a:gd name="T32" fmla="*/ 110 w 726"/>
                <a:gd name="T33" fmla="*/ 780 h 788"/>
                <a:gd name="T34" fmla="*/ 76 w 726"/>
                <a:gd name="T35" fmla="*/ 774 h 788"/>
                <a:gd name="T36" fmla="*/ 40 w 726"/>
                <a:gd name="T37" fmla="*/ 782 h 788"/>
                <a:gd name="T38" fmla="*/ 8 w 726"/>
                <a:gd name="T39" fmla="*/ 748 h 788"/>
                <a:gd name="T40" fmla="*/ 4 w 726"/>
                <a:gd name="T41" fmla="*/ 708 h 788"/>
                <a:gd name="T42" fmla="*/ 6 w 726"/>
                <a:gd name="T43" fmla="*/ 670 h 788"/>
                <a:gd name="T44" fmla="*/ 22 w 726"/>
                <a:gd name="T45" fmla="*/ 618 h 788"/>
                <a:gd name="T46" fmla="*/ 22 w 726"/>
                <a:gd name="T47" fmla="*/ 584 h 788"/>
                <a:gd name="T48" fmla="*/ 56 w 726"/>
                <a:gd name="T49" fmla="*/ 512 h 788"/>
                <a:gd name="T50" fmla="*/ 60 w 726"/>
                <a:gd name="T51" fmla="*/ 482 h 788"/>
                <a:gd name="T52" fmla="*/ 80 w 726"/>
                <a:gd name="T53" fmla="*/ 426 h 788"/>
                <a:gd name="T54" fmla="*/ 96 w 726"/>
                <a:gd name="T55" fmla="*/ 400 h 788"/>
                <a:gd name="T56" fmla="*/ 116 w 726"/>
                <a:gd name="T57" fmla="*/ 370 h 788"/>
                <a:gd name="T58" fmla="*/ 144 w 726"/>
                <a:gd name="T59" fmla="*/ 346 h 788"/>
                <a:gd name="T60" fmla="*/ 156 w 726"/>
                <a:gd name="T61" fmla="*/ 318 h 788"/>
                <a:gd name="T62" fmla="*/ 208 w 726"/>
                <a:gd name="T63" fmla="*/ 250 h 788"/>
                <a:gd name="T64" fmla="*/ 220 w 726"/>
                <a:gd name="T65" fmla="*/ 218 h 788"/>
                <a:gd name="T66" fmla="*/ 242 w 726"/>
                <a:gd name="T67" fmla="*/ 180 h 788"/>
                <a:gd name="T68" fmla="*/ 246 w 726"/>
                <a:gd name="T69" fmla="*/ 144 h 788"/>
                <a:gd name="T70" fmla="*/ 234 w 726"/>
                <a:gd name="T71" fmla="*/ 118 h 788"/>
                <a:gd name="T72" fmla="*/ 270 w 726"/>
                <a:gd name="T73" fmla="*/ 82 h 788"/>
                <a:gd name="T74" fmla="*/ 302 w 726"/>
                <a:gd name="T75" fmla="*/ 68 h 788"/>
                <a:gd name="T76" fmla="*/ 320 w 726"/>
                <a:gd name="T77" fmla="*/ 130 h 788"/>
                <a:gd name="T78" fmla="*/ 358 w 726"/>
                <a:gd name="T79" fmla="*/ 80 h 788"/>
                <a:gd name="T80" fmla="*/ 420 w 726"/>
                <a:gd name="T81" fmla="*/ 68 h 788"/>
                <a:gd name="T82" fmla="*/ 444 w 726"/>
                <a:gd name="T83" fmla="*/ 6 h 788"/>
                <a:gd name="T84" fmla="*/ 506 w 726"/>
                <a:gd name="T85" fmla="*/ 0 h 788"/>
                <a:gd name="T86" fmla="*/ 536 w 726"/>
                <a:gd name="T87" fmla="*/ 32 h 788"/>
                <a:gd name="T88" fmla="*/ 558 w 726"/>
                <a:gd name="T89" fmla="*/ 68 h 788"/>
                <a:gd name="T90" fmla="*/ 592 w 726"/>
                <a:gd name="T91" fmla="*/ 94 h 788"/>
                <a:gd name="T92" fmla="*/ 634 w 726"/>
                <a:gd name="T93" fmla="*/ 108 h 788"/>
                <a:gd name="T94" fmla="*/ 640 w 726"/>
                <a:gd name="T95" fmla="*/ 200 h 788"/>
                <a:gd name="T96" fmla="*/ 710 w 726"/>
                <a:gd name="T97" fmla="*/ 326 h 788"/>
                <a:gd name="T98" fmla="*/ 706 w 726"/>
                <a:gd name="T99" fmla="*/ 378 h 788"/>
                <a:gd name="T100" fmla="*/ 664 w 726"/>
                <a:gd name="T101" fmla="*/ 376 h 788"/>
                <a:gd name="T102" fmla="*/ 640 w 726"/>
                <a:gd name="T103" fmla="*/ 452 h 788"/>
                <a:gd name="T104" fmla="*/ 596 w 726"/>
                <a:gd name="T105" fmla="*/ 510 h 788"/>
                <a:gd name="T106" fmla="*/ 636 w 726"/>
                <a:gd name="T107" fmla="*/ 632 h 788"/>
                <a:gd name="T108" fmla="*/ 624 w 726"/>
                <a:gd name="T109" fmla="*/ 694 h 788"/>
                <a:gd name="T110" fmla="*/ 610 w 726"/>
                <a:gd name="T111" fmla="*/ 730 h 788"/>
                <a:gd name="T112" fmla="*/ 530 w 726"/>
                <a:gd name="T113" fmla="*/ 758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26" h="788">
                  <a:moveTo>
                    <a:pt x="498" y="774"/>
                  </a:moveTo>
                  <a:lnTo>
                    <a:pt x="498" y="774"/>
                  </a:lnTo>
                  <a:lnTo>
                    <a:pt x="486" y="762"/>
                  </a:lnTo>
                  <a:lnTo>
                    <a:pt x="486" y="762"/>
                  </a:lnTo>
                  <a:lnTo>
                    <a:pt x="476" y="756"/>
                  </a:lnTo>
                  <a:lnTo>
                    <a:pt x="464" y="752"/>
                  </a:lnTo>
                  <a:lnTo>
                    <a:pt x="454" y="750"/>
                  </a:lnTo>
                  <a:lnTo>
                    <a:pt x="444" y="750"/>
                  </a:lnTo>
                  <a:lnTo>
                    <a:pt x="444" y="750"/>
                  </a:lnTo>
                  <a:lnTo>
                    <a:pt x="440" y="748"/>
                  </a:lnTo>
                  <a:lnTo>
                    <a:pt x="436" y="748"/>
                  </a:lnTo>
                  <a:lnTo>
                    <a:pt x="430" y="742"/>
                  </a:lnTo>
                  <a:lnTo>
                    <a:pt x="424" y="736"/>
                  </a:lnTo>
                  <a:lnTo>
                    <a:pt x="420" y="730"/>
                  </a:lnTo>
                  <a:lnTo>
                    <a:pt x="420" y="730"/>
                  </a:lnTo>
                  <a:lnTo>
                    <a:pt x="414" y="724"/>
                  </a:lnTo>
                  <a:lnTo>
                    <a:pt x="410" y="718"/>
                  </a:lnTo>
                  <a:lnTo>
                    <a:pt x="406" y="714"/>
                  </a:lnTo>
                  <a:lnTo>
                    <a:pt x="402" y="712"/>
                  </a:lnTo>
                  <a:lnTo>
                    <a:pt x="402" y="712"/>
                  </a:lnTo>
                  <a:lnTo>
                    <a:pt x="396" y="710"/>
                  </a:lnTo>
                  <a:lnTo>
                    <a:pt x="390" y="708"/>
                  </a:lnTo>
                  <a:lnTo>
                    <a:pt x="382" y="702"/>
                  </a:lnTo>
                  <a:lnTo>
                    <a:pt x="382" y="702"/>
                  </a:lnTo>
                  <a:lnTo>
                    <a:pt x="372" y="696"/>
                  </a:lnTo>
                  <a:lnTo>
                    <a:pt x="368" y="696"/>
                  </a:lnTo>
                  <a:lnTo>
                    <a:pt x="366" y="698"/>
                  </a:lnTo>
                  <a:lnTo>
                    <a:pt x="366" y="698"/>
                  </a:lnTo>
                  <a:lnTo>
                    <a:pt x="366" y="702"/>
                  </a:lnTo>
                  <a:lnTo>
                    <a:pt x="368" y="704"/>
                  </a:lnTo>
                  <a:lnTo>
                    <a:pt x="376" y="712"/>
                  </a:lnTo>
                  <a:lnTo>
                    <a:pt x="396" y="724"/>
                  </a:lnTo>
                  <a:lnTo>
                    <a:pt x="396" y="724"/>
                  </a:lnTo>
                  <a:lnTo>
                    <a:pt x="400" y="730"/>
                  </a:lnTo>
                  <a:lnTo>
                    <a:pt x="402" y="736"/>
                  </a:lnTo>
                  <a:lnTo>
                    <a:pt x="402" y="740"/>
                  </a:lnTo>
                  <a:lnTo>
                    <a:pt x="400" y="744"/>
                  </a:lnTo>
                  <a:lnTo>
                    <a:pt x="400" y="744"/>
                  </a:lnTo>
                  <a:lnTo>
                    <a:pt x="398" y="744"/>
                  </a:lnTo>
                  <a:lnTo>
                    <a:pt x="394" y="744"/>
                  </a:lnTo>
                  <a:lnTo>
                    <a:pt x="386" y="740"/>
                  </a:lnTo>
                  <a:lnTo>
                    <a:pt x="368" y="728"/>
                  </a:lnTo>
                  <a:lnTo>
                    <a:pt x="368" y="728"/>
                  </a:lnTo>
                  <a:lnTo>
                    <a:pt x="352" y="720"/>
                  </a:lnTo>
                  <a:lnTo>
                    <a:pt x="346" y="720"/>
                  </a:lnTo>
                  <a:lnTo>
                    <a:pt x="344" y="720"/>
                  </a:lnTo>
                  <a:lnTo>
                    <a:pt x="344" y="722"/>
                  </a:lnTo>
                  <a:lnTo>
                    <a:pt x="344" y="722"/>
                  </a:lnTo>
                  <a:lnTo>
                    <a:pt x="344" y="726"/>
                  </a:lnTo>
                  <a:lnTo>
                    <a:pt x="346" y="728"/>
                  </a:lnTo>
                  <a:lnTo>
                    <a:pt x="348" y="732"/>
                  </a:lnTo>
                  <a:lnTo>
                    <a:pt x="350" y="736"/>
                  </a:lnTo>
                  <a:lnTo>
                    <a:pt x="350" y="736"/>
                  </a:lnTo>
                  <a:lnTo>
                    <a:pt x="348" y="740"/>
                  </a:lnTo>
                  <a:lnTo>
                    <a:pt x="346" y="740"/>
                  </a:lnTo>
                  <a:lnTo>
                    <a:pt x="336" y="742"/>
                  </a:lnTo>
                  <a:lnTo>
                    <a:pt x="328" y="726"/>
                  </a:lnTo>
                  <a:lnTo>
                    <a:pt x="318" y="726"/>
                  </a:lnTo>
                  <a:lnTo>
                    <a:pt x="314" y="740"/>
                  </a:lnTo>
                  <a:lnTo>
                    <a:pt x="302" y="740"/>
                  </a:lnTo>
                  <a:lnTo>
                    <a:pt x="292" y="722"/>
                  </a:lnTo>
                  <a:lnTo>
                    <a:pt x="290" y="700"/>
                  </a:lnTo>
                  <a:lnTo>
                    <a:pt x="252" y="702"/>
                  </a:lnTo>
                  <a:lnTo>
                    <a:pt x="246" y="716"/>
                  </a:lnTo>
                  <a:lnTo>
                    <a:pt x="218" y="722"/>
                  </a:lnTo>
                  <a:lnTo>
                    <a:pt x="230" y="746"/>
                  </a:lnTo>
                  <a:lnTo>
                    <a:pt x="250" y="744"/>
                  </a:lnTo>
                  <a:lnTo>
                    <a:pt x="252" y="754"/>
                  </a:lnTo>
                  <a:lnTo>
                    <a:pt x="232" y="764"/>
                  </a:lnTo>
                  <a:lnTo>
                    <a:pt x="238" y="774"/>
                  </a:lnTo>
                  <a:lnTo>
                    <a:pt x="226" y="782"/>
                  </a:lnTo>
                  <a:lnTo>
                    <a:pt x="226" y="782"/>
                  </a:lnTo>
                  <a:lnTo>
                    <a:pt x="220" y="780"/>
                  </a:lnTo>
                  <a:lnTo>
                    <a:pt x="204" y="778"/>
                  </a:lnTo>
                  <a:lnTo>
                    <a:pt x="204" y="778"/>
                  </a:lnTo>
                  <a:lnTo>
                    <a:pt x="194" y="778"/>
                  </a:lnTo>
                  <a:lnTo>
                    <a:pt x="184" y="774"/>
                  </a:lnTo>
                  <a:lnTo>
                    <a:pt x="162" y="764"/>
                  </a:lnTo>
                  <a:lnTo>
                    <a:pt x="162" y="764"/>
                  </a:lnTo>
                  <a:lnTo>
                    <a:pt x="156" y="762"/>
                  </a:lnTo>
                  <a:lnTo>
                    <a:pt x="148" y="764"/>
                  </a:lnTo>
                  <a:lnTo>
                    <a:pt x="136" y="768"/>
                  </a:lnTo>
                  <a:lnTo>
                    <a:pt x="122" y="776"/>
                  </a:lnTo>
                  <a:lnTo>
                    <a:pt x="110" y="780"/>
                  </a:lnTo>
                  <a:lnTo>
                    <a:pt x="110" y="780"/>
                  </a:lnTo>
                  <a:lnTo>
                    <a:pt x="98" y="782"/>
                  </a:lnTo>
                  <a:lnTo>
                    <a:pt x="90" y="782"/>
                  </a:lnTo>
                  <a:lnTo>
                    <a:pt x="82" y="778"/>
                  </a:lnTo>
                  <a:lnTo>
                    <a:pt x="76" y="774"/>
                  </a:lnTo>
                  <a:lnTo>
                    <a:pt x="76" y="774"/>
                  </a:lnTo>
                  <a:lnTo>
                    <a:pt x="72" y="774"/>
                  </a:lnTo>
                  <a:lnTo>
                    <a:pt x="68" y="774"/>
                  </a:lnTo>
                  <a:lnTo>
                    <a:pt x="58" y="778"/>
                  </a:lnTo>
                  <a:lnTo>
                    <a:pt x="48" y="788"/>
                  </a:lnTo>
                  <a:lnTo>
                    <a:pt x="40" y="782"/>
                  </a:lnTo>
                  <a:lnTo>
                    <a:pt x="60" y="754"/>
                  </a:lnTo>
                  <a:lnTo>
                    <a:pt x="44" y="744"/>
                  </a:lnTo>
                  <a:lnTo>
                    <a:pt x="18" y="766"/>
                  </a:lnTo>
                  <a:lnTo>
                    <a:pt x="18" y="766"/>
                  </a:lnTo>
                  <a:lnTo>
                    <a:pt x="8" y="748"/>
                  </a:lnTo>
                  <a:lnTo>
                    <a:pt x="4" y="736"/>
                  </a:lnTo>
                  <a:lnTo>
                    <a:pt x="4" y="730"/>
                  </a:lnTo>
                  <a:lnTo>
                    <a:pt x="4" y="722"/>
                  </a:lnTo>
                  <a:lnTo>
                    <a:pt x="4" y="722"/>
                  </a:lnTo>
                  <a:lnTo>
                    <a:pt x="4" y="708"/>
                  </a:lnTo>
                  <a:lnTo>
                    <a:pt x="0" y="692"/>
                  </a:lnTo>
                  <a:lnTo>
                    <a:pt x="0" y="692"/>
                  </a:lnTo>
                  <a:lnTo>
                    <a:pt x="0" y="686"/>
                  </a:lnTo>
                  <a:lnTo>
                    <a:pt x="2" y="682"/>
                  </a:lnTo>
                  <a:lnTo>
                    <a:pt x="6" y="670"/>
                  </a:lnTo>
                  <a:lnTo>
                    <a:pt x="18" y="644"/>
                  </a:lnTo>
                  <a:lnTo>
                    <a:pt x="18" y="644"/>
                  </a:lnTo>
                  <a:lnTo>
                    <a:pt x="22" y="634"/>
                  </a:lnTo>
                  <a:lnTo>
                    <a:pt x="22" y="626"/>
                  </a:lnTo>
                  <a:lnTo>
                    <a:pt x="22" y="618"/>
                  </a:lnTo>
                  <a:lnTo>
                    <a:pt x="18" y="610"/>
                  </a:lnTo>
                  <a:lnTo>
                    <a:pt x="18" y="610"/>
                  </a:lnTo>
                  <a:lnTo>
                    <a:pt x="16" y="602"/>
                  </a:lnTo>
                  <a:lnTo>
                    <a:pt x="18" y="594"/>
                  </a:lnTo>
                  <a:lnTo>
                    <a:pt x="22" y="584"/>
                  </a:lnTo>
                  <a:lnTo>
                    <a:pt x="22" y="584"/>
                  </a:lnTo>
                  <a:lnTo>
                    <a:pt x="52" y="528"/>
                  </a:lnTo>
                  <a:lnTo>
                    <a:pt x="52" y="528"/>
                  </a:lnTo>
                  <a:lnTo>
                    <a:pt x="56" y="518"/>
                  </a:lnTo>
                  <a:lnTo>
                    <a:pt x="56" y="512"/>
                  </a:lnTo>
                  <a:lnTo>
                    <a:pt x="56" y="508"/>
                  </a:lnTo>
                  <a:lnTo>
                    <a:pt x="56" y="508"/>
                  </a:lnTo>
                  <a:lnTo>
                    <a:pt x="56" y="502"/>
                  </a:lnTo>
                  <a:lnTo>
                    <a:pt x="56" y="496"/>
                  </a:lnTo>
                  <a:lnTo>
                    <a:pt x="60" y="482"/>
                  </a:lnTo>
                  <a:lnTo>
                    <a:pt x="68" y="460"/>
                  </a:lnTo>
                  <a:lnTo>
                    <a:pt x="68" y="460"/>
                  </a:lnTo>
                  <a:lnTo>
                    <a:pt x="76" y="448"/>
                  </a:lnTo>
                  <a:lnTo>
                    <a:pt x="80" y="438"/>
                  </a:lnTo>
                  <a:lnTo>
                    <a:pt x="80" y="426"/>
                  </a:lnTo>
                  <a:lnTo>
                    <a:pt x="80" y="426"/>
                  </a:lnTo>
                  <a:lnTo>
                    <a:pt x="82" y="416"/>
                  </a:lnTo>
                  <a:lnTo>
                    <a:pt x="86" y="410"/>
                  </a:lnTo>
                  <a:lnTo>
                    <a:pt x="96" y="400"/>
                  </a:lnTo>
                  <a:lnTo>
                    <a:pt x="96" y="400"/>
                  </a:lnTo>
                  <a:lnTo>
                    <a:pt x="102" y="390"/>
                  </a:lnTo>
                  <a:lnTo>
                    <a:pt x="106" y="380"/>
                  </a:lnTo>
                  <a:lnTo>
                    <a:pt x="106" y="380"/>
                  </a:lnTo>
                  <a:lnTo>
                    <a:pt x="110" y="374"/>
                  </a:lnTo>
                  <a:lnTo>
                    <a:pt x="116" y="370"/>
                  </a:lnTo>
                  <a:lnTo>
                    <a:pt x="130" y="362"/>
                  </a:lnTo>
                  <a:lnTo>
                    <a:pt x="130" y="362"/>
                  </a:lnTo>
                  <a:lnTo>
                    <a:pt x="136" y="358"/>
                  </a:lnTo>
                  <a:lnTo>
                    <a:pt x="140" y="352"/>
                  </a:lnTo>
                  <a:lnTo>
                    <a:pt x="144" y="346"/>
                  </a:lnTo>
                  <a:lnTo>
                    <a:pt x="144" y="342"/>
                  </a:lnTo>
                  <a:lnTo>
                    <a:pt x="144" y="342"/>
                  </a:lnTo>
                  <a:lnTo>
                    <a:pt x="146" y="336"/>
                  </a:lnTo>
                  <a:lnTo>
                    <a:pt x="150" y="330"/>
                  </a:lnTo>
                  <a:lnTo>
                    <a:pt x="156" y="318"/>
                  </a:lnTo>
                  <a:lnTo>
                    <a:pt x="156" y="318"/>
                  </a:lnTo>
                  <a:lnTo>
                    <a:pt x="176" y="298"/>
                  </a:lnTo>
                  <a:lnTo>
                    <a:pt x="176" y="298"/>
                  </a:lnTo>
                  <a:lnTo>
                    <a:pt x="192" y="274"/>
                  </a:lnTo>
                  <a:lnTo>
                    <a:pt x="208" y="250"/>
                  </a:lnTo>
                  <a:lnTo>
                    <a:pt x="208" y="250"/>
                  </a:lnTo>
                  <a:lnTo>
                    <a:pt x="216" y="238"/>
                  </a:lnTo>
                  <a:lnTo>
                    <a:pt x="218" y="226"/>
                  </a:lnTo>
                  <a:lnTo>
                    <a:pt x="218" y="226"/>
                  </a:lnTo>
                  <a:lnTo>
                    <a:pt x="220" y="218"/>
                  </a:lnTo>
                  <a:lnTo>
                    <a:pt x="222" y="210"/>
                  </a:lnTo>
                  <a:lnTo>
                    <a:pt x="234" y="194"/>
                  </a:lnTo>
                  <a:lnTo>
                    <a:pt x="234" y="194"/>
                  </a:lnTo>
                  <a:lnTo>
                    <a:pt x="240" y="186"/>
                  </a:lnTo>
                  <a:lnTo>
                    <a:pt x="242" y="180"/>
                  </a:lnTo>
                  <a:lnTo>
                    <a:pt x="242" y="170"/>
                  </a:lnTo>
                  <a:lnTo>
                    <a:pt x="242" y="170"/>
                  </a:lnTo>
                  <a:lnTo>
                    <a:pt x="242" y="158"/>
                  </a:lnTo>
                  <a:lnTo>
                    <a:pt x="246" y="144"/>
                  </a:lnTo>
                  <a:lnTo>
                    <a:pt x="246" y="144"/>
                  </a:lnTo>
                  <a:lnTo>
                    <a:pt x="246" y="138"/>
                  </a:lnTo>
                  <a:lnTo>
                    <a:pt x="244" y="134"/>
                  </a:lnTo>
                  <a:lnTo>
                    <a:pt x="238" y="126"/>
                  </a:lnTo>
                  <a:lnTo>
                    <a:pt x="238" y="126"/>
                  </a:lnTo>
                  <a:lnTo>
                    <a:pt x="234" y="118"/>
                  </a:lnTo>
                  <a:lnTo>
                    <a:pt x="232" y="108"/>
                  </a:lnTo>
                  <a:lnTo>
                    <a:pt x="232" y="108"/>
                  </a:lnTo>
                  <a:lnTo>
                    <a:pt x="228" y="54"/>
                  </a:lnTo>
                  <a:lnTo>
                    <a:pt x="262" y="64"/>
                  </a:lnTo>
                  <a:lnTo>
                    <a:pt x="270" y="82"/>
                  </a:lnTo>
                  <a:lnTo>
                    <a:pt x="284" y="80"/>
                  </a:lnTo>
                  <a:lnTo>
                    <a:pt x="284" y="68"/>
                  </a:lnTo>
                  <a:lnTo>
                    <a:pt x="278" y="50"/>
                  </a:lnTo>
                  <a:lnTo>
                    <a:pt x="292" y="44"/>
                  </a:lnTo>
                  <a:lnTo>
                    <a:pt x="302" y="68"/>
                  </a:lnTo>
                  <a:lnTo>
                    <a:pt x="332" y="78"/>
                  </a:lnTo>
                  <a:lnTo>
                    <a:pt x="330" y="94"/>
                  </a:lnTo>
                  <a:lnTo>
                    <a:pt x="320" y="94"/>
                  </a:lnTo>
                  <a:lnTo>
                    <a:pt x="310" y="122"/>
                  </a:lnTo>
                  <a:lnTo>
                    <a:pt x="320" y="130"/>
                  </a:lnTo>
                  <a:lnTo>
                    <a:pt x="330" y="114"/>
                  </a:lnTo>
                  <a:lnTo>
                    <a:pt x="342" y="114"/>
                  </a:lnTo>
                  <a:lnTo>
                    <a:pt x="348" y="98"/>
                  </a:lnTo>
                  <a:lnTo>
                    <a:pt x="346" y="82"/>
                  </a:lnTo>
                  <a:lnTo>
                    <a:pt x="358" y="80"/>
                  </a:lnTo>
                  <a:lnTo>
                    <a:pt x="364" y="92"/>
                  </a:lnTo>
                  <a:lnTo>
                    <a:pt x="378" y="88"/>
                  </a:lnTo>
                  <a:lnTo>
                    <a:pt x="378" y="66"/>
                  </a:lnTo>
                  <a:lnTo>
                    <a:pt x="396" y="74"/>
                  </a:lnTo>
                  <a:lnTo>
                    <a:pt x="420" y="68"/>
                  </a:lnTo>
                  <a:lnTo>
                    <a:pt x="430" y="48"/>
                  </a:lnTo>
                  <a:lnTo>
                    <a:pt x="450" y="46"/>
                  </a:lnTo>
                  <a:lnTo>
                    <a:pt x="448" y="20"/>
                  </a:lnTo>
                  <a:lnTo>
                    <a:pt x="440" y="18"/>
                  </a:lnTo>
                  <a:lnTo>
                    <a:pt x="444" y="6"/>
                  </a:lnTo>
                  <a:lnTo>
                    <a:pt x="470" y="8"/>
                  </a:lnTo>
                  <a:lnTo>
                    <a:pt x="478" y="18"/>
                  </a:lnTo>
                  <a:lnTo>
                    <a:pt x="490" y="16"/>
                  </a:lnTo>
                  <a:lnTo>
                    <a:pt x="498" y="0"/>
                  </a:lnTo>
                  <a:lnTo>
                    <a:pt x="506" y="0"/>
                  </a:lnTo>
                  <a:lnTo>
                    <a:pt x="506" y="32"/>
                  </a:lnTo>
                  <a:lnTo>
                    <a:pt x="516" y="32"/>
                  </a:lnTo>
                  <a:lnTo>
                    <a:pt x="516" y="24"/>
                  </a:lnTo>
                  <a:lnTo>
                    <a:pt x="532" y="22"/>
                  </a:lnTo>
                  <a:lnTo>
                    <a:pt x="536" y="32"/>
                  </a:lnTo>
                  <a:lnTo>
                    <a:pt x="546" y="32"/>
                  </a:lnTo>
                  <a:lnTo>
                    <a:pt x="548" y="20"/>
                  </a:lnTo>
                  <a:lnTo>
                    <a:pt x="562" y="20"/>
                  </a:lnTo>
                  <a:lnTo>
                    <a:pt x="566" y="46"/>
                  </a:lnTo>
                  <a:lnTo>
                    <a:pt x="558" y="68"/>
                  </a:lnTo>
                  <a:lnTo>
                    <a:pt x="564" y="72"/>
                  </a:lnTo>
                  <a:lnTo>
                    <a:pt x="576" y="64"/>
                  </a:lnTo>
                  <a:lnTo>
                    <a:pt x="582" y="68"/>
                  </a:lnTo>
                  <a:lnTo>
                    <a:pt x="582" y="88"/>
                  </a:lnTo>
                  <a:lnTo>
                    <a:pt x="592" y="94"/>
                  </a:lnTo>
                  <a:lnTo>
                    <a:pt x="606" y="88"/>
                  </a:lnTo>
                  <a:lnTo>
                    <a:pt x="606" y="78"/>
                  </a:lnTo>
                  <a:lnTo>
                    <a:pt x="622" y="68"/>
                  </a:lnTo>
                  <a:lnTo>
                    <a:pt x="634" y="78"/>
                  </a:lnTo>
                  <a:lnTo>
                    <a:pt x="634" y="108"/>
                  </a:lnTo>
                  <a:lnTo>
                    <a:pt x="642" y="130"/>
                  </a:lnTo>
                  <a:lnTo>
                    <a:pt x="632" y="140"/>
                  </a:lnTo>
                  <a:lnTo>
                    <a:pt x="642" y="160"/>
                  </a:lnTo>
                  <a:lnTo>
                    <a:pt x="636" y="174"/>
                  </a:lnTo>
                  <a:lnTo>
                    <a:pt x="640" y="200"/>
                  </a:lnTo>
                  <a:lnTo>
                    <a:pt x="664" y="220"/>
                  </a:lnTo>
                  <a:lnTo>
                    <a:pt x="662" y="232"/>
                  </a:lnTo>
                  <a:lnTo>
                    <a:pt x="674" y="266"/>
                  </a:lnTo>
                  <a:lnTo>
                    <a:pt x="708" y="286"/>
                  </a:lnTo>
                  <a:lnTo>
                    <a:pt x="710" y="326"/>
                  </a:lnTo>
                  <a:lnTo>
                    <a:pt x="708" y="348"/>
                  </a:lnTo>
                  <a:lnTo>
                    <a:pt x="724" y="360"/>
                  </a:lnTo>
                  <a:lnTo>
                    <a:pt x="726" y="380"/>
                  </a:lnTo>
                  <a:lnTo>
                    <a:pt x="712" y="390"/>
                  </a:lnTo>
                  <a:lnTo>
                    <a:pt x="706" y="378"/>
                  </a:lnTo>
                  <a:lnTo>
                    <a:pt x="696" y="380"/>
                  </a:lnTo>
                  <a:lnTo>
                    <a:pt x="694" y="390"/>
                  </a:lnTo>
                  <a:lnTo>
                    <a:pt x="684" y="388"/>
                  </a:lnTo>
                  <a:lnTo>
                    <a:pt x="682" y="380"/>
                  </a:lnTo>
                  <a:lnTo>
                    <a:pt x="664" y="376"/>
                  </a:lnTo>
                  <a:lnTo>
                    <a:pt x="656" y="386"/>
                  </a:lnTo>
                  <a:lnTo>
                    <a:pt x="672" y="428"/>
                  </a:lnTo>
                  <a:lnTo>
                    <a:pt x="662" y="430"/>
                  </a:lnTo>
                  <a:lnTo>
                    <a:pt x="666" y="440"/>
                  </a:lnTo>
                  <a:lnTo>
                    <a:pt x="640" y="452"/>
                  </a:lnTo>
                  <a:lnTo>
                    <a:pt x="634" y="446"/>
                  </a:lnTo>
                  <a:lnTo>
                    <a:pt x="616" y="458"/>
                  </a:lnTo>
                  <a:lnTo>
                    <a:pt x="614" y="472"/>
                  </a:lnTo>
                  <a:lnTo>
                    <a:pt x="586" y="488"/>
                  </a:lnTo>
                  <a:lnTo>
                    <a:pt x="596" y="510"/>
                  </a:lnTo>
                  <a:lnTo>
                    <a:pt x="604" y="510"/>
                  </a:lnTo>
                  <a:lnTo>
                    <a:pt x="618" y="538"/>
                  </a:lnTo>
                  <a:lnTo>
                    <a:pt x="616" y="576"/>
                  </a:lnTo>
                  <a:lnTo>
                    <a:pt x="628" y="586"/>
                  </a:lnTo>
                  <a:lnTo>
                    <a:pt x="636" y="632"/>
                  </a:lnTo>
                  <a:lnTo>
                    <a:pt x="626" y="650"/>
                  </a:lnTo>
                  <a:lnTo>
                    <a:pt x="626" y="668"/>
                  </a:lnTo>
                  <a:lnTo>
                    <a:pt x="636" y="674"/>
                  </a:lnTo>
                  <a:lnTo>
                    <a:pt x="636" y="684"/>
                  </a:lnTo>
                  <a:lnTo>
                    <a:pt x="624" y="694"/>
                  </a:lnTo>
                  <a:lnTo>
                    <a:pt x="624" y="706"/>
                  </a:lnTo>
                  <a:lnTo>
                    <a:pt x="634" y="710"/>
                  </a:lnTo>
                  <a:lnTo>
                    <a:pt x="638" y="724"/>
                  </a:lnTo>
                  <a:lnTo>
                    <a:pt x="620" y="748"/>
                  </a:lnTo>
                  <a:lnTo>
                    <a:pt x="610" y="730"/>
                  </a:lnTo>
                  <a:lnTo>
                    <a:pt x="594" y="730"/>
                  </a:lnTo>
                  <a:lnTo>
                    <a:pt x="584" y="742"/>
                  </a:lnTo>
                  <a:lnTo>
                    <a:pt x="562" y="734"/>
                  </a:lnTo>
                  <a:lnTo>
                    <a:pt x="556" y="746"/>
                  </a:lnTo>
                  <a:lnTo>
                    <a:pt x="530" y="758"/>
                  </a:lnTo>
                  <a:lnTo>
                    <a:pt x="518" y="754"/>
                  </a:lnTo>
                  <a:lnTo>
                    <a:pt x="500" y="774"/>
                  </a:lnTo>
                  <a:lnTo>
                    <a:pt x="498" y="774"/>
                  </a:lnTo>
                  <a:close/>
                </a:path>
              </a:pathLst>
            </a:custGeom>
            <a:solidFill>
              <a:schemeClr val="accent1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4126"/>
              <a:endParaRPr lang="de-DE" sz="1799" dirty="0">
                <a:solidFill>
                  <a:srgbClr val="3B3B3B"/>
                </a:solidFill>
                <a:latin typeface="EnBW DIN Pro"/>
              </a:endParaRPr>
            </a:p>
          </p:txBody>
        </p:sp>
        <p:sp>
          <p:nvSpPr>
            <p:cNvPr id="39" name="Freeform 34">
              <a:extLst>
                <a:ext uri="{FF2B5EF4-FFF2-40B4-BE49-F238E27FC236}">
                  <a16:creationId xmlns:a16="http://schemas.microsoft.com/office/drawing/2014/main" id="{0C2AB189-FE73-4D09-9016-11A6C00D1A3A}"/>
                </a:ext>
              </a:extLst>
            </p:cNvPr>
            <p:cNvSpPr>
              <a:spLocks/>
            </p:cNvSpPr>
            <p:nvPr/>
          </p:nvSpPr>
          <p:spPr bwMode="gray">
            <a:xfrm>
              <a:off x="2048" y="2979"/>
              <a:ext cx="272" cy="198"/>
            </a:xfrm>
            <a:custGeom>
              <a:avLst/>
              <a:gdLst>
                <a:gd name="T0" fmla="*/ 254 w 272"/>
                <a:gd name="T1" fmla="*/ 168 h 198"/>
                <a:gd name="T2" fmla="*/ 222 w 272"/>
                <a:gd name="T3" fmla="*/ 166 h 198"/>
                <a:gd name="T4" fmla="*/ 210 w 272"/>
                <a:gd name="T5" fmla="*/ 198 h 198"/>
                <a:gd name="T6" fmla="*/ 178 w 272"/>
                <a:gd name="T7" fmla="*/ 178 h 198"/>
                <a:gd name="T8" fmla="*/ 162 w 272"/>
                <a:gd name="T9" fmla="*/ 180 h 198"/>
                <a:gd name="T10" fmla="*/ 164 w 272"/>
                <a:gd name="T11" fmla="*/ 166 h 198"/>
                <a:gd name="T12" fmla="*/ 138 w 272"/>
                <a:gd name="T13" fmla="*/ 170 h 198"/>
                <a:gd name="T14" fmla="*/ 136 w 272"/>
                <a:gd name="T15" fmla="*/ 156 h 198"/>
                <a:gd name="T16" fmla="*/ 110 w 272"/>
                <a:gd name="T17" fmla="*/ 150 h 198"/>
                <a:gd name="T18" fmla="*/ 102 w 272"/>
                <a:gd name="T19" fmla="*/ 174 h 198"/>
                <a:gd name="T20" fmla="*/ 76 w 272"/>
                <a:gd name="T21" fmla="*/ 164 h 198"/>
                <a:gd name="T22" fmla="*/ 62 w 272"/>
                <a:gd name="T23" fmla="*/ 128 h 198"/>
                <a:gd name="T24" fmla="*/ 72 w 272"/>
                <a:gd name="T25" fmla="*/ 112 h 198"/>
                <a:gd name="T26" fmla="*/ 72 w 272"/>
                <a:gd name="T27" fmla="*/ 92 h 198"/>
                <a:gd name="T28" fmla="*/ 60 w 272"/>
                <a:gd name="T29" fmla="*/ 88 h 198"/>
                <a:gd name="T30" fmla="*/ 50 w 272"/>
                <a:gd name="T31" fmla="*/ 66 h 198"/>
                <a:gd name="T32" fmla="*/ 0 w 272"/>
                <a:gd name="T33" fmla="*/ 48 h 198"/>
                <a:gd name="T34" fmla="*/ 2 w 272"/>
                <a:gd name="T35" fmla="*/ 24 h 198"/>
                <a:gd name="T36" fmla="*/ 14 w 272"/>
                <a:gd name="T37" fmla="*/ 24 h 198"/>
                <a:gd name="T38" fmla="*/ 30 w 272"/>
                <a:gd name="T39" fmla="*/ 38 h 198"/>
                <a:gd name="T40" fmla="*/ 48 w 272"/>
                <a:gd name="T41" fmla="*/ 38 h 198"/>
                <a:gd name="T42" fmla="*/ 52 w 272"/>
                <a:gd name="T43" fmla="*/ 30 h 198"/>
                <a:gd name="T44" fmla="*/ 72 w 272"/>
                <a:gd name="T45" fmla="*/ 24 h 198"/>
                <a:gd name="T46" fmla="*/ 82 w 272"/>
                <a:gd name="T47" fmla="*/ 32 h 198"/>
                <a:gd name="T48" fmla="*/ 98 w 272"/>
                <a:gd name="T49" fmla="*/ 28 h 198"/>
                <a:gd name="T50" fmla="*/ 104 w 272"/>
                <a:gd name="T51" fmla="*/ 16 h 198"/>
                <a:gd name="T52" fmla="*/ 138 w 272"/>
                <a:gd name="T53" fmla="*/ 0 h 198"/>
                <a:gd name="T54" fmla="*/ 164 w 272"/>
                <a:gd name="T55" fmla="*/ 16 h 198"/>
                <a:gd name="T56" fmla="*/ 190 w 272"/>
                <a:gd name="T57" fmla="*/ 20 h 198"/>
                <a:gd name="T58" fmla="*/ 192 w 272"/>
                <a:gd name="T59" fmla="*/ 30 h 198"/>
                <a:gd name="T60" fmla="*/ 212 w 272"/>
                <a:gd name="T61" fmla="*/ 34 h 198"/>
                <a:gd name="T62" fmla="*/ 220 w 272"/>
                <a:gd name="T63" fmla="*/ 26 h 198"/>
                <a:gd name="T64" fmla="*/ 234 w 272"/>
                <a:gd name="T65" fmla="*/ 32 h 198"/>
                <a:gd name="T66" fmla="*/ 236 w 272"/>
                <a:gd name="T67" fmla="*/ 46 h 198"/>
                <a:gd name="T68" fmla="*/ 232 w 272"/>
                <a:gd name="T69" fmla="*/ 72 h 198"/>
                <a:gd name="T70" fmla="*/ 250 w 272"/>
                <a:gd name="T71" fmla="*/ 96 h 198"/>
                <a:gd name="T72" fmla="*/ 266 w 272"/>
                <a:gd name="T73" fmla="*/ 92 h 198"/>
                <a:gd name="T74" fmla="*/ 272 w 272"/>
                <a:gd name="T75" fmla="*/ 104 h 198"/>
                <a:gd name="T76" fmla="*/ 256 w 272"/>
                <a:gd name="T77" fmla="*/ 144 h 198"/>
                <a:gd name="T78" fmla="*/ 244 w 272"/>
                <a:gd name="T79" fmla="*/ 140 h 198"/>
                <a:gd name="T80" fmla="*/ 236 w 272"/>
                <a:gd name="T81" fmla="*/ 152 h 198"/>
                <a:gd name="T82" fmla="*/ 254 w 272"/>
                <a:gd name="T83" fmla="*/ 16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72" h="198">
                  <a:moveTo>
                    <a:pt x="254" y="168"/>
                  </a:moveTo>
                  <a:lnTo>
                    <a:pt x="222" y="166"/>
                  </a:lnTo>
                  <a:lnTo>
                    <a:pt x="210" y="198"/>
                  </a:lnTo>
                  <a:lnTo>
                    <a:pt x="178" y="178"/>
                  </a:lnTo>
                  <a:lnTo>
                    <a:pt x="162" y="180"/>
                  </a:lnTo>
                  <a:lnTo>
                    <a:pt x="164" y="166"/>
                  </a:lnTo>
                  <a:lnTo>
                    <a:pt x="138" y="170"/>
                  </a:lnTo>
                  <a:lnTo>
                    <a:pt x="136" y="156"/>
                  </a:lnTo>
                  <a:lnTo>
                    <a:pt x="110" y="150"/>
                  </a:lnTo>
                  <a:lnTo>
                    <a:pt x="102" y="174"/>
                  </a:lnTo>
                  <a:lnTo>
                    <a:pt x="76" y="164"/>
                  </a:lnTo>
                  <a:lnTo>
                    <a:pt x="62" y="128"/>
                  </a:lnTo>
                  <a:lnTo>
                    <a:pt x="72" y="112"/>
                  </a:lnTo>
                  <a:lnTo>
                    <a:pt x="72" y="92"/>
                  </a:lnTo>
                  <a:lnTo>
                    <a:pt x="60" y="88"/>
                  </a:lnTo>
                  <a:lnTo>
                    <a:pt x="50" y="66"/>
                  </a:lnTo>
                  <a:lnTo>
                    <a:pt x="0" y="48"/>
                  </a:lnTo>
                  <a:lnTo>
                    <a:pt x="2" y="24"/>
                  </a:lnTo>
                  <a:lnTo>
                    <a:pt x="14" y="24"/>
                  </a:lnTo>
                  <a:lnTo>
                    <a:pt x="30" y="38"/>
                  </a:lnTo>
                  <a:lnTo>
                    <a:pt x="48" y="38"/>
                  </a:lnTo>
                  <a:lnTo>
                    <a:pt x="52" y="30"/>
                  </a:lnTo>
                  <a:lnTo>
                    <a:pt x="72" y="24"/>
                  </a:lnTo>
                  <a:lnTo>
                    <a:pt x="82" y="32"/>
                  </a:lnTo>
                  <a:lnTo>
                    <a:pt x="98" y="28"/>
                  </a:lnTo>
                  <a:lnTo>
                    <a:pt x="104" y="16"/>
                  </a:lnTo>
                  <a:lnTo>
                    <a:pt x="138" y="0"/>
                  </a:lnTo>
                  <a:lnTo>
                    <a:pt x="164" y="16"/>
                  </a:lnTo>
                  <a:lnTo>
                    <a:pt x="190" y="20"/>
                  </a:lnTo>
                  <a:lnTo>
                    <a:pt x="192" y="30"/>
                  </a:lnTo>
                  <a:lnTo>
                    <a:pt x="212" y="34"/>
                  </a:lnTo>
                  <a:lnTo>
                    <a:pt x="220" y="26"/>
                  </a:lnTo>
                  <a:lnTo>
                    <a:pt x="234" y="32"/>
                  </a:lnTo>
                  <a:lnTo>
                    <a:pt x="236" y="46"/>
                  </a:lnTo>
                  <a:lnTo>
                    <a:pt x="232" y="72"/>
                  </a:lnTo>
                  <a:lnTo>
                    <a:pt x="250" y="96"/>
                  </a:lnTo>
                  <a:lnTo>
                    <a:pt x="266" y="92"/>
                  </a:lnTo>
                  <a:lnTo>
                    <a:pt x="272" y="104"/>
                  </a:lnTo>
                  <a:lnTo>
                    <a:pt x="256" y="144"/>
                  </a:lnTo>
                  <a:lnTo>
                    <a:pt x="244" y="140"/>
                  </a:lnTo>
                  <a:lnTo>
                    <a:pt x="236" y="152"/>
                  </a:lnTo>
                  <a:lnTo>
                    <a:pt x="254" y="168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4126"/>
              <a:endParaRPr lang="de-DE" sz="1799" dirty="0">
                <a:solidFill>
                  <a:srgbClr val="3B3B3B"/>
                </a:solidFill>
                <a:latin typeface="EnBW DIN Pro"/>
              </a:endParaRPr>
            </a:p>
          </p:txBody>
        </p:sp>
        <p:sp>
          <p:nvSpPr>
            <p:cNvPr id="40" name="Freeform 35">
              <a:extLst>
                <a:ext uri="{FF2B5EF4-FFF2-40B4-BE49-F238E27FC236}">
                  <a16:creationId xmlns:a16="http://schemas.microsoft.com/office/drawing/2014/main" id="{DB74DCEB-4986-4099-A065-F3B7C2A48439}"/>
                </a:ext>
              </a:extLst>
            </p:cNvPr>
            <p:cNvSpPr>
              <a:spLocks/>
            </p:cNvSpPr>
            <p:nvPr/>
          </p:nvSpPr>
          <p:spPr bwMode="gray">
            <a:xfrm>
              <a:off x="2026" y="2515"/>
              <a:ext cx="524" cy="732"/>
            </a:xfrm>
            <a:custGeom>
              <a:avLst/>
              <a:gdLst>
                <a:gd name="T0" fmla="*/ 62 w 524"/>
                <a:gd name="T1" fmla="*/ 202 h 732"/>
                <a:gd name="T2" fmla="*/ 108 w 524"/>
                <a:gd name="T3" fmla="*/ 220 h 732"/>
                <a:gd name="T4" fmla="*/ 128 w 524"/>
                <a:gd name="T5" fmla="*/ 184 h 732"/>
                <a:gd name="T6" fmla="*/ 174 w 524"/>
                <a:gd name="T7" fmla="*/ 172 h 732"/>
                <a:gd name="T8" fmla="*/ 242 w 524"/>
                <a:gd name="T9" fmla="*/ 118 h 732"/>
                <a:gd name="T10" fmla="*/ 290 w 524"/>
                <a:gd name="T11" fmla="*/ 82 h 732"/>
                <a:gd name="T12" fmla="*/ 340 w 524"/>
                <a:gd name="T13" fmla="*/ 72 h 732"/>
                <a:gd name="T14" fmla="*/ 368 w 524"/>
                <a:gd name="T15" fmla="*/ 36 h 732"/>
                <a:gd name="T16" fmla="*/ 380 w 524"/>
                <a:gd name="T17" fmla="*/ 0 h 732"/>
                <a:gd name="T18" fmla="*/ 402 w 524"/>
                <a:gd name="T19" fmla="*/ 40 h 732"/>
                <a:gd name="T20" fmla="*/ 422 w 524"/>
                <a:gd name="T21" fmla="*/ 70 h 732"/>
                <a:gd name="T22" fmla="*/ 448 w 524"/>
                <a:gd name="T23" fmla="*/ 110 h 732"/>
                <a:gd name="T24" fmla="*/ 440 w 524"/>
                <a:gd name="T25" fmla="*/ 150 h 732"/>
                <a:gd name="T26" fmla="*/ 412 w 524"/>
                <a:gd name="T27" fmla="*/ 164 h 732"/>
                <a:gd name="T28" fmla="*/ 420 w 524"/>
                <a:gd name="T29" fmla="*/ 202 h 732"/>
                <a:gd name="T30" fmla="*/ 450 w 524"/>
                <a:gd name="T31" fmla="*/ 240 h 732"/>
                <a:gd name="T32" fmla="*/ 434 w 524"/>
                <a:gd name="T33" fmla="*/ 252 h 732"/>
                <a:gd name="T34" fmla="*/ 394 w 524"/>
                <a:gd name="T35" fmla="*/ 276 h 732"/>
                <a:gd name="T36" fmla="*/ 384 w 524"/>
                <a:gd name="T37" fmla="*/ 292 h 732"/>
                <a:gd name="T38" fmla="*/ 362 w 524"/>
                <a:gd name="T39" fmla="*/ 322 h 732"/>
                <a:gd name="T40" fmla="*/ 378 w 524"/>
                <a:gd name="T41" fmla="*/ 342 h 732"/>
                <a:gd name="T42" fmla="*/ 398 w 524"/>
                <a:gd name="T43" fmla="*/ 350 h 732"/>
                <a:gd name="T44" fmla="*/ 454 w 524"/>
                <a:gd name="T45" fmla="*/ 326 h 732"/>
                <a:gd name="T46" fmla="*/ 472 w 524"/>
                <a:gd name="T47" fmla="*/ 324 h 732"/>
                <a:gd name="T48" fmla="*/ 486 w 524"/>
                <a:gd name="T49" fmla="*/ 336 h 732"/>
                <a:gd name="T50" fmla="*/ 498 w 524"/>
                <a:gd name="T51" fmla="*/ 364 h 732"/>
                <a:gd name="T52" fmla="*/ 502 w 524"/>
                <a:gd name="T53" fmla="*/ 396 h 732"/>
                <a:gd name="T54" fmla="*/ 508 w 524"/>
                <a:gd name="T55" fmla="*/ 416 h 732"/>
                <a:gd name="T56" fmla="*/ 522 w 524"/>
                <a:gd name="T57" fmla="*/ 442 h 732"/>
                <a:gd name="T58" fmla="*/ 518 w 524"/>
                <a:gd name="T59" fmla="*/ 456 h 732"/>
                <a:gd name="T60" fmla="*/ 506 w 524"/>
                <a:gd name="T61" fmla="*/ 462 h 732"/>
                <a:gd name="T62" fmla="*/ 504 w 524"/>
                <a:gd name="T63" fmla="*/ 472 h 732"/>
                <a:gd name="T64" fmla="*/ 512 w 524"/>
                <a:gd name="T65" fmla="*/ 552 h 732"/>
                <a:gd name="T66" fmla="*/ 522 w 524"/>
                <a:gd name="T67" fmla="*/ 568 h 732"/>
                <a:gd name="T68" fmla="*/ 524 w 524"/>
                <a:gd name="T69" fmla="*/ 578 h 732"/>
                <a:gd name="T70" fmla="*/ 520 w 524"/>
                <a:gd name="T71" fmla="*/ 604 h 732"/>
                <a:gd name="T72" fmla="*/ 512 w 524"/>
                <a:gd name="T73" fmla="*/ 628 h 732"/>
                <a:gd name="T74" fmla="*/ 498 w 524"/>
                <a:gd name="T75" fmla="*/ 652 h 732"/>
                <a:gd name="T76" fmla="*/ 494 w 524"/>
                <a:gd name="T77" fmla="*/ 672 h 732"/>
                <a:gd name="T78" fmla="*/ 470 w 524"/>
                <a:gd name="T79" fmla="*/ 708 h 732"/>
                <a:gd name="T80" fmla="*/ 402 w 524"/>
                <a:gd name="T81" fmla="*/ 700 h 732"/>
                <a:gd name="T82" fmla="*/ 354 w 524"/>
                <a:gd name="T83" fmla="*/ 694 h 732"/>
                <a:gd name="T84" fmla="*/ 276 w 524"/>
                <a:gd name="T85" fmla="*/ 632 h 732"/>
                <a:gd name="T86" fmla="*/ 278 w 524"/>
                <a:gd name="T87" fmla="*/ 608 h 732"/>
                <a:gd name="T88" fmla="*/ 272 w 524"/>
                <a:gd name="T89" fmla="*/ 560 h 732"/>
                <a:gd name="T90" fmla="*/ 256 w 524"/>
                <a:gd name="T91" fmla="*/ 496 h 732"/>
                <a:gd name="T92" fmla="*/ 214 w 524"/>
                <a:gd name="T93" fmla="*/ 494 h 732"/>
                <a:gd name="T94" fmla="*/ 160 w 524"/>
                <a:gd name="T95" fmla="*/ 464 h 732"/>
                <a:gd name="T96" fmla="*/ 104 w 524"/>
                <a:gd name="T97" fmla="*/ 496 h 732"/>
                <a:gd name="T98" fmla="*/ 70 w 524"/>
                <a:gd name="T99" fmla="*/ 502 h 732"/>
                <a:gd name="T100" fmla="*/ 24 w 524"/>
                <a:gd name="T101" fmla="*/ 488 h 732"/>
                <a:gd name="T102" fmla="*/ 58 w 524"/>
                <a:gd name="T103" fmla="*/ 436 h 732"/>
                <a:gd name="T104" fmla="*/ 26 w 524"/>
                <a:gd name="T105" fmla="*/ 390 h 732"/>
                <a:gd name="T106" fmla="*/ 20 w 524"/>
                <a:gd name="T107" fmla="*/ 252 h 732"/>
                <a:gd name="T108" fmla="*/ 56 w 524"/>
                <a:gd name="T109" fmla="*/ 224 h 7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524" h="732">
                  <a:moveTo>
                    <a:pt x="56" y="224"/>
                  </a:moveTo>
                  <a:lnTo>
                    <a:pt x="50" y="206"/>
                  </a:lnTo>
                  <a:lnTo>
                    <a:pt x="62" y="202"/>
                  </a:lnTo>
                  <a:lnTo>
                    <a:pt x="68" y="224"/>
                  </a:lnTo>
                  <a:lnTo>
                    <a:pt x="82" y="214"/>
                  </a:lnTo>
                  <a:lnTo>
                    <a:pt x="108" y="220"/>
                  </a:lnTo>
                  <a:lnTo>
                    <a:pt x="116" y="230"/>
                  </a:lnTo>
                  <a:lnTo>
                    <a:pt x="140" y="220"/>
                  </a:lnTo>
                  <a:lnTo>
                    <a:pt x="128" y="184"/>
                  </a:lnTo>
                  <a:lnTo>
                    <a:pt x="146" y="172"/>
                  </a:lnTo>
                  <a:lnTo>
                    <a:pt x="152" y="178"/>
                  </a:lnTo>
                  <a:lnTo>
                    <a:pt x="174" y="172"/>
                  </a:lnTo>
                  <a:lnTo>
                    <a:pt x="170" y="162"/>
                  </a:lnTo>
                  <a:lnTo>
                    <a:pt x="182" y="144"/>
                  </a:lnTo>
                  <a:lnTo>
                    <a:pt x="242" y="118"/>
                  </a:lnTo>
                  <a:lnTo>
                    <a:pt x="252" y="120"/>
                  </a:lnTo>
                  <a:lnTo>
                    <a:pt x="284" y="108"/>
                  </a:lnTo>
                  <a:lnTo>
                    <a:pt x="290" y="82"/>
                  </a:lnTo>
                  <a:lnTo>
                    <a:pt x="302" y="78"/>
                  </a:lnTo>
                  <a:lnTo>
                    <a:pt x="312" y="82"/>
                  </a:lnTo>
                  <a:lnTo>
                    <a:pt x="340" y="72"/>
                  </a:lnTo>
                  <a:lnTo>
                    <a:pt x="350" y="58"/>
                  </a:lnTo>
                  <a:lnTo>
                    <a:pt x="348" y="46"/>
                  </a:lnTo>
                  <a:lnTo>
                    <a:pt x="368" y="36"/>
                  </a:lnTo>
                  <a:lnTo>
                    <a:pt x="372" y="24"/>
                  </a:lnTo>
                  <a:lnTo>
                    <a:pt x="368" y="6"/>
                  </a:lnTo>
                  <a:lnTo>
                    <a:pt x="380" y="0"/>
                  </a:lnTo>
                  <a:lnTo>
                    <a:pt x="398" y="18"/>
                  </a:lnTo>
                  <a:lnTo>
                    <a:pt x="394" y="34"/>
                  </a:lnTo>
                  <a:lnTo>
                    <a:pt x="402" y="40"/>
                  </a:lnTo>
                  <a:lnTo>
                    <a:pt x="410" y="40"/>
                  </a:lnTo>
                  <a:lnTo>
                    <a:pt x="422" y="54"/>
                  </a:lnTo>
                  <a:lnTo>
                    <a:pt x="422" y="70"/>
                  </a:lnTo>
                  <a:lnTo>
                    <a:pt x="440" y="94"/>
                  </a:lnTo>
                  <a:lnTo>
                    <a:pt x="448" y="94"/>
                  </a:lnTo>
                  <a:lnTo>
                    <a:pt x="448" y="110"/>
                  </a:lnTo>
                  <a:lnTo>
                    <a:pt x="456" y="122"/>
                  </a:lnTo>
                  <a:lnTo>
                    <a:pt x="454" y="148"/>
                  </a:lnTo>
                  <a:lnTo>
                    <a:pt x="440" y="150"/>
                  </a:lnTo>
                  <a:lnTo>
                    <a:pt x="436" y="136"/>
                  </a:lnTo>
                  <a:lnTo>
                    <a:pt x="418" y="144"/>
                  </a:lnTo>
                  <a:lnTo>
                    <a:pt x="412" y="164"/>
                  </a:lnTo>
                  <a:lnTo>
                    <a:pt x="420" y="172"/>
                  </a:lnTo>
                  <a:lnTo>
                    <a:pt x="416" y="188"/>
                  </a:lnTo>
                  <a:lnTo>
                    <a:pt x="420" y="202"/>
                  </a:lnTo>
                  <a:lnTo>
                    <a:pt x="434" y="202"/>
                  </a:lnTo>
                  <a:lnTo>
                    <a:pt x="454" y="228"/>
                  </a:lnTo>
                  <a:lnTo>
                    <a:pt x="450" y="240"/>
                  </a:lnTo>
                  <a:lnTo>
                    <a:pt x="438" y="236"/>
                  </a:lnTo>
                  <a:lnTo>
                    <a:pt x="432" y="240"/>
                  </a:lnTo>
                  <a:lnTo>
                    <a:pt x="434" y="252"/>
                  </a:lnTo>
                  <a:lnTo>
                    <a:pt x="422" y="260"/>
                  </a:lnTo>
                  <a:lnTo>
                    <a:pt x="412" y="250"/>
                  </a:lnTo>
                  <a:lnTo>
                    <a:pt x="394" y="276"/>
                  </a:lnTo>
                  <a:lnTo>
                    <a:pt x="400" y="286"/>
                  </a:lnTo>
                  <a:lnTo>
                    <a:pt x="392" y="296"/>
                  </a:lnTo>
                  <a:lnTo>
                    <a:pt x="384" y="292"/>
                  </a:lnTo>
                  <a:lnTo>
                    <a:pt x="356" y="316"/>
                  </a:lnTo>
                  <a:lnTo>
                    <a:pt x="356" y="316"/>
                  </a:lnTo>
                  <a:lnTo>
                    <a:pt x="362" y="322"/>
                  </a:lnTo>
                  <a:lnTo>
                    <a:pt x="372" y="336"/>
                  </a:lnTo>
                  <a:lnTo>
                    <a:pt x="372" y="336"/>
                  </a:lnTo>
                  <a:lnTo>
                    <a:pt x="378" y="342"/>
                  </a:lnTo>
                  <a:lnTo>
                    <a:pt x="386" y="348"/>
                  </a:lnTo>
                  <a:lnTo>
                    <a:pt x="394" y="350"/>
                  </a:lnTo>
                  <a:lnTo>
                    <a:pt x="398" y="350"/>
                  </a:lnTo>
                  <a:lnTo>
                    <a:pt x="404" y="348"/>
                  </a:lnTo>
                  <a:lnTo>
                    <a:pt x="404" y="348"/>
                  </a:lnTo>
                  <a:lnTo>
                    <a:pt x="454" y="326"/>
                  </a:lnTo>
                  <a:lnTo>
                    <a:pt x="454" y="326"/>
                  </a:lnTo>
                  <a:lnTo>
                    <a:pt x="462" y="324"/>
                  </a:lnTo>
                  <a:lnTo>
                    <a:pt x="472" y="324"/>
                  </a:lnTo>
                  <a:lnTo>
                    <a:pt x="480" y="328"/>
                  </a:lnTo>
                  <a:lnTo>
                    <a:pt x="486" y="336"/>
                  </a:lnTo>
                  <a:lnTo>
                    <a:pt x="486" y="336"/>
                  </a:lnTo>
                  <a:lnTo>
                    <a:pt x="492" y="344"/>
                  </a:lnTo>
                  <a:lnTo>
                    <a:pt x="496" y="354"/>
                  </a:lnTo>
                  <a:lnTo>
                    <a:pt x="498" y="364"/>
                  </a:lnTo>
                  <a:lnTo>
                    <a:pt x="500" y="376"/>
                  </a:lnTo>
                  <a:lnTo>
                    <a:pt x="500" y="376"/>
                  </a:lnTo>
                  <a:lnTo>
                    <a:pt x="502" y="396"/>
                  </a:lnTo>
                  <a:lnTo>
                    <a:pt x="504" y="406"/>
                  </a:lnTo>
                  <a:lnTo>
                    <a:pt x="508" y="416"/>
                  </a:lnTo>
                  <a:lnTo>
                    <a:pt x="508" y="416"/>
                  </a:lnTo>
                  <a:lnTo>
                    <a:pt x="514" y="426"/>
                  </a:lnTo>
                  <a:lnTo>
                    <a:pt x="518" y="436"/>
                  </a:lnTo>
                  <a:lnTo>
                    <a:pt x="522" y="442"/>
                  </a:lnTo>
                  <a:lnTo>
                    <a:pt x="522" y="448"/>
                  </a:lnTo>
                  <a:lnTo>
                    <a:pt x="522" y="448"/>
                  </a:lnTo>
                  <a:lnTo>
                    <a:pt x="518" y="456"/>
                  </a:lnTo>
                  <a:lnTo>
                    <a:pt x="512" y="460"/>
                  </a:lnTo>
                  <a:lnTo>
                    <a:pt x="512" y="460"/>
                  </a:lnTo>
                  <a:lnTo>
                    <a:pt x="506" y="462"/>
                  </a:lnTo>
                  <a:lnTo>
                    <a:pt x="504" y="466"/>
                  </a:lnTo>
                  <a:lnTo>
                    <a:pt x="504" y="472"/>
                  </a:lnTo>
                  <a:lnTo>
                    <a:pt x="504" y="472"/>
                  </a:lnTo>
                  <a:lnTo>
                    <a:pt x="510" y="542"/>
                  </a:lnTo>
                  <a:lnTo>
                    <a:pt x="510" y="542"/>
                  </a:lnTo>
                  <a:lnTo>
                    <a:pt x="512" y="552"/>
                  </a:lnTo>
                  <a:lnTo>
                    <a:pt x="516" y="560"/>
                  </a:lnTo>
                  <a:lnTo>
                    <a:pt x="516" y="560"/>
                  </a:lnTo>
                  <a:lnTo>
                    <a:pt x="522" y="568"/>
                  </a:lnTo>
                  <a:lnTo>
                    <a:pt x="524" y="572"/>
                  </a:lnTo>
                  <a:lnTo>
                    <a:pt x="524" y="578"/>
                  </a:lnTo>
                  <a:lnTo>
                    <a:pt x="524" y="578"/>
                  </a:lnTo>
                  <a:lnTo>
                    <a:pt x="520" y="592"/>
                  </a:lnTo>
                  <a:lnTo>
                    <a:pt x="520" y="604"/>
                  </a:lnTo>
                  <a:lnTo>
                    <a:pt x="520" y="604"/>
                  </a:lnTo>
                  <a:lnTo>
                    <a:pt x="520" y="614"/>
                  </a:lnTo>
                  <a:lnTo>
                    <a:pt x="518" y="620"/>
                  </a:lnTo>
                  <a:lnTo>
                    <a:pt x="512" y="628"/>
                  </a:lnTo>
                  <a:lnTo>
                    <a:pt x="512" y="628"/>
                  </a:lnTo>
                  <a:lnTo>
                    <a:pt x="500" y="644"/>
                  </a:lnTo>
                  <a:lnTo>
                    <a:pt x="498" y="652"/>
                  </a:lnTo>
                  <a:lnTo>
                    <a:pt x="496" y="660"/>
                  </a:lnTo>
                  <a:lnTo>
                    <a:pt x="496" y="660"/>
                  </a:lnTo>
                  <a:lnTo>
                    <a:pt x="494" y="672"/>
                  </a:lnTo>
                  <a:lnTo>
                    <a:pt x="486" y="684"/>
                  </a:lnTo>
                  <a:lnTo>
                    <a:pt x="486" y="684"/>
                  </a:lnTo>
                  <a:lnTo>
                    <a:pt x="470" y="708"/>
                  </a:lnTo>
                  <a:lnTo>
                    <a:pt x="454" y="732"/>
                  </a:lnTo>
                  <a:lnTo>
                    <a:pt x="420" y="696"/>
                  </a:lnTo>
                  <a:lnTo>
                    <a:pt x="402" y="700"/>
                  </a:lnTo>
                  <a:lnTo>
                    <a:pt x="390" y="690"/>
                  </a:lnTo>
                  <a:lnTo>
                    <a:pt x="372" y="694"/>
                  </a:lnTo>
                  <a:lnTo>
                    <a:pt x="354" y="694"/>
                  </a:lnTo>
                  <a:lnTo>
                    <a:pt x="346" y="672"/>
                  </a:lnTo>
                  <a:lnTo>
                    <a:pt x="314" y="674"/>
                  </a:lnTo>
                  <a:lnTo>
                    <a:pt x="276" y="632"/>
                  </a:lnTo>
                  <a:lnTo>
                    <a:pt x="258" y="616"/>
                  </a:lnTo>
                  <a:lnTo>
                    <a:pt x="266" y="604"/>
                  </a:lnTo>
                  <a:lnTo>
                    <a:pt x="278" y="608"/>
                  </a:lnTo>
                  <a:lnTo>
                    <a:pt x="294" y="568"/>
                  </a:lnTo>
                  <a:lnTo>
                    <a:pt x="288" y="556"/>
                  </a:lnTo>
                  <a:lnTo>
                    <a:pt x="272" y="560"/>
                  </a:lnTo>
                  <a:lnTo>
                    <a:pt x="254" y="536"/>
                  </a:lnTo>
                  <a:lnTo>
                    <a:pt x="258" y="510"/>
                  </a:lnTo>
                  <a:lnTo>
                    <a:pt x="256" y="496"/>
                  </a:lnTo>
                  <a:lnTo>
                    <a:pt x="242" y="490"/>
                  </a:lnTo>
                  <a:lnTo>
                    <a:pt x="234" y="498"/>
                  </a:lnTo>
                  <a:lnTo>
                    <a:pt x="214" y="494"/>
                  </a:lnTo>
                  <a:lnTo>
                    <a:pt x="212" y="484"/>
                  </a:lnTo>
                  <a:lnTo>
                    <a:pt x="186" y="480"/>
                  </a:lnTo>
                  <a:lnTo>
                    <a:pt x="160" y="464"/>
                  </a:lnTo>
                  <a:lnTo>
                    <a:pt x="126" y="480"/>
                  </a:lnTo>
                  <a:lnTo>
                    <a:pt x="120" y="492"/>
                  </a:lnTo>
                  <a:lnTo>
                    <a:pt x="104" y="496"/>
                  </a:lnTo>
                  <a:lnTo>
                    <a:pt x="94" y="488"/>
                  </a:lnTo>
                  <a:lnTo>
                    <a:pt x="74" y="494"/>
                  </a:lnTo>
                  <a:lnTo>
                    <a:pt x="70" y="502"/>
                  </a:lnTo>
                  <a:lnTo>
                    <a:pt x="52" y="502"/>
                  </a:lnTo>
                  <a:lnTo>
                    <a:pt x="36" y="488"/>
                  </a:lnTo>
                  <a:lnTo>
                    <a:pt x="24" y="488"/>
                  </a:lnTo>
                  <a:lnTo>
                    <a:pt x="26" y="480"/>
                  </a:lnTo>
                  <a:lnTo>
                    <a:pt x="38" y="442"/>
                  </a:lnTo>
                  <a:lnTo>
                    <a:pt x="58" y="436"/>
                  </a:lnTo>
                  <a:lnTo>
                    <a:pt x="64" y="406"/>
                  </a:lnTo>
                  <a:lnTo>
                    <a:pt x="42" y="386"/>
                  </a:lnTo>
                  <a:lnTo>
                    <a:pt x="26" y="390"/>
                  </a:lnTo>
                  <a:lnTo>
                    <a:pt x="0" y="330"/>
                  </a:lnTo>
                  <a:lnTo>
                    <a:pt x="8" y="284"/>
                  </a:lnTo>
                  <a:lnTo>
                    <a:pt x="20" y="252"/>
                  </a:lnTo>
                  <a:lnTo>
                    <a:pt x="46" y="240"/>
                  </a:lnTo>
                  <a:lnTo>
                    <a:pt x="44" y="230"/>
                  </a:lnTo>
                  <a:lnTo>
                    <a:pt x="56" y="22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4126"/>
              <a:endParaRPr lang="de-DE" sz="1799" dirty="0">
                <a:solidFill>
                  <a:srgbClr val="3B3B3B"/>
                </a:solidFill>
                <a:latin typeface="EnBW DIN Pro"/>
              </a:endParaRPr>
            </a:p>
          </p:txBody>
        </p:sp>
        <p:sp>
          <p:nvSpPr>
            <p:cNvPr id="41" name="Freeform 36">
              <a:extLst>
                <a:ext uri="{FF2B5EF4-FFF2-40B4-BE49-F238E27FC236}">
                  <a16:creationId xmlns:a16="http://schemas.microsoft.com/office/drawing/2014/main" id="{76BA1647-8D78-436C-AA99-2BCE1C28E06E}"/>
                </a:ext>
              </a:extLst>
            </p:cNvPr>
            <p:cNvSpPr>
              <a:spLocks/>
            </p:cNvSpPr>
            <p:nvPr/>
          </p:nvSpPr>
          <p:spPr bwMode="gray">
            <a:xfrm>
              <a:off x="1980" y="1953"/>
              <a:ext cx="784" cy="792"/>
            </a:xfrm>
            <a:custGeom>
              <a:avLst/>
              <a:gdLst>
                <a:gd name="T0" fmla="*/ 380 w 784"/>
                <a:gd name="T1" fmla="*/ 62 h 792"/>
                <a:gd name="T2" fmla="*/ 378 w 784"/>
                <a:gd name="T3" fmla="*/ 20 h 792"/>
                <a:gd name="T4" fmla="*/ 426 w 784"/>
                <a:gd name="T5" fmla="*/ 26 h 792"/>
                <a:gd name="T6" fmla="*/ 486 w 784"/>
                <a:gd name="T7" fmla="*/ 48 h 792"/>
                <a:gd name="T8" fmla="*/ 472 w 784"/>
                <a:gd name="T9" fmla="*/ 106 h 792"/>
                <a:gd name="T10" fmla="*/ 488 w 784"/>
                <a:gd name="T11" fmla="*/ 130 h 792"/>
                <a:gd name="T12" fmla="*/ 452 w 784"/>
                <a:gd name="T13" fmla="*/ 150 h 792"/>
                <a:gd name="T14" fmla="*/ 496 w 784"/>
                <a:gd name="T15" fmla="*/ 158 h 792"/>
                <a:gd name="T16" fmla="*/ 542 w 784"/>
                <a:gd name="T17" fmla="*/ 146 h 792"/>
                <a:gd name="T18" fmla="*/ 598 w 784"/>
                <a:gd name="T19" fmla="*/ 130 h 792"/>
                <a:gd name="T20" fmla="*/ 586 w 784"/>
                <a:gd name="T21" fmla="*/ 72 h 792"/>
                <a:gd name="T22" fmla="*/ 552 w 784"/>
                <a:gd name="T23" fmla="*/ 28 h 792"/>
                <a:gd name="T24" fmla="*/ 582 w 784"/>
                <a:gd name="T25" fmla="*/ 18 h 792"/>
                <a:gd name="T26" fmla="*/ 622 w 784"/>
                <a:gd name="T27" fmla="*/ 4 h 792"/>
                <a:gd name="T28" fmla="*/ 638 w 784"/>
                <a:gd name="T29" fmla="*/ 48 h 792"/>
                <a:gd name="T30" fmla="*/ 692 w 784"/>
                <a:gd name="T31" fmla="*/ 40 h 792"/>
                <a:gd name="T32" fmla="*/ 740 w 784"/>
                <a:gd name="T33" fmla="*/ 16 h 792"/>
                <a:gd name="T34" fmla="*/ 732 w 784"/>
                <a:gd name="T35" fmla="*/ 68 h 792"/>
                <a:gd name="T36" fmla="*/ 734 w 784"/>
                <a:gd name="T37" fmla="*/ 120 h 792"/>
                <a:gd name="T38" fmla="*/ 714 w 784"/>
                <a:gd name="T39" fmla="*/ 168 h 792"/>
                <a:gd name="T40" fmla="*/ 746 w 784"/>
                <a:gd name="T41" fmla="*/ 206 h 792"/>
                <a:gd name="T42" fmla="*/ 776 w 784"/>
                <a:gd name="T43" fmla="*/ 248 h 792"/>
                <a:gd name="T44" fmla="*/ 784 w 784"/>
                <a:gd name="T45" fmla="*/ 284 h 792"/>
                <a:gd name="T46" fmla="*/ 758 w 784"/>
                <a:gd name="T47" fmla="*/ 352 h 792"/>
                <a:gd name="T48" fmla="*/ 714 w 784"/>
                <a:gd name="T49" fmla="*/ 408 h 792"/>
                <a:gd name="T50" fmla="*/ 670 w 784"/>
                <a:gd name="T51" fmla="*/ 398 h 792"/>
                <a:gd name="T52" fmla="*/ 622 w 784"/>
                <a:gd name="T53" fmla="*/ 432 h 792"/>
                <a:gd name="T54" fmla="*/ 630 w 784"/>
                <a:gd name="T55" fmla="*/ 462 h 792"/>
                <a:gd name="T56" fmla="*/ 626 w 784"/>
                <a:gd name="T57" fmla="*/ 502 h 792"/>
                <a:gd name="T58" fmla="*/ 586 w 784"/>
                <a:gd name="T59" fmla="*/ 512 h 792"/>
                <a:gd name="T60" fmla="*/ 568 w 784"/>
                <a:gd name="T61" fmla="*/ 554 h 792"/>
                <a:gd name="T62" fmla="*/ 528 w 784"/>
                <a:gd name="T63" fmla="*/ 592 h 792"/>
                <a:gd name="T64" fmla="*/ 494 w 784"/>
                <a:gd name="T65" fmla="*/ 656 h 792"/>
                <a:gd name="T66" fmla="*/ 468 w 784"/>
                <a:gd name="T67" fmla="*/ 616 h 792"/>
                <a:gd name="T68" fmla="*/ 440 w 784"/>
                <a:gd name="T69" fmla="*/ 596 h 792"/>
                <a:gd name="T70" fmla="*/ 414 w 784"/>
                <a:gd name="T71" fmla="*/ 568 h 792"/>
                <a:gd name="T72" fmla="*/ 394 w 784"/>
                <a:gd name="T73" fmla="*/ 608 h 792"/>
                <a:gd name="T74" fmla="*/ 358 w 784"/>
                <a:gd name="T75" fmla="*/ 644 h 792"/>
                <a:gd name="T76" fmla="*/ 330 w 784"/>
                <a:gd name="T77" fmla="*/ 670 h 792"/>
                <a:gd name="T78" fmla="*/ 228 w 784"/>
                <a:gd name="T79" fmla="*/ 706 h 792"/>
                <a:gd name="T80" fmla="*/ 198 w 784"/>
                <a:gd name="T81" fmla="*/ 740 h 792"/>
                <a:gd name="T82" fmla="*/ 186 w 784"/>
                <a:gd name="T83" fmla="*/ 782 h 792"/>
                <a:gd name="T84" fmla="*/ 128 w 784"/>
                <a:gd name="T85" fmla="*/ 776 h 792"/>
                <a:gd name="T86" fmla="*/ 96 w 784"/>
                <a:gd name="T87" fmla="*/ 768 h 792"/>
                <a:gd name="T88" fmla="*/ 78 w 784"/>
                <a:gd name="T89" fmla="*/ 746 h 792"/>
                <a:gd name="T90" fmla="*/ 36 w 784"/>
                <a:gd name="T91" fmla="*/ 662 h 792"/>
                <a:gd name="T92" fmla="*/ 42 w 784"/>
                <a:gd name="T93" fmla="*/ 608 h 792"/>
                <a:gd name="T94" fmla="*/ 0 w 784"/>
                <a:gd name="T95" fmla="*/ 564 h 792"/>
                <a:gd name="T96" fmla="*/ 78 w 784"/>
                <a:gd name="T97" fmla="*/ 498 h 792"/>
                <a:gd name="T98" fmla="*/ 96 w 784"/>
                <a:gd name="T99" fmla="*/ 404 h 792"/>
                <a:gd name="T100" fmla="*/ 56 w 784"/>
                <a:gd name="T101" fmla="*/ 286 h 792"/>
                <a:gd name="T102" fmla="*/ 70 w 784"/>
                <a:gd name="T103" fmla="*/ 274 h 792"/>
                <a:gd name="T104" fmla="*/ 98 w 784"/>
                <a:gd name="T105" fmla="*/ 240 h 792"/>
                <a:gd name="T106" fmla="*/ 140 w 784"/>
                <a:gd name="T107" fmla="*/ 248 h 792"/>
                <a:gd name="T108" fmla="*/ 224 w 784"/>
                <a:gd name="T109" fmla="*/ 190 h 792"/>
                <a:gd name="T110" fmla="*/ 250 w 784"/>
                <a:gd name="T111" fmla="*/ 136 h 7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84" h="792">
                  <a:moveTo>
                    <a:pt x="292" y="98"/>
                  </a:moveTo>
                  <a:lnTo>
                    <a:pt x="326" y="98"/>
                  </a:lnTo>
                  <a:lnTo>
                    <a:pt x="380" y="62"/>
                  </a:lnTo>
                  <a:lnTo>
                    <a:pt x="376" y="50"/>
                  </a:lnTo>
                  <a:lnTo>
                    <a:pt x="394" y="28"/>
                  </a:lnTo>
                  <a:lnTo>
                    <a:pt x="378" y="20"/>
                  </a:lnTo>
                  <a:lnTo>
                    <a:pt x="396" y="0"/>
                  </a:lnTo>
                  <a:lnTo>
                    <a:pt x="422" y="12"/>
                  </a:lnTo>
                  <a:lnTo>
                    <a:pt x="426" y="26"/>
                  </a:lnTo>
                  <a:lnTo>
                    <a:pt x="450" y="38"/>
                  </a:lnTo>
                  <a:lnTo>
                    <a:pt x="466" y="36"/>
                  </a:lnTo>
                  <a:lnTo>
                    <a:pt x="486" y="48"/>
                  </a:lnTo>
                  <a:lnTo>
                    <a:pt x="488" y="62"/>
                  </a:lnTo>
                  <a:lnTo>
                    <a:pt x="466" y="96"/>
                  </a:lnTo>
                  <a:lnTo>
                    <a:pt x="472" y="106"/>
                  </a:lnTo>
                  <a:lnTo>
                    <a:pt x="492" y="106"/>
                  </a:lnTo>
                  <a:lnTo>
                    <a:pt x="498" y="130"/>
                  </a:lnTo>
                  <a:lnTo>
                    <a:pt x="488" y="130"/>
                  </a:lnTo>
                  <a:lnTo>
                    <a:pt x="482" y="140"/>
                  </a:lnTo>
                  <a:lnTo>
                    <a:pt x="468" y="140"/>
                  </a:lnTo>
                  <a:lnTo>
                    <a:pt x="452" y="150"/>
                  </a:lnTo>
                  <a:lnTo>
                    <a:pt x="456" y="168"/>
                  </a:lnTo>
                  <a:lnTo>
                    <a:pt x="474" y="168"/>
                  </a:lnTo>
                  <a:lnTo>
                    <a:pt x="496" y="158"/>
                  </a:lnTo>
                  <a:lnTo>
                    <a:pt x="506" y="162"/>
                  </a:lnTo>
                  <a:lnTo>
                    <a:pt x="534" y="158"/>
                  </a:lnTo>
                  <a:lnTo>
                    <a:pt x="542" y="146"/>
                  </a:lnTo>
                  <a:lnTo>
                    <a:pt x="554" y="140"/>
                  </a:lnTo>
                  <a:lnTo>
                    <a:pt x="574" y="150"/>
                  </a:lnTo>
                  <a:lnTo>
                    <a:pt x="598" y="130"/>
                  </a:lnTo>
                  <a:lnTo>
                    <a:pt x="596" y="120"/>
                  </a:lnTo>
                  <a:lnTo>
                    <a:pt x="582" y="116"/>
                  </a:lnTo>
                  <a:lnTo>
                    <a:pt x="586" y="72"/>
                  </a:lnTo>
                  <a:lnTo>
                    <a:pt x="562" y="46"/>
                  </a:lnTo>
                  <a:lnTo>
                    <a:pt x="548" y="44"/>
                  </a:lnTo>
                  <a:lnTo>
                    <a:pt x="552" y="28"/>
                  </a:lnTo>
                  <a:lnTo>
                    <a:pt x="566" y="32"/>
                  </a:lnTo>
                  <a:lnTo>
                    <a:pt x="580" y="26"/>
                  </a:lnTo>
                  <a:lnTo>
                    <a:pt x="582" y="18"/>
                  </a:lnTo>
                  <a:lnTo>
                    <a:pt x="592" y="12"/>
                  </a:lnTo>
                  <a:lnTo>
                    <a:pt x="604" y="14"/>
                  </a:lnTo>
                  <a:lnTo>
                    <a:pt x="622" y="4"/>
                  </a:lnTo>
                  <a:lnTo>
                    <a:pt x="630" y="10"/>
                  </a:lnTo>
                  <a:lnTo>
                    <a:pt x="634" y="40"/>
                  </a:lnTo>
                  <a:lnTo>
                    <a:pt x="638" y="48"/>
                  </a:lnTo>
                  <a:lnTo>
                    <a:pt x="670" y="42"/>
                  </a:lnTo>
                  <a:lnTo>
                    <a:pt x="680" y="44"/>
                  </a:lnTo>
                  <a:lnTo>
                    <a:pt x="692" y="40"/>
                  </a:lnTo>
                  <a:lnTo>
                    <a:pt x="692" y="30"/>
                  </a:lnTo>
                  <a:lnTo>
                    <a:pt x="720" y="4"/>
                  </a:lnTo>
                  <a:lnTo>
                    <a:pt x="740" y="16"/>
                  </a:lnTo>
                  <a:lnTo>
                    <a:pt x="734" y="30"/>
                  </a:lnTo>
                  <a:lnTo>
                    <a:pt x="738" y="40"/>
                  </a:lnTo>
                  <a:lnTo>
                    <a:pt x="732" y="68"/>
                  </a:lnTo>
                  <a:lnTo>
                    <a:pt x="718" y="76"/>
                  </a:lnTo>
                  <a:lnTo>
                    <a:pt x="706" y="116"/>
                  </a:lnTo>
                  <a:lnTo>
                    <a:pt x="734" y="120"/>
                  </a:lnTo>
                  <a:lnTo>
                    <a:pt x="732" y="144"/>
                  </a:lnTo>
                  <a:lnTo>
                    <a:pt x="712" y="140"/>
                  </a:lnTo>
                  <a:lnTo>
                    <a:pt x="714" y="168"/>
                  </a:lnTo>
                  <a:lnTo>
                    <a:pt x="736" y="174"/>
                  </a:lnTo>
                  <a:lnTo>
                    <a:pt x="752" y="190"/>
                  </a:lnTo>
                  <a:lnTo>
                    <a:pt x="746" y="206"/>
                  </a:lnTo>
                  <a:lnTo>
                    <a:pt x="748" y="228"/>
                  </a:lnTo>
                  <a:lnTo>
                    <a:pt x="762" y="224"/>
                  </a:lnTo>
                  <a:lnTo>
                    <a:pt x="776" y="248"/>
                  </a:lnTo>
                  <a:lnTo>
                    <a:pt x="768" y="264"/>
                  </a:lnTo>
                  <a:lnTo>
                    <a:pt x="782" y="268"/>
                  </a:lnTo>
                  <a:lnTo>
                    <a:pt x="784" y="284"/>
                  </a:lnTo>
                  <a:lnTo>
                    <a:pt x="774" y="306"/>
                  </a:lnTo>
                  <a:lnTo>
                    <a:pt x="772" y="344"/>
                  </a:lnTo>
                  <a:lnTo>
                    <a:pt x="758" y="352"/>
                  </a:lnTo>
                  <a:lnTo>
                    <a:pt x="766" y="364"/>
                  </a:lnTo>
                  <a:lnTo>
                    <a:pt x="732" y="408"/>
                  </a:lnTo>
                  <a:lnTo>
                    <a:pt x="714" y="408"/>
                  </a:lnTo>
                  <a:lnTo>
                    <a:pt x="710" y="394"/>
                  </a:lnTo>
                  <a:lnTo>
                    <a:pt x="690" y="386"/>
                  </a:lnTo>
                  <a:lnTo>
                    <a:pt x="670" y="398"/>
                  </a:lnTo>
                  <a:lnTo>
                    <a:pt x="678" y="414"/>
                  </a:lnTo>
                  <a:lnTo>
                    <a:pt x="670" y="432"/>
                  </a:lnTo>
                  <a:lnTo>
                    <a:pt x="622" y="432"/>
                  </a:lnTo>
                  <a:lnTo>
                    <a:pt x="600" y="460"/>
                  </a:lnTo>
                  <a:lnTo>
                    <a:pt x="610" y="474"/>
                  </a:lnTo>
                  <a:lnTo>
                    <a:pt x="630" y="462"/>
                  </a:lnTo>
                  <a:lnTo>
                    <a:pt x="640" y="466"/>
                  </a:lnTo>
                  <a:lnTo>
                    <a:pt x="636" y="494"/>
                  </a:lnTo>
                  <a:lnTo>
                    <a:pt x="626" y="502"/>
                  </a:lnTo>
                  <a:lnTo>
                    <a:pt x="628" y="512"/>
                  </a:lnTo>
                  <a:lnTo>
                    <a:pt x="622" y="518"/>
                  </a:lnTo>
                  <a:lnTo>
                    <a:pt x="586" y="512"/>
                  </a:lnTo>
                  <a:lnTo>
                    <a:pt x="574" y="526"/>
                  </a:lnTo>
                  <a:lnTo>
                    <a:pt x="580" y="538"/>
                  </a:lnTo>
                  <a:lnTo>
                    <a:pt x="568" y="554"/>
                  </a:lnTo>
                  <a:lnTo>
                    <a:pt x="566" y="578"/>
                  </a:lnTo>
                  <a:lnTo>
                    <a:pt x="544" y="596"/>
                  </a:lnTo>
                  <a:lnTo>
                    <a:pt x="528" y="592"/>
                  </a:lnTo>
                  <a:lnTo>
                    <a:pt x="500" y="620"/>
                  </a:lnTo>
                  <a:lnTo>
                    <a:pt x="504" y="642"/>
                  </a:lnTo>
                  <a:lnTo>
                    <a:pt x="494" y="656"/>
                  </a:lnTo>
                  <a:lnTo>
                    <a:pt x="486" y="656"/>
                  </a:lnTo>
                  <a:lnTo>
                    <a:pt x="468" y="632"/>
                  </a:lnTo>
                  <a:lnTo>
                    <a:pt x="468" y="616"/>
                  </a:lnTo>
                  <a:lnTo>
                    <a:pt x="456" y="602"/>
                  </a:lnTo>
                  <a:lnTo>
                    <a:pt x="448" y="602"/>
                  </a:lnTo>
                  <a:lnTo>
                    <a:pt x="440" y="596"/>
                  </a:lnTo>
                  <a:lnTo>
                    <a:pt x="444" y="580"/>
                  </a:lnTo>
                  <a:lnTo>
                    <a:pt x="426" y="562"/>
                  </a:lnTo>
                  <a:lnTo>
                    <a:pt x="414" y="568"/>
                  </a:lnTo>
                  <a:lnTo>
                    <a:pt x="418" y="586"/>
                  </a:lnTo>
                  <a:lnTo>
                    <a:pt x="414" y="598"/>
                  </a:lnTo>
                  <a:lnTo>
                    <a:pt x="394" y="608"/>
                  </a:lnTo>
                  <a:lnTo>
                    <a:pt x="396" y="620"/>
                  </a:lnTo>
                  <a:lnTo>
                    <a:pt x="386" y="634"/>
                  </a:lnTo>
                  <a:lnTo>
                    <a:pt x="358" y="644"/>
                  </a:lnTo>
                  <a:lnTo>
                    <a:pt x="348" y="640"/>
                  </a:lnTo>
                  <a:lnTo>
                    <a:pt x="336" y="644"/>
                  </a:lnTo>
                  <a:lnTo>
                    <a:pt x="330" y="670"/>
                  </a:lnTo>
                  <a:lnTo>
                    <a:pt x="298" y="682"/>
                  </a:lnTo>
                  <a:lnTo>
                    <a:pt x="288" y="680"/>
                  </a:lnTo>
                  <a:lnTo>
                    <a:pt x="228" y="706"/>
                  </a:lnTo>
                  <a:lnTo>
                    <a:pt x="216" y="724"/>
                  </a:lnTo>
                  <a:lnTo>
                    <a:pt x="220" y="734"/>
                  </a:lnTo>
                  <a:lnTo>
                    <a:pt x="198" y="740"/>
                  </a:lnTo>
                  <a:lnTo>
                    <a:pt x="192" y="734"/>
                  </a:lnTo>
                  <a:lnTo>
                    <a:pt x="174" y="746"/>
                  </a:lnTo>
                  <a:lnTo>
                    <a:pt x="186" y="782"/>
                  </a:lnTo>
                  <a:lnTo>
                    <a:pt x="162" y="792"/>
                  </a:lnTo>
                  <a:lnTo>
                    <a:pt x="154" y="782"/>
                  </a:lnTo>
                  <a:lnTo>
                    <a:pt x="128" y="776"/>
                  </a:lnTo>
                  <a:lnTo>
                    <a:pt x="114" y="786"/>
                  </a:lnTo>
                  <a:lnTo>
                    <a:pt x="108" y="764"/>
                  </a:lnTo>
                  <a:lnTo>
                    <a:pt x="96" y="768"/>
                  </a:lnTo>
                  <a:lnTo>
                    <a:pt x="102" y="786"/>
                  </a:lnTo>
                  <a:lnTo>
                    <a:pt x="90" y="792"/>
                  </a:lnTo>
                  <a:lnTo>
                    <a:pt x="78" y="746"/>
                  </a:lnTo>
                  <a:lnTo>
                    <a:pt x="54" y="704"/>
                  </a:lnTo>
                  <a:lnTo>
                    <a:pt x="68" y="682"/>
                  </a:lnTo>
                  <a:lnTo>
                    <a:pt x="36" y="662"/>
                  </a:lnTo>
                  <a:lnTo>
                    <a:pt x="22" y="640"/>
                  </a:lnTo>
                  <a:lnTo>
                    <a:pt x="24" y="616"/>
                  </a:lnTo>
                  <a:lnTo>
                    <a:pt x="42" y="608"/>
                  </a:lnTo>
                  <a:lnTo>
                    <a:pt x="40" y="586"/>
                  </a:lnTo>
                  <a:lnTo>
                    <a:pt x="20" y="564"/>
                  </a:lnTo>
                  <a:lnTo>
                    <a:pt x="0" y="564"/>
                  </a:lnTo>
                  <a:lnTo>
                    <a:pt x="0" y="542"/>
                  </a:lnTo>
                  <a:lnTo>
                    <a:pt x="66" y="514"/>
                  </a:lnTo>
                  <a:lnTo>
                    <a:pt x="78" y="498"/>
                  </a:lnTo>
                  <a:lnTo>
                    <a:pt x="62" y="474"/>
                  </a:lnTo>
                  <a:lnTo>
                    <a:pt x="82" y="442"/>
                  </a:lnTo>
                  <a:lnTo>
                    <a:pt x="96" y="404"/>
                  </a:lnTo>
                  <a:lnTo>
                    <a:pt x="94" y="358"/>
                  </a:lnTo>
                  <a:lnTo>
                    <a:pt x="82" y="348"/>
                  </a:lnTo>
                  <a:lnTo>
                    <a:pt x="56" y="286"/>
                  </a:lnTo>
                  <a:lnTo>
                    <a:pt x="40" y="278"/>
                  </a:lnTo>
                  <a:lnTo>
                    <a:pt x="44" y="266"/>
                  </a:lnTo>
                  <a:lnTo>
                    <a:pt x="70" y="274"/>
                  </a:lnTo>
                  <a:lnTo>
                    <a:pt x="86" y="262"/>
                  </a:lnTo>
                  <a:lnTo>
                    <a:pt x="86" y="246"/>
                  </a:lnTo>
                  <a:lnTo>
                    <a:pt x="98" y="240"/>
                  </a:lnTo>
                  <a:lnTo>
                    <a:pt x="120" y="264"/>
                  </a:lnTo>
                  <a:lnTo>
                    <a:pt x="134" y="264"/>
                  </a:lnTo>
                  <a:lnTo>
                    <a:pt x="140" y="248"/>
                  </a:lnTo>
                  <a:lnTo>
                    <a:pt x="212" y="240"/>
                  </a:lnTo>
                  <a:lnTo>
                    <a:pt x="236" y="208"/>
                  </a:lnTo>
                  <a:lnTo>
                    <a:pt x="224" y="190"/>
                  </a:lnTo>
                  <a:lnTo>
                    <a:pt x="234" y="154"/>
                  </a:lnTo>
                  <a:lnTo>
                    <a:pt x="250" y="152"/>
                  </a:lnTo>
                  <a:lnTo>
                    <a:pt x="250" y="136"/>
                  </a:lnTo>
                  <a:lnTo>
                    <a:pt x="292" y="98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4126"/>
              <a:endParaRPr lang="de-DE" sz="1799" dirty="0">
                <a:solidFill>
                  <a:srgbClr val="3B3B3B"/>
                </a:solidFill>
                <a:latin typeface="EnBW DIN Pro"/>
              </a:endParaRPr>
            </a:p>
          </p:txBody>
        </p:sp>
        <p:sp>
          <p:nvSpPr>
            <p:cNvPr id="42" name="Freeform 37">
              <a:extLst>
                <a:ext uri="{FF2B5EF4-FFF2-40B4-BE49-F238E27FC236}">
                  <a16:creationId xmlns:a16="http://schemas.microsoft.com/office/drawing/2014/main" id="{66BF01EE-AD1F-4EAA-B74D-3ABE3556DFC2}"/>
                </a:ext>
              </a:extLst>
            </p:cNvPr>
            <p:cNvSpPr>
              <a:spLocks/>
            </p:cNvSpPr>
            <p:nvPr/>
          </p:nvSpPr>
          <p:spPr bwMode="gray">
            <a:xfrm>
              <a:off x="2382" y="2293"/>
              <a:ext cx="560" cy="786"/>
            </a:xfrm>
            <a:custGeom>
              <a:avLst/>
              <a:gdLst>
                <a:gd name="T0" fmla="*/ 98 w 560"/>
                <a:gd name="T1" fmla="*/ 280 h 786"/>
                <a:gd name="T2" fmla="*/ 164 w 560"/>
                <a:gd name="T3" fmla="*/ 238 h 786"/>
                <a:gd name="T4" fmla="*/ 172 w 560"/>
                <a:gd name="T5" fmla="*/ 186 h 786"/>
                <a:gd name="T6" fmla="*/ 226 w 560"/>
                <a:gd name="T7" fmla="*/ 172 h 786"/>
                <a:gd name="T8" fmla="*/ 238 w 560"/>
                <a:gd name="T9" fmla="*/ 126 h 786"/>
                <a:gd name="T10" fmla="*/ 198 w 560"/>
                <a:gd name="T11" fmla="*/ 120 h 786"/>
                <a:gd name="T12" fmla="*/ 276 w 560"/>
                <a:gd name="T13" fmla="*/ 74 h 786"/>
                <a:gd name="T14" fmla="*/ 308 w 560"/>
                <a:gd name="T15" fmla="*/ 54 h 786"/>
                <a:gd name="T16" fmla="*/ 364 w 560"/>
                <a:gd name="T17" fmla="*/ 24 h 786"/>
                <a:gd name="T18" fmla="*/ 380 w 560"/>
                <a:gd name="T19" fmla="*/ 8 h 786"/>
                <a:gd name="T20" fmla="*/ 440 w 560"/>
                <a:gd name="T21" fmla="*/ 0 h 786"/>
                <a:gd name="T22" fmla="*/ 432 w 560"/>
                <a:gd name="T23" fmla="*/ 40 h 786"/>
                <a:gd name="T24" fmla="*/ 434 w 560"/>
                <a:gd name="T25" fmla="*/ 82 h 786"/>
                <a:gd name="T26" fmla="*/ 424 w 560"/>
                <a:gd name="T27" fmla="*/ 116 h 786"/>
                <a:gd name="T28" fmla="*/ 456 w 560"/>
                <a:gd name="T29" fmla="*/ 110 h 786"/>
                <a:gd name="T30" fmla="*/ 458 w 560"/>
                <a:gd name="T31" fmla="*/ 82 h 786"/>
                <a:gd name="T32" fmla="*/ 478 w 560"/>
                <a:gd name="T33" fmla="*/ 78 h 786"/>
                <a:gd name="T34" fmla="*/ 510 w 560"/>
                <a:gd name="T35" fmla="*/ 124 h 786"/>
                <a:gd name="T36" fmla="*/ 546 w 560"/>
                <a:gd name="T37" fmla="*/ 174 h 786"/>
                <a:gd name="T38" fmla="*/ 538 w 560"/>
                <a:gd name="T39" fmla="*/ 218 h 786"/>
                <a:gd name="T40" fmla="*/ 494 w 560"/>
                <a:gd name="T41" fmla="*/ 250 h 786"/>
                <a:gd name="T42" fmla="*/ 524 w 560"/>
                <a:gd name="T43" fmla="*/ 270 h 786"/>
                <a:gd name="T44" fmla="*/ 496 w 560"/>
                <a:gd name="T45" fmla="*/ 340 h 786"/>
                <a:gd name="T46" fmla="*/ 536 w 560"/>
                <a:gd name="T47" fmla="*/ 346 h 786"/>
                <a:gd name="T48" fmla="*/ 520 w 560"/>
                <a:gd name="T49" fmla="*/ 436 h 786"/>
                <a:gd name="T50" fmla="*/ 466 w 560"/>
                <a:gd name="T51" fmla="*/ 438 h 786"/>
                <a:gd name="T52" fmla="*/ 412 w 560"/>
                <a:gd name="T53" fmla="*/ 486 h 786"/>
                <a:gd name="T54" fmla="*/ 384 w 560"/>
                <a:gd name="T55" fmla="*/ 536 h 786"/>
                <a:gd name="T56" fmla="*/ 330 w 560"/>
                <a:gd name="T57" fmla="*/ 536 h 786"/>
                <a:gd name="T58" fmla="*/ 290 w 560"/>
                <a:gd name="T59" fmla="*/ 540 h 786"/>
                <a:gd name="T60" fmla="*/ 280 w 560"/>
                <a:gd name="T61" fmla="*/ 590 h 786"/>
                <a:gd name="T62" fmla="*/ 298 w 560"/>
                <a:gd name="T63" fmla="*/ 668 h 786"/>
                <a:gd name="T64" fmla="*/ 300 w 560"/>
                <a:gd name="T65" fmla="*/ 722 h 786"/>
                <a:gd name="T66" fmla="*/ 280 w 560"/>
                <a:gd name="T67" fmla="*/ 736 h 786"/>
                <a:gd name="T68" fmla="*/ 264 w 560"/>
                <a:gd name="T69" fmla="*/ 770 h 786"/>
                <a:gd name="T70" fmla="*/ 232 w 560"/>
                <a:gd name="T71" fmla="*/ 778 h 786"/>
                <a:gd name="T72" fmla="*/ 254 w 560"/>
                <a:gd name="T73" fmla="*/ 734 h 786"/>
                <a:gd name="T74" fmla="*/ 200 w 560"/>
                <a:gd name="T75" fmla="*/ 706 h 786"/>
                <a:gd name="T76" fmla="*/ 192 w 560"/>
                <a:gd name="T77" fmla="*/ 738 h 786"/>
                <a:gd name="T78" fmla="*/ 150 w 560"/>
                <a:gd name="T79" fmla="*/ 710 h 786"/>
                <a:gd name="T80" fmla="*/ 148 w 560"/>
                <a:gd name="T81" fmla="*/ 688 h 786"/>
                <a:gd name="T82" fmla="*/ 156 w 560"/>
                <a:gd name="T83" fmla="*/ 682 h 786"/>
                <a:gd name="T84" fmla="*/ 166 w 560"/>
                <a:gd name="T85" fmla="*/ 670 h 786"/>
                <a:gd name="T86" fmla="*/ 158 w 560"/>
                <a:gd name="T87" fmla="*/ 648 h 786"/>
                <a:gd name="T88" fmla="*/ 148 w 560"/>
                <a:gd name="T89" fmla="*/ 628 h 786"/>
                <a:gd name="T90" fmla="*/ 144 w 560"/>
                <a:gd name="T91" fmla="*/ 598 h 786"/>
                <a:gd name="T92" fmla="*/ 136 w 560"/>
                <a:gd name="T93" fmla="*/ 566 h 786"/>
                <a:gd name="T94" fmla="*/ 124 w 560"/>
                <a:gd name="T95" fmla="*/ 550 h 786"/>
                <a:gd name="T96" fmla="*/ 98 w 560"/>
                <a:gd name="T97" fmla="*/ 548 h 786"/>
                <a:gd name="T98" fmla="*/ 48 w 560"/>
                <a:gd name="T99" fmla="*/ 570 h 786"/>
                <a:gd name="T100" fmla="*/ 30 w 560"/>
                <a:gd name="T101" fmla="*/ 570 h 786"/>
                <a:gd name="T102" fmla="*/ 16 w 560"/>
                <a:gd name="T103" fmla="*/ 558 h 786"/>
                <a:gd name="T104" fmla="*/ 28 w 560"/>
                <a:gd name="T105" fmla="*/ 514 h 786"/>
                <a:gd name="T106" fmla="*/ 38 w 560"/>
                <a:gd name="T107" fmla="*/ 498 h 786"/>
                <a:gd name="T108" fmla="*/ 78 w 560"/>
                <a:gd name="T109" fmla="*/ 474 h 786"/>
                <a:gd name="T110" fmla="*/ 94 w 560"/>
                <a:gd name="T111" fmla="*/ 462 h 786"/>
                <a:gd name="T112" fmla="*/ 64 w 560"/>
                <a:gd name="T113" fmla="*/ 424 h 786"/>
                <a:gd name="T114" fmla="*/ 56 w 560"/>
                <a:gd name="T115" fmla="*/ 386 h 786"/>
                <a:gd name="T116" fmla="*/ 84 w 560"/>
                <a:gd name="T117" fmla="*/ 372 h 786"/>
                <a:gd name="T118" fmla="*/ 92 w 560"/>
                <a:gd name="T119" fmla="*/ 332 h 7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60" h="786">
                  <a:moveTo>
                    <a:pt x="92" y="316"/>
                  </a:moveTo>
                  <a:lnTo>
                    <a:pt x="102" y="302"/>
                  </a:lnTo>
                  <a:lnTo>
                    <a:pt x="98" y="280"/>
                  </a:lnTo>
                  <a:lnTo>
                    <a:pt x="126" y="252"/>
                  </a:lnTo>
                  <a:lnTo>
                    <a:pt x="142" y="256"/>
                  </a:lnTo>
                  <a:lnTo>
                    <a:pt x="164" y="238"/>
                  </a:lnTo>
                  <a:lnTo>
                    <a:pt x="166" y="214"/>
                  </a:lnTo>
                  <a:lnTo>
                    <a:pt x="178" y="198"/>
                  </a:lnTo>
                  <a:lnTo>
                    <a:pt x="172" y="186"/>
                  </a:lnTo>
                  <a:lnTo>
                    <a:pt x="184" y="172"/>
                  </a:lnTo>
                  <a:lnTo>
                    <a:pt x="220" y="178"/>
                  </a:lnTo>
                  <a:lnTo>
                    <a:pt x="226" y="172"/>
                  </a:lnTo>
                  <a:lnTo>
                    <a:pt x="224" y="162"/>
                  </a:lnTo>
                  <a:lnTo>
                    <a:pt x="234" y="154"/>
                  </a:lnTo>
                  <a:lnTo>
                    <a:pt x="238" y="126"/>
                  </a:lnTo>
                  <a:lnTo>
                    <a:pt x="228" y="122"/>
                  </a:lnTo>
                  <a:lnTo>
                    <a:pt x="208" y="134"/>
                  </a:lnTo>
                  <a:lnTo>
                    <a:pt x="198" y="120"/>
                  </a:lnTo>
                  <a:lnTo>
                    <a:pt x="220" y="92"/>
                  </a:lnTo>
                  <a:lnTo>
                    <a:pt x="268" y="92"/>
                  </a:lnTo>
                  <a:lnTo>
                    <a:pt x="276" y="74"/>
                  </a:lnTo>
                  <a:lnTo>
                    <a:pt x="268" y="58"/>
                  </a:lnTo>
                  <a:lnTo>
                    <a:pt x="288" y="46"/>
                  </a:lnTo>
                  <a:lnTo>
                    <a:pt x="308" y="54"/>
                  </a:lnTo>
                  <a:lnTo>
                    <a:pt x="312" y="68"/>
                  </a:lnTo>
                  <a:lnTo>
                    <a:pt x="330" y="68"/>
                  </a:lnTo>
                  <a:lnTo>
                    <a:pt x="364" y="24"/>
                  </a:lnTo>
                  <a:lnTo>
                    <a:pt x="356" y="12"/>
                  </a:lnTo>
                  <a:lnTo>
                    <a:pt x="368" y="4"/>
                  </a:lnTo>
                  <a:lnTo>
                    <a:pt x="380" y="8"/>
                  </a:lnTo>
                  <a:lnTo>
                    <a:pt x="396" y="6"/>
                  </a:lnTo>
                  <a:lnTo>
                    <a:pt x="410" y="10"/>
                  </a:lnTo>
                  <a:lnTo>
                    <a:pt x="440" y="0"/>
                  </a:lnTo>
                  <a:lnTo>
                    <a:pt x="446" y="26"/>
                  </a:lnTo>
                  <a:lnTo>
                    <a:pt x="440" y="36"/>
                  </a:lnTo>
                  <a:lnTo>
                    <a:pt x="432" y="40"/>
                  </a:lnTo>
                  <a:lnTo>
                    <a:pt x="428" y="56"/>
                  </a:lnTo>
                  <a:lnTo>
                    <a:pt x="438" y="72"/>
                  </a:lnTo>
                  <a:lnTo>
                    <a:pt x="434" y="82"/>
                  </a:lnTo>
                  <a:lnTo>
                    <a:pt x="424" y="82"/>
                  </a:lnTo>
                  <a:lnTo>
                    <a:pt x="408" y="96"/>
                  </a:lnTo>
                  <a:lnTo>
                    <a:pt x="424" y="116"/>
                  </a:lnTo>
                  <a:lnTo>
                    <a:pt x="458" y="124"/>
                  </a:lnTo>
                  <a:lnTo>
                    <a:pt x="462" y="120"/>
                  </a:lnTo>
                  <a:lnTo>
                    <a:pt x="456" y="110"/>
                  </a:lnTo>
                  <a:lnTo>
                    <a:pt x="442" y="106"/>
                  </a:lnTo>
                  <a:lnTo>
                    <a:pt x="432" y="94"/>
                  </a:lnTo>
                  <a:lnTo>
                    <a:pt x="458" y="82"/>
                  </a:lnTo>
                  <a:lnTo>
                    <a:pt x="476" y="92"/>
                  </a:lnTo>
                  <a:lnTo>
                    <a:pt x="480" y="90"/>
                  </a:lnTo>
                  <a:lnTo>
                    <a:pt x="478" y="78"/>
                  </a:lnTo>
                  <a:lnTo>
                    <a:pt x="492" y="74"/>
                  </a:lnTo>
                  <a:lnTo>
                    <a:pt x="510" y="96"/>
                  </a:lnTo>
                  <a:lnTo>
                    <a:pt x="510" y="124"/>
                  </a:lnTo>
                  <a:lnTo>
                    <a:pt x="560" y="162"/>
                  </a:lnTo>
                  <a:lnTo>
                    <a:pt x="560" y="172"/>
                  </a:lnTo>
                  <a:lnTo>
                    <a:pt x="546" y="174"/>
                  </a:lnTo>
                  <a:lnTo>
                    <a:pt x="544" y="184"/>
                  </a:lnTo>
                  <a:lnTo>
                    <a:pt x="526" y="182"/>
                  </a:lnTo>
                  <a:lnTo>
                    <a:pt x="538" y="218"/>
                  </a:lnTo>
                  <a:lnTo>
                    <a:pt x="526" y="218"/>
                  </a:lnTo>
                  <a:lnTo>
                    <a:pt x="502" y="250"/>
                  </a:lnTo>
                  <a:lnTo>
                    <a:pt x="494" y="250"/>
                  </a:lnTo>
                  <a:lnTo>
                    <a:pt x="492" y="262"/>
                  </a:lnTo>
                  <a:lnTo>
                    <a:pt x="506" y="272"/>
                  </a:lnTo>
                  <a:lnTo>
                    <a:pt x="524" y="270"/>
                  </a:lnTo>
                  <a:lnTo>
                    <a:pt x="522" y="288"/>
                  </a:lnTo>
                  <a:lnTo>
                    <a:pt x="500" y="296"/>
                  </a:lnTo>
                  <a:lnTo>
                    <a:pt x="496" y="340"/>
                  </a:lnTo>
                  <a:lnTo>
                    <a:pt x="508" y="342"/>
                  </a:lnTo>
                  <a:lnTo>
                    <a:pt x="526" y="350"/>
                  </a:lnTo>
                  <a:lnTo>
                    <a:pt x="536" y="346"/>
                  </a:lnTo>
                  <a:lnTo>
                    <a:pt x="546" y="368"/>
                  </a:lnTo>
                  <a:lnTo>
                    <a:pt x="542" y="412"/>
                  </a:lnTo>
                  <a:lnTo>
                    <a:pt x="520" y="436"/>
                  </a:lnTo>
                  <a:lnTo>
                    <a:pt x="492" y="444"/>
                  </a:lnTo>
                  <a:lnTo>
                    <a:pt x="482" y="434"/>
                  </a:lnTo>
                  <a:lnTo>
                    <a:pt x="466" y="438"/>
                  </a:lnTo>
                  <a:lnTo>
                    <a:pt x="470" y="460"/>
                  </a:lnTo>
                  <a:lnTo>
                    <a:pt x="426" y="492"/>
                  </a:lnTo>
                  <a:lnTo>
                    <a:pt x="412" y="486"/>
                  </a:lnTo>
                  <a:lnTo>
                    <a:pt x="406" y="492"/>
                  </a:lnTo>
                  <a:lnTo>
                    <a:pt x="406" y="530"/>
                  </a:lnTo>
                  <a:lnTo>
                    <a:pt x="384" y="536"/>
                  </a:lnTo>
                  <a:lnTo>
                    <a:pt x="378" y="522"/>
                  </a:lnTo>
                  <a:lnTo>
                    <a:pt x="340" y="524"/>
                  </a:lnTo>
                  <a:lnTo>
                    <a:pt x="330" y="536"/>
                  </a:lnTo>
                  <a:lnTo>
                    <a:pt x="324" y="536"/>
                  </a:lnTo>
                  <a:lnTo>
                    <a:pt x="314" y="526"/>
                  </a:lnTo>
                  <a:lnTo>
                    <a:pt x="290" y="540"/>
                  </a:lnTo>
                  <a:lnTo>
                    <a:pt x="286" y="554"/>
                  </a:lnTo>
                  <a:lnTo>
                    <a:pt x="298" y="576"/>
                  </a:lnTo>
                  <a:lnTo>
                    <a:pt x="280" y="590"/>
                  </a:lnTo>
                  <a:lnTo>
                    <a:pt x="280" y="626"/>
                  </a:lnTo>
                  <a:lnTo>
                    <a:pt x="298" y="652"/>
                  </a:lnTo>
                  <a:lnTo>
                    <a:pt x="298" y="668"/>
                  </a:lnTo>
                  <a:lnTo>
                    <a:pt x="292" y="678"/>
                  </a:lnTo>
                  <a:lnTo>
                    <a:pt x="290" y="718"/>
                  </a:lnTo>
                  <a:lnTo>
                    <a:pt x="300" y="722"/>
                  </a:lnTo>
                  <a:lnTo>
                    <a:pt x="300" y="744"/>
                  </a:lnTo>
                  <a:lnTo>
                    <a:pt x="286" y="748"/>
                  </a:lnTo>
                  <a:lnTo>
                    <a:pt x="280" y="736"/>
                  </a:lnTo>
                  <a:lnTo>
                    <a:pt x="268" y="738"/>
                  </a:lnTo>
                  <a:lnTo>
                    <a:pt x="270" y="754"/>
                  </a:lnTo>
                  <a:lnTo>
                    <a:pt x="264" y="770"/>
                  </a:lnTo>
                  <a:lnTo>
                    <a:pt x="252" y="770"/>
                  </a:lnTo>
                  <a:lnTo>
                    <a:pt x="242" y="786"/>
                  </a:lnTo>
                  <a:lnTo>
                    <a:pt x="232" y="778"/>
                  </a:lnTo>
                  <a:lnTo>
                    <a:pt x="242" y="750"/>
                  </a:lnTo>
                  <a:lnTo>
                    <a:pt x="252" y="750"/>
                  </a:lnTo>
                  <a:lnTo>
                    <a:pt x="254" y="734"/>
                  </a:lnTo>
                  <a:lnTo>
                    <a:pt x="224" y="724"/>
                  </a:lnTo>
                  <a:lnTo>
                    <a:pt x="214" y="700"/>
                  </a:lnTo>
                  <a:lnTo>
                    <a:pt x="200" y="706"/>
                  </a:lnTo>
                  <a:lnTo>
                    <a:pt x="206" y="724"/>
                  </a:lnTo>
                  <a:lnTo>
                    <a:pt x="206" y="736"/>
                  </a:lnTo>
                  <a:lnTo>
                    <a:pt x="192" y="738"/>
                  </a:lnTo>
                  <a:lnTo>
                    <a:pt x="184" y="720"/>
                  </a:lnTo>
                  <a:lnTo>
                    <a:pt x="150" y="710"/>
                  </a:lnTo>
                  <a:lnTo>
                    <a:pt x="150" y="710"/>
                  </a:lnTo>
                  <a:lnTo>
                    <a:pt x="148" y="694"/>
                  </a:lnTo>
                  <a:lnTo>
                    <a:pt x="148" y="694"/>
                  </a:lnTo>
                  <a:lnTo>
                    <a:pt x="148" y="688"/>
                  </a:lnTo>
                  <a:lnTo>
                    <a:pt x="150" y="684"/>
                  </a:lnTo>
                  <a:lnTo>
                    <a:pt x="156" y="682"/>
                  </a:lnTo>
                  <a:lnTo>
                    <a:pt x="156" y="682"/>
                  </a:lnTo>
                  <a:lnTo>
                    <a:pt x="162" y="678"/>
                  </a:lnTo>
                  <a:lnTo>
                    <a:pt x="166" y="670"/>
                  </a:lnTo>
                  <a:lnTo>
                    <a:pt x="166" y="670"/>
                  </a:lnTo>
                  <a:lnTo>
                    <a:pt x="166" y="664"/>
                  </a:lnTo>
                  <a:lnTo>
                    <a:pt x="162" y="658"/>
                  </a:lnTo>
                  <a:lnTo>
                    <a:pt x="158" y="648"/>
                  </a:lnTo>
                  <a:lnTo>
                    <a:pt x="152" y="638"/>
                  </a:lnTo>
                  <a:lnTo>
                    <a:pt x="152" y="638"/>
                  </a:lnTo>
                  <a:lnTo>
                    <a:pt x="148" y="628"/>
                  </a:lnTo>
                  <a:lnTo>
                    <a:pt x="146" y="618"/>
                  </a:lnTo>
                  <a:lnTo>
                    <a:pt x="144" y="598"/>
                  </a:lnTo>
                  <a:lnTo>
                    <a:pt x="144" y="598"/>
                  </a:lnTo>
                  <a:lnTo>
                    <a:pt x="142" y="586"/>
                  </a:lnTo>
                  <a:lnTo>
                    <a:pt x="140" y="576"/>
                  </a:lnTo>
                  <a:lnTo>
                    <a:pt x="136" y="566"/>
                  </a:lnTo>
                  <a:lnTo>
                    <a:pt x="130" y="558"/>
                  </a:lnTo>
                  <a:lnTo>
                    <a:pt x="130" y="558"/>
                  </a:lnTo>
                  <a:lnTo>
                    <a:pt x="124" y="550"/>
                  </a:lnTo>
                  <a:lnTo>
                    <a:pt x="116" y="546"/>
                  </a:lnTo>
                  <a:lnTo>
                    <a:pt x="106" y="546"/>
                  </a:lnTo>
                  <a:lnTo>
                    <a:pt x="98" y="548"/>
                  </a:lnTo>
                  <a:lnTo>
                    <a:pt x="98" y="548"/>
                  </a:lnTo>
                  <a:lnTo>
                    <a:pt x="48" y="570"/>
                  </a:lnTo>
                  <a:lnTo>
                    <a:pt x="48" y="570"/>
                  </a:lnTo>
                  <a:lnTo>
                    <a:pt x="42" y="572"/>
                  </a:lnTo>
                  <a:lnTo>
                    <a:pt x="38" y="572"/>
                  </a:lnTo>
                  <a:lnTo>
                    <a:pt x="30" y="570"/>
                  </a:lnTo>
                  <a:lnTo>
                    <a:pt x="22" y="564"/>
                  </a:lnTo>
                  <a:lnTo>
                    <a:pt x="16" y="558"/>
                  </a:lnTo>
                  <a:lnTo>
                    <a:pt x="16" y="558"/>
                  </a:lnTo>
                  <a:lnTo>
                    <a:pt x="6" y="544"/>
                  </a:lnTo>
                  <a:lnTo>
                    <a:pt x="0" y="538"/>
                  </a:lnTo>
                  <a:lnTo>
                    <a:pt x="28" y="514"/>
                  </a:lnTo>
                  <a:lnTo>
                    <a:pt x="36" y="518"/>
                  </a:lnTo>
                  <a:lnTo>
                    <a:pt x="44" y="508"/>
                  </a:lnTo>
                  <a:lnTo>
                    <a:pt x="38" y="498"/>
                  </a:lnTo>
                  <a:lnTo>
                    <a:pt x="56" y="472"/>
                  </a:lnTo>
                  <a:lnTo>
                    <a:pt x="66" y="482"/>
                  </a:lnTo>
                  <a:lnTo>
                    <a:pt x="78" y="474"/>
                  </a:lnTo>
                  <a:lnTo>
                    <a:pt x="76" y="462"/>
                  </a:lnTo>
                  <a:lnTo>
                    <a:pt x="82" y="458"/>
                  </a:lnTo>
                  <a:lnTo>
                    <a:pt x="94" y="462"/>
                  </a:lnTo>
                  <a:lnTo>
                    <a:pt x="98" y="450"/>
                  </a:lnTo>
                  <a:lnTo>
                    <a:pt x="78" y="424"/>
                  </a:lnTo>
                  <a:lnTo>
                    <a:pt x="64" y="424"/>
                  </a:lnTo>
                  <a:lnTo>
                    <a:pt x="60" y="410"/>
                  </a:lnTo>
                  <a:lnTo>
                    <a:pt x="64" y="394"/>
                  </a:lnTo>
                  <a:lnTo>
                    <a:pt x="56" y="386"/>
                  </a:lnTo>
                  <a:lnTo>
                    <a:pt x="62" y="366"/>
                  </a:lnTo>
                  <a:lnTo>
                    <a:pt x="80" y="358"/>
                  </a:lnTo>
                  <a:lnTo>
                    <a:pt x="84" y="372"/>
                  </a:lnTo>
                  <a:lnTo>
                    <a:pt x="98" y="370"/>
                  </a:lnTo>
                  <a:lnTo>
                    <a:pt x="100" y="344"/>
                  </a:lnTo>
                  <a:lnTo>
                    <a:pt x="92" y="332"/>
                  </a:lnTo>
                  <a:lnTo>
                    <a:pt x="92" y="31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4126"/>
              <a:endParaRPr lang="de-DE" sz="1799" dirty="0">
                <a:solidFill>
                  <a:srgbClr val="3B3B3B"/>
                </a:solidFill>
                <a:latin typeface="EnBW DIN Pro"/>
              </a:endParaRPr>
            </a:p>
          </p:txBody>
        </p:sp>
        <p:sp>
          <p:nvSpPr>
            <p:cNvPr id="43" name="Freeform 38">
              <a:extLst>
                <a:ext uri="{FF2B5EF4-FFF2-40B4-BE49-F238E27FC236}">
                  <a16:creationId xmlns:a16="http://schemas.microsoft.com/office/drawing/2014/main" id="{0C0F22DB-4A59-49EF-824C-0B0D0EA2AD99}"/>
                </a:ext>
              </a:extLst>
            </p:cNvPr>
            <p:cNvSpPr>
              <a:spLocks/>
            </p:cNvSpPr>
            <p:nvPr/>
          </p:nvSpPr>
          <p:spPr bwMode="gray">
            <a:xfrm>
              <a:off x="2564" y="1579"/>
              <a:ext cx="56" cy="78"/>
            </a:xfrm>
            <a:custGeom>
              <a:avLst/>
              <a:gdLst>
                <a:gd name="T0" fmla="*/ 14 w 56"/>
                <a:gd name="T1" fmla="*/ 0 h 78"/>
                <a:gd name="T2" fmla="*/ 22 w 56"/>
                <a:gd name="T3" fmla="*/ 10 h 78"/>
                <a:gd name="T4" fmla="*/ 42 w 56"/>
                <a:gd name="T5" fmla="*/ 0 h 78"/>
                <a:gd name="T6" fmla="*/ 56 w 56"/>
                <a:gd name="T7" fmla="*/ 18 h 78"/>
                <a:gd name="T8" fmla="*/ 44 w 56"/>
                <a:gd name="T9" fmla="*/ 26 h 78"/>
                <a:gd name="T10" fmla="*/ 50 w 56"/>
                <a:gd name="T11" fmla="*/ 40 h 78"/>
                <a:gd name="T12" fmla="*/ 46 w 56"/>
                <a:gd name="T13" fmla="*/ 50 h 78"/>
                <a:gd name="T14" fmla="*/ 54 w 56"/>
                <a:gd name="T15" fmla="*/ 64 h 78"/>
                <a:gd name="T16" fmla="*/ 46 w 56"/>
                <a:gd name="T17" fmla="*/ 74 h 78"/>
                <a:gd name="T18" fmla="*/ 26 w 56"/>
                <a:gd name="T19" fmla="*/ 78 h 78"/>
                <a:gd name="T20" fmla="*/ 12 w 56"/>
                <a:gd name="T21" fmla="*/ 48 h 78"/>
                <a:gd name="T22" fmla="*/ 12 w 56"/>
                <a:gd name="T23" fmla="*/ 48 h 78"/>
                <a:gd name="T24" fmla="*/ 16 w 56"/>
                <a:gd name="T25" fmla="*/ 46 h 78"/>
                <a:gd name="T26" fmla="*/ 18 w 56"/>
                <a:gd name="T27" fmla="*/ 42 h 78"/>
                <a:gd name="T28" fmla="*/ 18 w 56"/>
                <a:gd name="T29" fmla="*/ 36 h 78"/>
                <a:gd name="T30" fmla="*/ 12 w 56"/>
                <a:gd name="T31" fmla="*/ 28 h 78"/>
                <a:gd name="T32" fmla="*/ 12 w 56"/>
                <a:gd name="T33" fmla="*/ 28 h 78"/>
                <a:gd name="T34" fmla="*/ 6 w 56"/>
                <a:gd name="T35" fmla="*/ 20 h 78"/>
                <a:gd name="T36" fmla="*/ 0 w 56"/>
                <a:gd name="T37" fmla="*/ 8 h 78"/>
                <a:gd name="T38" fmla="*/ 14 w 56"/>
                <a:gd name="T39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6" h="78">
                  <a:moveTo>
                    <a:pt x="14" y="0"/>
                  </a:moveTo>
                  <a:lnTo>
                    <a:pt x="22" y="10"/>
                  </a:lnTo>
                  <a:lnTo>
                    <a:pt x="42" y="0"/>
                  </a:lnTo>
                  <a:lnTo>
                    <a:pt x="56" y="18"/>
                  </a:lnTo>
                  <a:lnTo>
                    <a:pt x="44" y="26"/>
                  </a:lnTo>
                  <a:lnTo>
                    <a:pt x="50" y="40"/>
                  </a:lnTo>
                  <a:lnTo>
                    <a:pt x="46" y="50"/>
                  </a:lnTo>
                  <a:lnTo>
                    <a:pt x="54" y="64"/>
                  </a:lnTo>
                  <a:lnTo>
                    <a:pt x="46" y="74"/>
                  </a:lnTo>
                  <a:lnTo>
                    <a:pt x="26" y="7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6" y="46"/>
                  </a:lnTo>
                  <a:lnTo>
                    <a:pt x="18" y="42"/>
                  </a:lnTo>
                  <a:lnTo>
                    <a:pt x="18" y="36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6" y="20"/>
                  </a:lnTo>
                  <a:lnTo>
                    <a:pt x="0" y="8"/>
                  </a:lnTo>
                  <a:lnTo>
                    <a:pt x="14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4126"/>
              <a:endParaRPr lang="de-DE" sz="1799" dirty="0">
                <a:solidFill>
                  <a:srgbClr val="3B3B3B"/>
                </a:solidFill>
                <a:latin typeface="EnBW DIN Pro"/>
              </a:endParaRPr>
            </a:p>
          </p:txBody>
        </p:sp>
      </p:grpSp>
      <p:pic>
        <p:nvPicPr>
          <p:cNvPr id="44" name="Picture 19" descr="flagge_deutschland">
            <a:extLst>
              <a:ext uri="{FF2B5EF4-FFF2-40B4-BE49-F238E27FC236}">
                <a16:creationId xmlns:a16="http://schemas.microsoft.com/office/drawing/2014/main" id="{826AE5C8-024E-4ACD-8C4A-0A6195B73E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4994261" y="3076092"/>
            <a:ext cx="738339" cy="542824"/>
          </a:xfrm>
          <a:prstGeom prst="rect">
            <a:avLst/>
          </a:prstGeom>
          <a:noFill/>
          <a:ln w="6350" algn="ctr">
            <a:solidFill>
              <a:schemeClr val="accent4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45" name="Grafik 44">
            <a:extLst>
              <a:ext uri="{FF2B5EF4-FFF2-40B4-BE49-F238E27FC236}">
                <a16:creationId xmlns:a16="http://schemas.microsoft.com/office/drawing/2014/main" id="{DB0596EF-F839-4F6D-860D-2D82CAD9B797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13188" b="91938" l="4055" r="84892">
                        <a14:foregroundMark x1="47220" y1="33313" x2="48136" y2="6637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39485" y="3463602"/>
            <a:ext cx="2751789" cy="2879570"/>
          </a:xfrm>
          <a:prstGeom prst="rect">
            <a:avLst/>
          </a:prstGeom>
        </p:spPr>
      </p:pic>
      <p:pic>
        <p:nvPicPr>
          <p:cNvPr id="46" name="Grafik 45">
            <a:extLst>
              <a:ext uri="{FF2B5EF4-FFF2-40B4-BE49-F238E27FC236}">
                <a16:creationId xmlns:a16="http://schemas.microsoft.com/office/drawing/2014/main" id="{092C7D00-E6AD-4E4F-9193-1DF874E4CC74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39034" y="5441907"/>
            <a:ext cx="719893" cy="529262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  <p:sp>
        <p:nvSpPr>
          <p:cNvPr id="47" name="Textfeld 46">
            <a:extLst>
              <a:ext uri="{FF2B5EF4-FFF2-40B4-BE49-F238E27FC236}">
                <a16:creationId xmlns:a16="http://schemas.microsoft.com/office/drawing/2014/main" id="{A81230A3-A4C3-4A03-84C1-DCF0C9F8DB00}"/>
              </a:ext>
            </a:extLst>
          </p:cNvPr>
          <p:cNvSpPr txBox="1"/>
          <p:nvPr/>
        </p:nvSpPr>
        <p:spPr>
          <a:xfrm>
            <a:off x="8876212" y="4505198"/>
            <a:ext cx="2015699" cy="861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126"/>
            <a:r>
              <a:rPr lang="de-DE" sz="4999" b="1" dirty="0">
                <a:solidFill>
                  <a:srgbClr val="000099"/>
                </a:solidFill>
                <a:latin typeface="EnBW DIN Pro" panose="020B0504020101020102" pitchFamily="34" charset="0"/>
                <a:cs typeface="EnBW DIN Pro" panose="020B0504020101020102" pitchFamily="34" charset="0"/>
              </a:rPr>
              <a:t>63,5</a:t>
            </a:r>
            <a:r>
              <a:rPr lang="de-DE" sz="1799" b="1" dirty="0">
                <a:solidFill>
                  <a:srgbClr val="000099"/>
                </a:solidFill>
                <a:latin typeface="EnBW DIN Pro" panose="020B0504020101020102" pitchFamily="34" charset="0"/>
                <a:cs typeface="EnBW DIN Pro" panose="020B0504020101020102" pitchFamily="34" charset="0"/>
              </a:rPr>
              <a:t> min*</a:t>
            </a:r>
          </a:p>
        </p:txBody>
      </p:sp>
      <p:sp>
        <p:nvSpPr>
          <p:cNvPr id="48" name="Textfeld 47">
            <a:extLst>
              <a:ext uri="{FF2B5EF4-FFF2-40B4-BE49-F238E27FC236}">
                <a16:creationId xmlns:a16="http://schemas.microsoft.com/office/drawing/2014/main" id="{70FB916B-6CF7-4CA0-B80B-1EE68E86CEA1}"/>
              </a:ext>
            </a:extLst>
          </p:cNvPr>
          <p:cNvSpPr txBox="1"/>
          <p:nvPr/>
        </p:nvSpPr>
        <p:spPr>
          <a:xfrm>
            <a:off x="5293236" y="1946857"/>
            <a:ext cx="2015699" cy="861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de-DE" sz="4999" b="1" dirty="0">
                <a:solidFill>
                  <a:srgbClr val="000099"/>
                </a:solidFill>
                <a:latin typeface="EnBW DIN Pro" panose="020B0504020101020102" pitchFamily="34" charset="0"/>
                <a:cs typeface="EnBW DIN Pro" panose="020B0504020101020102" pitchFamily="34" charset="0"/>
              </a:rPr>
              <a:t>10,7</a:t>
            </a:r>
            <a:r>
              <a:rPr lang="de-DE" sz="1799" b="1" dirty="0">
                <a:solidFill>
                  <a:srgbClr val="000099"/>
                </a:solidFill>
                <a:latin typeface="EnBW DIN Pro" panose="020B0504020101020102" pitchFamily="34" charset="0"/>
                <a:cs typeface="EnBW DIN Pro" panose="020B0504020101020102" pitchFamily="34" charset="0"/>
              </a:rPr>
              <a:t>min*</a:t>
            </a:r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162B2045-EF44-45F7-9D51-F9BF316BAF51}"/>
              </a:ext>
            </a:extLst>
          </p:cNvPr>
          <p:cNvSpPr txBox="1"/>
          <p:nvPr/>
        </p:nvSpPr>
        <p:spPr>
          <a:xfrm>
            <a:off x="8542510" y="5995358"/>
            <a:ext cx="2591613" cy="2461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de-DE" sz="1000" dirty="0">
                <a:solidFill>
                  <a:srgbClr val="3B3B3B"/>
                </a:solidFill>
                <a:latin typeface="EnBW DIN Pro" panose="020B0504020101020102" pitchFamily="34" charset="0"/>
                <a:cs typeface="EnBW DIN Pro" panose="020B0504020101020102" pitchFamily="34" charset="0"/>
              </a:rPr>
              <a:t>*(2015-2018)</a:t>
            </a: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0053A988-DF03-4F3E-8AB7-3EAA7962FB8F}"/>
              </a:ext>
            </a:extLst>
          </p:cNvPr>
          <p:cNvSpPr txBox="1"/>
          <p:nvPr/>
        </p:nvSpPr>
        <p:spPr>
          <a:xfrm>
            <a:off x="4865830" y="3632016"/>
            <a:ext cx="2303656" cy="2461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de-DE" sz="1000" dirty="0">
                <a:solidFill>
                  <a:srgbClr val="3B3B3B"/>
                </a:solidFill>
                <a:latin typeface="EnBW DIN Pro" panose="020B0504020101020102" pitchFamily="34" charset="0"/>
                <a:cs typeface="EnBW DIN Pro" panose="020B0504020101020102" pitchFamily="34" charset="0"/>
              </a:rPr>
              <a:t> (2020)</a:t>
            </a:r>
          </a:p>
        </p:txBody>
      </p:sp>
      <p:pic>
        <p:nvPicPr>
          <p:cNvPr id="51" name="Grafik 50">
            <a:extLst>
              <a:ext uri="{FF2B5EF4-FFF2-40B4-BE49-F238E27FC236}">
                <a16:creationId xmlns:a16="http://schemas.microsoft.com/office/drawing/2014/main" id="{D9901641-DEC4-4A06-9754-713D83756822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09389" y="2848982"/>
            <a:ext cx="719893" cy="529262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  <p:sp>
        <p:nvSpPr>
          <p:cNvPr id="52" name="Textfeld 51">
            <a:extLst>
              <a:ext uri="{FF2B5EF4-FFF2-40B4-BE49-F238E27FC236}">
                <a16:creationId xmlns:a16="http://schemas.microsoft.com/office/drawing/2014/main" id="{6B692477-4CD0-48E9-825E-96D824F428A8}"/>
              </a:ext>
            </a:extLst>
          </p:cNvPr>
          <p:cNvSpPr txBox="1"/>
          <p:nvPr/>
        </p:nvSpPr>
        <p:spPr>
          <a:xfrm>
            <a:off x="8747802" y="1780232"/>
            <a:ext cx="2015699" cy="11384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126"/>
            <a:r>
              <a:rPr lang="de-DE" sz="4999" b="1" dirty="0">
                <a:solidFill>
                  <a:srgbClr val="000099"/>
                </a:solidFill>
                <a:latin typeface="EnBW DIN Pro" panose="020B0504020101020102" pitchFamily="34" charset="0"/>
                <a:cs typeface="EnBW DIN Pro" panose="020B0504020101020102" pitchFamily="34" charset="0"/>
              </a:rPr>
              <a:t>115</a:t>
            </a:r>
            <a:r>
              <a:rPr lang="de-DE" sz="1799" b="1" dirty="0">
                <a:solidFill>
                  <a:srgbClr val="000099"/>
                </a:solidFill>
                <a:latin typeface="EnBW DIN Pro" panose="020B0504020101020102" pitchFamily="34" charset="0"/>
                <a:cs typeface="EnBW DIN Pro" panose="020B0504020101020102" pitchFamily="34" charset="0"/>
              </a:rPr>
              <a:t> min*</a:t>
            </a:r>
            <a:br>
              <a:rPr lang="de-DE" sz="1799" b="1" dirty="0">
                <a:solidFill>
                  <a:srgbClr val="000099"/>
                </a:solidFill>
                <a:latin typeface="EnBW DIN Pro" panose="020B0504020101020102" pitchFamily="34" charset="0"/>
                <a:cs typeface="EnBW DIN Pro" panose="020B0504020101020102" pitchFamily="34" charset="0"/>
              </a:rPr>
            </a:br>
            <a:r>
              <a:rPr lang="de-DE" sz="1799" b="1" dirty="0">
                <a:solidFill>
                  <a:srgbClr val="000099"/>
                </a:solidFill>
                <a:latin typeface="EnBW DIN Pro" panose="020B0504020101020102" pitchFamily="34" charset="0"/>
                <a:cs typeface="EnBW DIN Pro" panose="020B0504020101020102" pitchFamily="34" charset="0"/>
              </a:rPr>
              <a:t>bzw. 306 min**</a:t>
            </a:r>
          </a:p>
        </p:txBody>
      </p:sp>
      <p:sp>
        <p:nvSpPr>
          <p:cNvPr id="53" name="Textfeld 52">
            <a:extLst>
              <a:ext uri="{FF2B5EF4-FFF2-40B4-BE49-F238E27FC236}">
                <a16:creationId xmlns:a16="http://schemas.microsoft.com/office/drawing/2014/main" id="{69B96F5A-6961-4DF4-86A8-1D07AAA022A8}"/>
              </a:ext>
            </a:extLst>
          </p:cNvPr>
          <p:cNvSpPr txBox="1"/>
          <p:nvPr/>
        </p:nvSpPr>
        <p:spPr>
          <a:xfrm>
            <a:off x="8185288" y="3430137"/>
            <a:ext cx="2591613" cy="2461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de-DE" sz="1000" dirty="0">
                <a:solidFill>
                  <a:srgbClr val="3B3B3B"/>
                </a:solidFill>
                <a:latin typeface="EnBW DIN Pro" panose="020B0504020101020102" pitchFamily="34" charset="0"/>
                <a:cs typeface="EnBW DIN Pro" panose="020B0504020101020102" pitchFamily="34" charset="0"/>
              </a:rPr>
              <a:t>*(2015-2019) **(inkl. z.B. Tornados)</a:t>
            </a:r>
          </a:p>
        </p:txBody>
      </p:sp>
      <p:pic>
        <p:nvPicPr>
          <p:cNvPr id="54" name="Grafik 53">
            <a:extLst>
              <a:ext uri="{FF2B5EF4-FFF2-40B4-BE49-F238E27FC236}">
                <a16:creationId xmlns:a16="http://schemas.microsoft.com/office/drawing/2014/main" id="{042D1E6D-95BB-417B-A213-962A1F75308E}"/>
              </a:ext>
            </a:extLst>
          </p:cNvPr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90710" y="2073652"/>
            <a:ext cx="314182" cy="314182"/>
          </a:xfrm>
          <a:prstGeom prst="rect">
            <a:avLst/>
          </a:prstGeom>
        </p:spPr>
      </p:pic>
      <p:pic>
        <p:nvPicPr>
          <p:cNvPr id="55" name="Grafik 54">
            <a:extLst>
              <a:ext uri="{FF2B5EF4-FFF2-40B4-BE49-F238E27FC236}">
                <a16:creationId xmlns:a16="http://schemas.microsoft.com/office/drawing/2014/main" id="{C459FD26-C0AF-4667-B7A6-160CE2F04D1E}"/>
              </a:ext>
            </a:extLst>
          </p:cNvPr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0782" y="2293088"/>
            <a:ext cx="314182" cy="314182"/>
          </a:xfrm>
          <a:prstGeom prst="rect">
            <a:avLst/>
          </a:prstGeom>
        </p:spPr>
      </p:pic>
      <p:pic>
        <p:nvPicPr>
          <p:cNvPr id="56" name="Grafik 55">
            <a:extLst>
              <a:ext uri="{FF2B5EF4-FFF2-40B4-BE49-F238E27FC236}">
                <a16:creationId xmlns:a16="http://schemas.microsoft.com/office/drawing/2014/main" id="{52EB6E7C-5BB4-4B4A-AED7-1DB9FF68F888}"/>
              </a:ext>
            </a:extLst>
          </p:cNvPr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7378" y="4800462"/>
            <a:ext cx="314182" cy="314182"/>
          </a:xfrm>
          <a:prstGeom prst="rect">
            <a:avLst/>
          </a:prstGeom>
        </p:spPr>
      </p:pic>
      <p:pic>
        <p:nvPicPr>
          <p:cNvPr id="57" name="Grafik 56">
            <a:extLst>
              <a:ext uri="{FF2B5EF4-FFF2-40B4-BE49-F238E27FC236}">
                <a16:creationId xmlns:a16="http://schemas.microsoft.com/office/drawing/2014/main" id="{8D1A359A-1EC1-4A2B-A562-386118DA776A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59917" y="3961954"/>
            <a:ext cx="1028570" cy="1201647"/>
          </a:xfrm>
          <a:prstGeom prst="rect">
            <a:avLst/>
          </a:prstGeom>
        </p:spPr>
      </p:pic>
      <p:sp>
        <p:nvSpPr>
          <p:cNvPr id="58" name="Titel 1">
            <a:extLst>
              <a:ext uri="{FF2B5EF4-FFF2-40B4-BE49-F238E27FC236}">
                <a16:creationId xmlns:a16="http://schemas.microsoft.com/office/drawing/2014/main" id="{3FEFB56C-5CBF-4748-97AA-CB3F93B399FA}"/>
              </a:ext>
            </a:extLst>
          </p:cNvPr>
          <p:cNvSpPr txBox="1">
            <a:spLocks/>
          </p:cNvSpPr>
          <p:nvPr/>
        </p:nvSpPr>
        <p:spPr bwMode="auto">
          <a:xfrm>
            <a:off x="474738" y="515471"/>
            <a:ext cx="9440706" cy="61542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650" baseline="0">
                <a:solidFill>
                  <a:schemeClr val="accent6"/>
                </a:solidFill>
                <a:latin typeface="+mn-lt"/>
                <a:ea typeface="EnBW DIN Pro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5pPr>
            <a:lvl6pPr marL="342809"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6pPr>
            <a:lvl7pPr marL="685617"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7pPr>
            <a:lvl8pPr marL="1028426"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8pPr>
            <a:lvl9pPr marL="1371234"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9pPr>
          </a:lstStyle>
          <a:p>
            <a:pPr defTabSz="914126"/>
            <a:r>
              <a:rPr lang="de-DE" sz="2199" kern="0" dirty="0">
                <a:solidFill>
                  <a:srgbClr val="FF9900"/>
                </a:solidFill>
                <a:latin typeface="EnBW DIN Pro"/>
                <a:cs typeface="EnBW DIN Pro Medium" panose="020B0604020101020102" pitchFamily="34" charset="0"/>
              </a:rPr>
              <a:t>Sichere Versorgung für Argenbühl</a:t>
            </a:r>
          </a:p>
          <a:p>
            <a:r>
              <a:rPr lang="de-DE" sz="1800" dirty="0">
                <a:solidFill>
                  <a:schemeClr val="tx2"/>
                </a:solidFill>
                <a:cs typeface="EnBW DIN Pro Medium" panose="020B0604020101020102" pitchFamily="34" charset="0"/>
              </a:rPr>
              <a:t>Ausfallzeit über alle Netzkunden (min/Jahr)</a:t>
            </a:r>
          </a:p>
        </p:txBody>
      </p:sp>
      <p:pic>
        <p:nvPicPr>
          <p:cNvPr id="59" name="Grafik 58">
            <a:extLst>
              <a:ext uri="{FF2B5EF4-FFF2-40B4-BE49-F238E27FC236}">
                <a16:creationId xmlns:a16="http://schemas.microsoft.com/office/drawing/2014/main" id="{A6994323-4A7D-49F4-9783-07E65339356C}"/>
              </a:ext>
            </a:extLst>
          </p:cNvPr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79450" y="4995059"/>
            <a:ext cx="314182" cy="314182"/>
          </a:xfrm>
          <a:prstGeom prst="rect">
            <a:avLst/>
          </a:prstGeom>
        </p:spPr>
      </p:pic>
      <p:sp>
        <p:nvSpPr>
          <p:cNvPr id="60" name="Textfeld 59">
            <a:extLst>
              <a:ext uri="{FF2B5EF4-FFF2-40B4-BE49-F238E27FC236}">
                <a16:creationId xmlns:a16="http://schemas.microsoft.com/office/drawing/2014/main" id="{CAE2E3AD-BAFD-4E40-8373-2248BEEC2CAF}"/>
              </a:ext>
            </a:extLst>
          </p:cNvPr>
          <p:cNvSpPr txBox="1"/>
          <p:nvPr/>
        </p:nvSpPr>
        <p:spPr>
          <a:xfrm>
            <a:off x="4895788" y="5874582"/>
            <a:ext cx="2591613" cy="2461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>
              <a:defRPr/>
            </a:pPr>
            <a:r>
              <a:rPr lang="de-DE" sz="1000" dirty="0">
                <a:solidFill>
                  <a:srgbClr val="3B3B3B"/>
                </a:solidFill>
                <a:latin typeface="EnBW DIN Pro" panose="020B0504020101020102" pitchFamily="34" charset="0"/>
                <a:cs typeface="EnBW DIN Pro" panose="020B0504020101020102" pitchFamily="34" charset="0"/>
              </a:rPr>
              <a:t>*(2015-2019)  </a:t>
            </a:r>
          </a:p>
        </p:txBody>
      </p:sp>
      <p:pic>
        <p:nvPicPr>
          <p:cNvPr id="61" name="Picture 8" descr="Bildergebnis für österreich umris">
            <a:extLst>
              <a:ext uri="{FF2B5EF4-FFF2-40B4-BE49-F238E27FC236}">
                <a16:creationId xmlns:a16="http://schemas.microsoft.com/office/drawing/2014/main" id="{708D5C52-310E-4F7D-9659-0E77520A070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673561" y="4050716"/>
            <a:ext cx="3207083" cy="17580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2" name="Textfeld 61">
            <a:extLst>
              <a:ext uri="{FF2B5EF4-FFF2-40B4-BE49-F238E27FC236}">
                <a16:creationId xmlns:a16="http://schemas.microsoft.com/office/drawing/2014/main" id="{C0008FD3-A0A8-42D9-919E-425A5E1244E2}"/>
              </a:ext>
            </a:extLst>
          </p:cNvPr>
          <p:cNvSpPr txBox="1"/>
          <p:nvPr/>
        </p:nvSpPr>
        <p:spPr>
          <a:xfrm>
            <a:off x="5830618" y="4522583"/>
            <a:ext cx="2015699" cy="861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126">
              <a:defRPr/>
            </a:pPr>
            <a:r>
              <a:rPr lang="de-DE" sz="4999" b="1" dirty="0">
                <a:solidFill>
                  <a:srgbClr val="000099"/>
                </a:solidFill>
                <a:latin typeface="EnBW DIN Pro" panose="020B0504020101020102" pitchFamily="34" charset="0"/>
                <a:cs typeface="EnBW DIN Pro" panose="020B0504020101020102" pitchFamily="34" charset="0"/>
              </a:rPr>
              <a:t>26,7</a:t>
            </a:r>
            <a:r>
              <a:rPr lang="de-DE" sz="1799" b="1" dirty="0">
                <a:solidFill>
                  <a:srgbClr val="000099"/>
                </a:solidFill>
                <a:latin typeface="EnBW DIN Pro" panose="020B0504020101020102" pitchFamily="34" charset="0"/>
                <a:cs typeface="EnBW DIN Pro" panose="020B0504020101020102" pitchFamily="34" charset="0"/>
              </a:rPr>
              <a:t> min*</a:t>
            </a:r>
          </a:p>
        </p:txBody>
      </p:sp>
      <p:pic>
        <p:nvPicPr>
          <p:cNvPr id="63" name="Picture 14" descr="Bildergebnis für österreich flagge">
            <a:extLst>
              <a:ext uri="{FF2B5EF4-FFF2-40B4-BE49-F238E27FC236}">
                <a16:creationId xmlns:a16="http://schemas.microsoft.com/office/drawing/2014/main" id="{24C1FEA8-55F7-4B5F-9634-41AF255DDF0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951759" y="5372811"/>
            <a:ext cx="832743" cy="4829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Grafik 63">
            <a:extLst>
              <a:ext uri="{FF2B5EF4-FFF2-40B4-BE49-F238E27FC236}">
                <a16:creationId xmlns:a16="http://schemas.microsoft.com/office/drawing/2014/main" id="{4B498F64-DDAC-4C3F-B289-A6B4F40FCB94}"/>
              </a:ext>
            </a:extLst>
          </p:cNvPr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78012" y="4811224"/>
            <a:ext cx="314182" cy="314182"/>
          </a:xfrm>
          <a:prstGeom prst="rect">
            <a:avLst/>
          </a:prstGeom>
        </p:spPr>
      </p:pic>
      <p:sp>
        <p:nvSpPr>
          <p:cNvPr id="65" name="Textplatzhalter 15">
            <a:extLst>
              <a:ext uri="{FF2B5EF4-FFF2-40B4-BE49-F238E27FC236}">
                <a16:creationId xmlns:a16="http://schemas.microsoft.com/office/drawing/2014/main" id="{C80B59A3-7DD4-478F-A6C3-3A1918505EF3}"/>
              </a:ext>
            </a:extLst>
          </p:cNvPr>
          <p:cNvSpPr txBox="1">
            <a:spLocks/>
          </p:cNvSpPr>
          <p:nvPr/>
        </p:nvSpPr>
        <p:spPr bwMode="gray">
          <a:xfrm>
            <a:off x="3477021" y="1669633"/>
            <a:ext cx="484290" cy="449618"/>
          </a:xfrm>
          <a:prstGeom prst="rect">
            <a:avLst/>
          </a:prstGeom>
          <a:blipFill>
            <a:blip r:embed="rId1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r="-295465"/>
            </a:stretch>
          </a:blip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SzPct val="100000"/>
              <a:buFontTx/>
              <a:buNone/>
              <a:defRPr sz="1600" b="1" baseline="0">
                <a:solidFill>
                  <a:schemeClr val="tx2"/>
                </a:solidFill>
                <a:latin typeface="EnBW DIN Pro"/>
                <a:ea typeface="EnBW DIN Pro"/>
                <a:cs typeface="EnBW DIN Pro"/>
                <a:sym typeface="EnBW DIN Pro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SzPct val="140000"/>
              <a:buFont typeface="DIN-Medium" panose="020B0600010101020104" pitchFamily="34" charset="0"/>
              <a:buNone/>
              <a:defRPr sz="1600">
                <a:solidFill>
                  <a:schemeClr val="tx1"/>
                </a:solidFill>
                <a:latin typeface="+mn-lt"/>
                <a:ea typeface="EnBW DIN Pro"/>
              </a:defRPr>
            </a:lvl2pPr>
            <a:lvl3pPr marL="162000" indent="-16200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  <a:defRPr sz="1600">
                <a:solidFill>
                  <a:schemeClr val="tx1"/>
                </a:solidFill>
                <a:latin typeface="+mn-lt"/>
                <a:ea typeface="EnBW DIN Pro"/>
              </a:defRPr>
            </a:lvl3pPr>
            <a:lvl4pPr marL="324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lang="de-DE" sz="1400" dirty="0" smtClean="0">
                <a:solidFill>
                  <a:schemeClr val="tx1"/>
                </a:solidFill>
                <a:latin typeface="+mn-lt"/>
                <a:ea typeface="EnBW DIN Pro"/>
              </a:defRPr>
            </a:lvl4pPr>
            <a:lvl5pPr marL="486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+mn-lt"/>
                <a:ea typeface="EnBW DIN Pro"/>
              </a:defRPr>
            </a:lvl5pPr>
            <a:lvl6pPr marL="648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25257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7pPr>
            <a:lvl8pPr marL="29829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8pPr>
            <a:lvl9pPr marL="34401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defTabSz="914126">
              <a:buClr>
                <a:srgbClr val="FF9900"/>
              </a:buClr>
              <a:defRPr/>
            </a:pPr>
            <a:r>
              <a:rPr lang="de-DE" kern="0" dirty="0">
                <a:solidFill>
                  <a:srgbClr val="000099"/>
                </a:solidFill>
              </a:rPr>
              <a:t> </a:t>
            </a:r>
          </a:p>
        </p:txBody>
      </p:sp>
      <p:pic>
        <p:nvPicPr>
          <p:cNvPr id="66" name="Grafik 65">
            <a:extLst>
              <a:ext uri="{FF2B5EF4-FFF2-40B4-BE49-F238E27FC236}">
                <a16:creationId xmlns:a16="http://schemas.microsoft.com/office/drawing/2014/main" id="{8FF91F41-41DE-4B2F-9FFD-EDBBBCD24351}"/>
              </a:ext>
            </a:extLst>
          </p:cNvPr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59784" y="1679005"/>
            <a:ext cx="438048" cy="438048"/>
          </a:xfrm>
          <a:prstGeom prst="rect">
            <a:avLst/>
          </a:prstGeom>
        </p:spPr>
      </p:pic>
      <p:sp>
        <p:nvSpPr>
          <p:cNvPr id="67" name="Textfeld 66">
            <a:extLst>
              <a:ext uri="{FF2B5EF4-FFF2-40B4-BE49-F238E27FC236}">
                <a16:creationId xmlns:a16="http://schemas.microsoft.com/office/drawing/2014/main" id="{252FF819-C585-4A11-91E0-6853F8051539}"/>
              </a:ext>
            </a:extLst>
          </p:cNvPr>
          <p:cNvSpPr txBox="1"/>
          <p:nvPr/>
        </p:nvSpPr>
        <p:spPr bwMode="gray">
          <a:xfrm>
            <a:off x="609908" y="1758098"/>
            <a:ext cx="2101129" cy="36920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126">
              <a:buClr>
                <a:srgbClr val="FF9900"/>
              </a:buClr>
              <a:buSzPct val="140000"/>
            </a:pPr>
            <a:r>
              <a:rPr lang="de-DE" sz="2399" kern="0" dirty="0">
                <a:solidFill>
                  <a:srgbClr val="000099"/>
                </a:solidFill>
                <a:latin typeface="EnBW DIN Pro"/>
                <a:cs typeface="EnBW DIN Pro Medium" panose="020B0604020101020102" pitchFamily="34" charset="0"/>
              </a:rPr>
              <a:t>Bad Wurzach</a:t>
            </a:r>
            <a:endParaRPr lang="de-DE" sz="1999" kern="0" dirty="0">
              <a:solidFill>
                <a:srgbClr val="000099"/>
              </a:solidFill>
              <a:latin typeface="EnBW DIN Pro"/>
              <a:cs typeface="EnBW DIN Pro Medium" panose="020B0604020101020102" pitchFamily="34" charset="0"/>
            </a:endParaRPr>
          </a:p>
        </p:txBody>
      </p:sp>
      <p:sp>
        <p:nvSpPr>
          <p:cNvPr id="68" name="Textplatzhalter 2">
            <a:extLst>
              <a:ext uri="{FF2B5EF4-FFF2-40B4-BE49-F238E27FC236}">
                <a16:creationId xmlns:a16="http://schemas.microsoft.com/office/drawing/2014/main" id="{41E557FE-B70E-4B3E-97E3-335F52D4C88E}"/>
              </a:ext>
            </a:extLst>
          </p:cNvPr>
          <p:cNvSpPr txBox="1">
            <a:spLocks/>
          </p:cNvSpPr>
          <p:nvPr/>
        </p:nvSpPr>
        <p:spPr bwMode="gray">
          <a:xfrm>
            <a:off x="608943" y="2206658"/>
            <a:ext cx="3894558" cy="1755296"/>
          </a:xfrm>
          <a:prstGeom prst="rect">
            <a:avLst/>
          </a:prstGeom>
          <a:solidFill>
            <a:srgbClr val="979797"/>
          </a:solidFill>
          <a:ln>
            <a:solidFill>
              <a:schemeClr val="accent2"/>
            </a:solidFill>
          </a:ln>
          <a:effectLst/>
        </p:spPr>
        <p:txBody>
          <a:bodyPr vert="horz" wrap="square" lIns="107972" tIns="107972" rIns="107972" bIns="107972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SzPct val="100000"/>
              <a:buFontTx/>
              <a:buNone/>
              <a:defRPr lang="de-DE" sz="1400" b="1" baseline="0" dirty="0" smtClean="0">
                <a:solidFill>
                  <a:schemeClr val="tx2"/>
                </a:solidFill>
                <a:latin typeface="EnBW DIN Pro"/>
                <a:ea typeface="EnBW DIN Pro"/>
                <a:cs typeface="EnBW DIN Pro"/>
                <a:sym typeface="EnBW DIN Pro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SzPct val="140000"/>
              <a:buFont typeface="DIN-Medium" panose="020B0600010101020104" pitchFamily="34" charset="0"/>
              <a:buNone/>
              <a:defRPr lang="de-DE" sz="1400" dirty="0" smtClean="0">
                <a:solidFill>
                  <a:schemeClr val="tx1"/>
                </a:solidFill>
                <a:latin typeface="+mn-lt"/>
                <a:ea typeface="EnBW DIN Pro"/>
              </a:defRPr>
            </a:lvl2pPr>
            <a:lvl3pPr marL="162000" indent="-16200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  <a:defRPr lang="de-DE" sz="1400" dirty="0" smtClean="0">
                <a:solidFill>
                  <a:schemeClr val="tx1"/>
                </a:solidFill>
                <a:latin typeface="+mn-lt"/>
                <a:ea typeface="EnBW DIN Pro"/>
              </a:defRPr>
            </a:lvl3pPr>
            <a:lvl4pPr marL="324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lang="de-DE" sz="1200" dirty="0" smtClean="0">
                <a:solidFill>
                  <a:schemeClr val="tx1"/>
                </a:solidFill>
                <a:latin typeface="+mn-lt"/>
                <a:ea typeface="EnBW DIN Pro"/>
              </a:defRPr>
            </a:lvl4pPr>
            <a:lvl5pPr marL="486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lang="de-DE" sz="1200" dirty="0" smtClean="0">
                <a:solidFill>
                  <a:schemeClr val="tx1"/>
                </a:solidFill>
                <a:latin typeface="+mn-lt"/>
                <a:ea typeface="EnBW DIN Pro"/>
              </a:defRPr>
            </a:lvl5pPr>
            <a:lvl6pPr marL="648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25257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7pPr>
            <a:lvl8pPr marL="29829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8pPr>
            <a:lvl9pPr marL="34401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FF9900"/>
              </a:buClr>
            </a:pPr>
            <a:r>
              <a:rPr kern="0" dirty="0">
                <a:solidFill>
                  <a:srgbClr val="FFFFFF"/>
                </a:solidFill>
              </a:rPr>
              <a:t> </a:t>
            </a:r>
          </a:p>
          <a:p>
            <a:pPr>
              <a:buClr>
                <a:srgbClr val="FF9900"/>
              </a:buClr>
            </a:pPr>
            <a:endParaRPr kern="0" dirty="0">
              <a:solidFill>
                <a:srgbClr val="000099"/>
              </a:solidFill>
            </a:endParaRPr>
          </a:p>
          <a:p>
            <a:pPr>
              <a:buClr>
                <a:srgbClr val="FF9900"/>
              </a:buClr>
            </a:pPr>
            <a:endParaRPr kern="0" dirty="0">
              <a:solidFill>
                <a:srgbClr val="000099"/>
              </a:solidFill>
            </a:endParaRPr>
          </a:p>
          <a:p>
            <a:pPr>
              <a:buClr>
                <a:srgbClr val="FF9900"/>
              </a:buClr>
            </a:pPr>
            <a:endParaRPr kern="0" dirty="0">
              <a:solidFill>
                <a:srgbClr val="000099"/>
              </a:solidFill>
            </a:endParaRPr>
          </a:p>
          <a:p>
            <a:pPr>
              <a:buClr>
                <a:srgbClr val="FF9900"/>
              </a:buClr>
            </a:pPr>
            <a:endParaRPr kern="0" dirty="0">
              <a:solidFill>
                <a:srgbClr val="000099"/>
              </a:solidFill>
            </a:endParaRPr>
          </a:p>
        </p:txBody>
      </p:sp>
      <p:graphicFrame>
        <p:nvGraphicFramePr>
          <p:cNvPr id="69" name="Tabelle 68">
            <a:extLst>
              <a:ext uri="{FF2B5EF4-FFF2-40B4-BE49-F238E27FC236}">
                <a16:creationId xmlns:a16="http://schemas.microsoft.com/office/drawing/2014/main" id="{00953548-14A8-4C83-B5F8-124D1EC0FE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88057827"/>
              </p:ext>
            </p:extLst>
          </p:nvPr>
        </p:nvGraphicFramePr>
        <p:xfrm>
          <a:off x="735278" y="2309655"/>
          <a:ext cx="3631864" cy="91435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8988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419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35193"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bg1"/>
                          </a:solidFill>
                          <a:latin typeface="EnBW DIN Pro" panose="020B0504020101020102" pitchFamily="34" charset="0"/>
                          <a:cs typeface="EnBW DIN Pro" panose="020B0504020101020102" pitchFamily="34" charset="0"/>
                        </a:rPr>
                        <a:t>Jahre</a:t>
                      </a:r>
                    </a:p>
                  </a:txBody>
                  <a:tcPr marL="91416" marR="91416" marT="45708" marB="45708" anchor="ctr">
                    <a:solidFill>
                      <a:srgbClr val="0000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bg1"/>
                          </a:solidFill>
                          <a:latin typeface="EnBW DIN Pro" panose="020B0504020101020102" pitchFamily="34" charset="0"/>
                          <a:cs typeface="EnBW DIN Pro" panose="020B0504020101020102" pitchFamily="34" charset="0"/>
                        </a:rPr>
                        <a:t>Anzahl</a:t>
                      </a:r>
                    </a:p>
                  </a:txBody>
                  <a:tcPr marL="91416" marR="91416" marT="45708" marB="45708" anchor="ctr">
                    <a:solidFill>
                      <a:srgbClr val="0000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78969">
                <a:tc>
                  <a:txBody>
                    <a:bodyPr/>
                    <a:lstStyle/>
                    <a:p>
                      <a:pPr algn="ctr"/>
                      <a:r>
                        <a:rPr lang="de-DE" sz="1600" b="1" kern="1200" dirty="0">
                          <a:solidFill>
                            <a:schemeClr val="tx1"/>
                          </a:solidFill>
                          <a:latin typeface="EnBW DIN Pro" panose="020B0504020101020102" pitchFamily="34" charset="0"/>
                          <a:ea typeface="+mn-ea"/>
                          <a:cs typeface="EnBW DIN Pro" panose="020B0504020101020102" pitchFamily="34" charset="0"/>
                        </a:rPr>
                        <a:t> </a:t>
                      </a:r>
                      <a:r>
                        <a:rPr lang="de-DE" sz="1800" b="1" kern="1200" dirty="0">
                          <a:solidFill>
                            <a:schemeClr val="tx1"/>
                          </a:solidFill>
                          <a:latin typeface="EnBW DIN Pro" panose="020B0504020101020102" pitchFamily="34" charset="0"/>
                          <a:ea typeface="+mn-ea"/>
                          <a:cs typeface="EnBW DIN Pro" panose="020B0504020101020102" pitchFamily="34" charset="0"/>
                        </a:rPr>
                        <a:t>ø</a:t>
                      </a:r>
                      <a:r>
                        <a:rPr lang="de-DE" sz="1600" b="1" kern="1200" dirty="0">
                          <a:solidFill>
                            <a:schemeClr val="tx1"/>
                          </a:solidFill>
                          <a:latin typeface="EnBW DIN Pro" panose="020B0504020101020102" pitchFamily="34" charset="0"/>
                          <a:ea typeface="+mn-ea"/>
                          <a:cs typeface="EnBW DIN Pro" panose="020B0504020101020102" pitchFamily="34" charset="0"/>
                        </a:rPr>
                        <a:t> 2018 - 2021</a:t>
                      </a:r>
                    </a:p>
                  </a:txBody>
                  <a:tcPr marL="91416" marR="91416" marT="45708" marB="4570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b="1" dirty="0">
                          <a:solidFill>
                            <a:schemeClr val="tx1"/>
                          </a:solidFill>
                          <a:latin typeface="EnBW DIN Pro" panose="020B0504020101020102" pitchFamily="34" charset="0"/>
                          <a:cs typeface="EnBW DIN Pro" panose="020B0504020101020102" pitchFamily="34" charset="0"/>
                        </a:rPr>
                        <a:t>0,91 </a:t>
                      </a:r>
                      <a:r>
                        <a:rPr lang="de-DE" sz="1600" b="0" dirty="0">
                          <a:solidFill>
                            <a:schemeClr val="tx1"/>
                          </a:solidFill>
                          <a:latin typeface="EnBW DIN Pro" panose="020B0504020101020102" pitchFamily="34" charset="0"/>
                          <a:cs typeface="EnBW DIN Pro" panose="020B0504020101020102" pitchFamily="34" charset="0"/>
                        </a:rPr>
                        <a:t>Störungen/Kunde</a:t>
                      </a:r>
                    </a:p>
                  </a:txBody>
                  <a:tcPr marL="91416" marR="91416" marT="45708" marB="45708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70" name="Textfeld 69">
            <a:extLst>
              <a:ext uri="{FF2B5EF4-FFF2-40B4-BE49-F238E27FC236}">
                <a16:creationId xmlns:a16="http://schemas.microsoft.com/office/drawing/2014/main" id="{62D11A1A-6A05-4273-A689-D26C6B06D091}"/>
              </a:ext>
            </a:extLst>
          </p:cNvPr>
          <p:cNvSpPr txBox="1"/>
          <p:nvPr/>
        </p:nvSpPr>
        <p:spPr>
          <a:xfrm>
            <a:off x="735278" y="3325324"/>
            <a:ext cx="3631864" cy="5232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FFFFFF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1400" dirty="0">
                <a:latin typeface="EnBW DIN Pro" panose="020B0504020101020102" pitchFamily="34" charset="0"/>
                <a:cs typeface="EnBW DIN Pro" panose="020B0504020101020102" pitchFamily="34" charset="0"/>
              </a:rPr>
              <a:t>ø ist ein Kunde im Jahr von einer Stromstörung betroffen</a:t>
            </a:r>
          </a:p>
        </p:txBody>
      </p:sp>
    </p:spTree>
    <p:extLst>
      <p:ext uri="{BB962C8B-B14F-4D97-AF65-F5344CB8AC3E}">
        <p14:creationId xmlns:p14="http://schemas.microsoft.com/office/powerpoint/2010/main" val="1248736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0090D2B-3D50-496F-B53B-BBB4F042794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3D4A45-F672-4474-BA28-E624C64DA635}" type="slidenum">
              <a:rPr lang="de-DE" smtClean="0"/>
              <a:t>17</a:t>
            </a:fld>
            <a:endParaRPr lang="de-DE"/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C127DA24-8F5A-4868-9177-39E462BA74F4}"/>
              </a:ext>
            </a:extLst>
          </p:cNvPr>
          <p:cNvSpPr txBox="1">
            <a:spLocks/>
          </p:cNvSpPr>
          <p:nvPr/>
        </p:nvSpPr>
        <p:spPr bwMode="auto">
          <a:xfrm>
            <a:off x="471247" y="541763"/>
            <a:ext cx="9440706" cy="615393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650" baseline="0">
                <a:solidFill>
                  <a:schemeClr val="accent6"/>
                </a:solidFill>
                <a:latin typeface="+mn-lt"/>
                <a:ea typeface="EnBW DIN Pro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5pPr>
            <a:lvl6pPr marL="342809"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6pPr>
            <a:lvl7pPr marL="685617"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7pPr>
            <a:lvl8pPr marL="1028426"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8pPr>
            <a:lvl9pPr marL="1371234"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9pPr>
          </a:lstStyle>
          <a:p>
            <a:r>
              <a:rPr lang="de-DE" sz="2199" kern="0" dirty="0">
                <a:cs typeface="EnBW DIN Pro Medium" panose="020B0604020101020102" pitchFamily="34" charset="0"/>
              </a:rPr>
              <a:t>Wir investieren in Ihre Zukunft</a:t>
            </a:r>
          </a:p>
          <a:p>
            <a:r>
              <a:rPr lang="de-DE" sz="1800" dirty="0">
                <a:solidFill>
                  <a:schemeClr val="tx2"/>
                </a:solidFill>
                <a:cs typeface="EnBW DIN Pro Medium" panose="020B0604020101020102" pitchFamily="34" charset="0"/>
              </a:rPr>
              <a:t>Maßnahmen- und Kostenübersicht Strom 2017 - 2021</a:t>
            </a:r>
          </a:p>
        </p:txBody>
      </p:sp>
      <p:graphicFrame>
        <p:nvGraphicFramePr>
          <p:cNvPr id="9" name="Tabelle 8">
            <a:extLst>
              <a:ext uri="{FF2B5EF4-FFF2-40B4-BE49-F238E27FC236}">
                <a16:creationId xmlns:a16="http://schemas.microsoft.com/office/drawing/2014/main" id="{B838E5E5-1CE6-49BD-BCAF-1353DE29C30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76610120"/>
              </p:ext>
            </p:extLst>
          </p:nvPr>
        </p:nvGraphicFramePr>
        <p:xfrm>
          <a:off x="350818" y="1510803"/>
          <a:ext cx="11214679" cy="493071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20111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0678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506783">
                  <a:extLst>
                    <a:ext uri="{9D8B030D-6E8A-4147-A177-3AD203B41FA5}">
                      <a16:colId xmlns:a16="http://schemas.microsoft.com/office/drawing/2014/main" val="278923058"/>
                    </a:ext>
                  </a:extLst>
                </a:gridCol>
              </a:tblGrid>
              <a:tr h="561880">
                <a:tc>
                  <a:txBody>
                    <a:bodyPr/>
                    <a:lstStyle/>
                    <a:p>
                      <a:pPr algn="ctr" rtl="0" fontAlgn="b"/>
                      <a:r>
                        <a:rPr lang="de-DE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EnBW DIN Pro" panose="020B0504020101020102" pitchFamily="34" charset="0"/>
                        </a:rPr>
                        <a:t>Maßnahmen</a:t>
                      </a:r>
                    </a:p>
                  </a:txBody>
                  <a:tcPr marL="1203" marR="1203" marT="1203" marB="0" anchor="ctr">
                    <a:solidFill>
                      <a:srgbClr val="0000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de-DE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EnBW DIN Pro" panose="020B0504020101020102" pitchFamily="34" charset="0"/>
                        </a:rPr>
                        <a:t>Jahr</a:t>
                      </a:r>
                    </a:p>
                  </a:txBody>
                  <a:tcPr marL="1203" marR="1203" marT="1203" marB="0" anchor="ctr">
                    <a:solidFill>
                      <a:srgbClr val="0000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de-DE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EnBW DIN Pro" panose="020B0504020101020102" pitchFamily="34" charset="0"/>
                        </a:rPr>
                        <a:t>Kosten</a:t>
                      </a:r>
                    </a:p>
                  </a:txBody>
                  <a:tcPr marL="1203" marR="1203" marT="1203" marB="0" anchor="ctr">
                    <a:solidFill>
                      <a:srgbClr val="0000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40807">
                <a:tc rowSpan="5">
                  <a:txBody>
                    <a:bodyPr/>
                    <a:lstStyle/>
                    <a:p>
                      <a:pPr marL="742950" marR="0" lvl="1" indent="-2857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de-DE" sz="1400" b="0" i="0" u="none" strike="noStrike" dirty="0">
                          <a:solidFill>
                            <a:srgbClr val="3B3B3B"/>
                          </a:solidFill>
                          <a:effectLst/>
                          <a:latin typeface="EnBW DIN Pro" panose="020B0504020101020102" pitchFamily="34" charset="0"/>
                          <a:cs typeface="EnBW DIN Pro" panose="020B0504020101020102" pitchFamily="34" charset="0"/>
                        </a:rPr>
                        <a:t>Erneuerungsmaßnahmen Nieder- &amp; Mittelspannung</a:t>
                      </a:r>
                    </a:p>
                    <a:p>
                      <a:pPr marL="457200" marR="0" lvl="1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solidFill>
                            <a:srgbClr val="3B3B3B"/>
                          </a:solidFill>
                          <a:effectLst/>
                          <a:latin typeface="EnBW DIN Pro" panose="020B0504020101020102" pitchFamily="34" charset="0"/>
                          <a:cs typeface="EnBW DIN Pro" panose="020B0504020101020102" pitchFamily="34" charset="0"/>
                        </a:rPr>
                        <a:t>       -&gt; Kabelverlegung</a:t>
                      </a:r>
                    </a:p>
                    <a:p>
                      <a:pPr marL="457200" marR="0" lvl="1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solidFill>
                            <a:srgbClr val="3B3B3B"/>
                          </a:solidFill>
                          <a:effectLst/>
                          <a:latin typeface="EnBW DIN Pro" panose="020B0504020101020102" pitchFamily="34" charset="0"/>
                          <a:cs typeface="EnBW DIN Pro" panose="020B0504020101020102" pitchFamily="34" charset="0"/>
                        </a:rPr>
                        <a:t>       -&gt; Abbau Freileitung</a:t>
                      </a:r>
                    </a:p>
                    <a:p>
                      <a:pPr marL="457200" marR="0" lvl="1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400" b="0" i="0" u="none" strike="noStrike" dirty="0">
                        <a:solidFill>
                          <a:srgbClr val="3B3B3B"/>
                        </a:solidFill>
                        <a:effectLst/>
                        <a:latin typeface="EnBW DIN Pro" panose="020B0504020101020102" pitchFamily="34" charset="0"/>
                        <a:cs typeface="EnBW DIN Pro" panose="020B0504020101020102" pitchFamily="34" charset="0"/>
                      </a:endParaRPr>
                    </a:p>
                    <a:p>
                      <a:pPr marL="742950" lvl="1" indent="-285750" algn="l" rtl="0" fontAlgn="ctr">
                        <a:buFontTx/>
                        <a:buChar char="-"/>
                      </a:pPr>
                      <a:r>
                        <a:rPr lang="de-DE" sz="1400" b="0" i="0" u="none" strike="noStrike" dirty="0">
                          <a:solidFill>
                            <a:srgbClr val="3B3B3B"/>
                          </a:solidFill>
                          <a:effectLst/>
                          <a:latin typeface="EnBW DIN Pro" panose="020B0504020101020102" pitchFamily="34" charset="0"/>
                          <a:cs typeface="EnBW DIN Pro" panose="020B0504020101020102" pitchFamily="34" charset="0"/>
                        </a:rPr>
                        <a:t>Neue Umspannstationen</a:t>
                      </a:r>
                    </a:p>
                    <a:p>
                      <a:pPr marL="457200" lvl="1" indent="0" algn="l" rtl="0" fontAlgn="ctr">
                        <a:buFontTx/>
                        <a:buNone/>
                      </a:pPr>
                      <a:endParaRPr lang="de-DE" sz="1400" b="0" i="0" u="none" strike="noStrike" dirty="0">
                        <a:solidFill>
                          <a:srgbClr val="3B3B3B"/>
                        </a:solidFill>
                        <a:effectLst/>
                        <a:latin typeface="EnBW DIN Pro" panose="020B0504020101020102" pitchFamily="34" charset="0"/>
                        <a:cs typeface="EnBW DIN Pro" panose="020B0504020101020102" pitchFamily="34" charset="0"/>
                      </a:endParaRPr>
                    </a:p>
                    <a:p>
                      <a:pPr marL="742950" lvl="1" indent="-285750" algn="l" rtl="0" fontAlgn="ctr">
                        <a:buFontTx/>
                        <a:buChar char="-"/>
                      </a:pPr>
                      <a:r>
                        <a:rPr lang="de-DE" sz="1400" b="0" i="0" u="none" strike="noStrike" dirty="0">
                          <a:solidFill>
                            <a:srgbClr val="3B3B3B"/>
                          </a:solidFill>
                          <a:effectLst/>
                          <a:latin typeface="EnBW DIN Pro" panose="020B0504020101020102" pitchFamily="34" charset="0"/>
                          <a:cs typeface="EnBW DIN Pro" panose="020B0504020101020102" pitchFamily="34" charset="0"/>
                        </a:rPr>
                        <a:t>Erschließung Gewerbegebiet</a:t>
                      </a:r>
                    </a:p>
                    <a:p>
                      <a:pPr marL="457200" lvl="1" indent="0" algn="l" rtl="0" fontAlgn="ctr">
                        <a:buFontTx/>
                        <a:buNone/>
                      </a:pPr>
                      <a:endParaRPr lang="de-DE" sz="1400" b="0" i="0" u="none" strike="noStrike" dirty="0">
                        <a:solidFill>
                          <a:srgbClr val="3B3B3B"/>
                        </a:solidFill>
                        <a:effectLst/>
                        <a:latin typeface="EnBW DIN Pro" panose="020B0504020101020102" pitchFamily="34" charset="0"/>
                        <a:cs typeface="EnBW DIN Pro" panose="020B0504020101020102" pitchFamily="34" charset="0"/>
                      </a:endParaRPr>
                    </a:p>
                    <a:p>
                      <a:pPr marL="742950" marR="0" lvl="1" indent="-2857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de-DE" sz="1400" b="0" i="0" u="none" strike="noStrike" dirty="0">
                          <a:solidFill>
                            <a:srgbClr val="3B3B3B"/>
                          </a:solidFill>
                          <a:effectLst/>
                          <a:latin typeface="EnBW DIN Pro" panose="020B0504020101020102" pitchFamily="34" charset="0"/>
                          <a:cs typeface="EnBW DIN Pro" panose="020B0504020101020102" pitchFamily="34" charset="0"/>
                        </a:rPr>
                        <a:t>Erschließung Baugebiete </a:t>
                      </a:r>
                    </a:p>
                    <a:p>
                      <a:pPr algn="ctr"/>
                      <a:endParaRPr lang="de-DE" sz="1400" kern="1200" dirty="0">
                        <a:solidFill>
                          <a:schemeClr val="tx1"/>
                        </a:solidFill>
                        <a:latin typeface="EnBW DIN Pro" panose="020B0504020101020102" pitchFamily="34" charset="0"/>
                        <a:ea typeface="+mn-ea"/>
                        <a:cs typeface="EnBW DIN Pro" panose="020B0504020101020102" pitchFamily="34" charset="0"/>
                      </a:endParaRPr>
                    </a:p>
                  </a:txBody>
                  <a:tcPr marL="91416" marR="91416" marT="45708" marB="45708" anchor="ctr">
                    <a:solidFill>
                      <a:srgbClr val="F6F6F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400" b="0" i="0" u="none" strike="noStrike" dirty="0">
                          <a:solidFill>
                            <a:srgbClr val="3B3B3B"/>
                          </a:solidFill>
                          <a:effectLst/>
                          <a:latin typeface="EnBW DIN Pro" panose="020B0504020101020102" pitchFamily="34" charset="0"/>
                          <a:cs typeface="EnBW DIN Pro" panose="020B0504020101020102" pitchFamily="34" charset="0"/>
                        </a:rPr>
                        <a:t>2017</a:t>
                      </a:r>
                    </a:p>
                  </a:txBody>
                  <a:tcPr marL="1203" marR="1203" marT="1203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kern="1200" dirty="0">
                          <a:solidFill>
                            <a:srgbClr val="3B3B3B"/>
                          </a:solidFill>
                          <a:effectLst/>
                          <a:latin typeface="EnBW DIN Pro" panose="020B0504020101020102" pitchFamily="34" charset="0"/>
                          <a:ea typeface="+mn-ea"/>
                          <a:cs typeface="EnBW DIN Pro" panose="020B0504020101020102" pitchFamily="34" charset="0"/>
                        </a:rPr>
                        <a:t>1.806.000 €</a:t>
                      </a:r>
                    </a:p>
                  </a:txBody>
                  <a:tcPr marL="1203" marR="1203" marT="1203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40807">
                <a:tc vMerge="1">
                  <a:txBody>
                    <a:bodyPr/>
                    <a:lstStyle/>
                    <a:p>
                      <a:pPr algn="ctr"/>
                      <a:r>
                        <a:rPr lang="de-DE" sz="1600" kern="1200" dirty="0">
                          <a:solidFill>
                            <a:schemeClr val="tx1"/>
                          </a:solidFill>
                          <a:latin typeface="EnBW DIN Pro" panose="020B0504020101020102" pitchFamily="34" charset="0"/>
                          <a:ea typeface="+mn-ea"/>
                          <a:cs typeface="EnBW DIN Pro" panose="020B0504020101020102" pitchFamily="34" charset="0"/>
                        </a:rPr>
                        <a:t>201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400" b="0" i="0" u="none" strike="noStrike" dirty="0">
                          <a:solidFill>
                            <a:srgbClr val="3B3B3B"/>
                          </a:solidFill>
                          <a:effectLst/>
                          <a:latin typeface="EnBW DIN Pro" panose="020B0504020101020102" pitchFamily="34" charset="0"/>
                          <a:cs typeface="EnBW DIN Pro" panose="020B0504020101020102" pitchFamily="34" charset="0"/>
                        </a:rPr>
                        <a:t>2018</a:t>
                      </a:r>
                    </a:p>
                  </a:txBody>
                  <a:tcPr marL="1203" marR="1203" marT="1203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kern="1200" dirty="0">
                          <a:solidFill>
                            <a:srgbClr val="3B3B3B"/>
                          </a:solidFill>
                          <a:effectLst/>
                          <a:latin typeface="EnBW DIN Pro" panose="020B0504020101020102" pitchFamily="34" charset="0"/>
                          <a:ea typeface="+mn-ea"/>
                          <a:cs typeface="EnBW DIN Pro" panose="020B0504020101020102" pitchFamily="34" charset="0"/>
                        </a:rPr>
                        <a:t>961.000 €</a:t>
                      </a:r>
                    </a:p>
                  </a:txBody>
                  <a:tcPr marL="1203" marR="1203" marT="1203" marB="0" anchor="ctr"/>
                </a:tc>
                <a:extLst>
                  <a:ext uri="{0D108BD9-81ED-4DB2-BD59-A6C34878D82A}">
                    <a16:rowId xmlns:a16="http://schemas.microsoft.com/office/drawing/2014/main" val="3629583534"/>
                  </a:ext>
                </a:extLst>
              </a:tr>
              <a:tr h="740807">
                <a:tc vMerge="1">
                  <a:txBody>
                    <a:bodyPr/>
                    <a:lstStyle/>
                    <a:p>
                      <a:pPr algn="ctr"/>
                      <a:r>
                        <a:rPr lang="de-DE" sz="1600" kern="1200" dirty="0">
                          <a:solidFill>
                            <a:schemeClr val="tx1"/>
                          </a:solidFill>
                          <a:latin typeface="EnBW DIN Pro" panose="020B0504020101020102" pitchFamily="34" charset="0"/>
                          <a:ea typeface="+mn-ea"/>
                          <a:cs typeface="EnBW DIN Pro" panose="020B0504020101020102" pitchFamily="34" charset="0"/>
                        </a:rPr>
                        <a:t>201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400" b="0" i="0" u="none" strike="noStrike" dirty="0">
                          <a:solidFill>
                            <a:srgbClr val="3B3B3B"/>
                          </a:solidFill>
                          <a:effectLst/>
                          <a:latin typeface="EnBW DIN Pro" panose="020B0504020101020102" pitchFamily="34" charset="0"/>
                          <a:cs typeface="EnBW DIN Pro" panose="020B0504020101020102" pitchFamily="34" charset="0"/>
                        </a:rPr>
                        <a:t>2019</a:t>
                      </a:r>
                    </a:p>
                  </a:txBody>
                  <a:tcPr marL="1203" marR="1203" marT="1203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kern="1200" dirty="0">
                          <a:solidFill>
                            <a:srgbClr val="3B3B3B"/>
                          </a:solidFill>
                          <a:effectLst/>
                          <a:latin typeface="EnBW DIN Pro" panose="020B0504020101020102" pitchFamily="34" charset="0"/>
                          <a:ea typeface="+mn-ea"/>
                          <a:cs typeface="EnBW DIN Pro" panose="020B0504020101020102" pitchFamily="34" charset="0"/>
                        </a:rPr>
                        <a:t>1.205.000 €</a:t>
                      </a:r>
                    </a:p>
                  </a:txBody>
                  <a:tcPr marL="1203" marR="1203" marT="1203" marB="0" anchor="ctr"/>
                </a:tc>
                <a:extLst>
                  <a:ext uri="{0D108BD9-81ED-4DB2-BD59-A6C34878D82A}">
                    <a16:rowId xmlns:a16="http://schemas.microsoft.com/office/drawing/2014/main" val="1005315362"/>
                  </a:ext>
                </a:extLst>
              </a:tr>
              <a:tr h="740807">
                <a:tc vMerge="1">
                  <a:txBody>
                    <a:bodyPr/>
                    <a:lstStyle/>
                    <a:p>
                      <a:pPr algn="ctr"/>
                      <a:r>
                        <a:rPr lang="de-DE" sz="1600" kern="1200" dirty="0">
                          <a:solidFill>
                            <a:schemeClr val="tx1"/>
                          </a:solidFill>
                          <a:latin typeface="EnBW DIN Pro" panose="020B0504020101020102" pitchFamily="34" charset="0"/>
                          <a:ea typeface="+mn-ea"/>
                          <a:cs typeface="EnBW DIN Pro" panose="020B0504020101020102" pitchFamily="34" charset="0"/>
                        </a:rPr>
                        <a:t>202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400" b="0" i="0" u="none" strike="noStrike" dirty="0">
                          <a:solidFill>
                            <a:srgbClr val="3B3B3B"/>
                          </a:solidFill>
                          <a:effectLst/>
                          <a:latin typeface="EnBW DIN Pro" panose="020B0504020101020102" pitchFamily="34" charset="0"/>
                          <a:cs typeface="EnBW DIN Pro" panose="020B0504020101020102" pitchFamily="34" charset="0"/>
                        </a:rPr>
                        <a:t>2020</a:t>
                      </a:r>
                    </a:p>
                  </a:txBody>
                  <a:tcPr marL="1203" marR="1203" marT="1203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kern="1200" dirty="0">
                          <a:solidFill>
                            <a:srgbClr val="3B3B3B"/>
                          </a:solidFill>
                          <a:effectLst/>
                          <a:latin typeface="EnBW DIN Pro" panose="020B0504020101020102" pitchFamily="34" charset="0"/>
                          <a:ea typeface="+mn-ea"/>
                          <a:cs typeface="EnBW DIN Pro" panose="020B0504020101020102" pitchFamily="34" charset="0"/>
                        </a:rPr>
                        <a:t>783.000 €</a:t>
                      </a:r>
                    </a:p>
                  </a:txBody>
                  <a:tcPr marL="1203" marR="1203" marT="1203" marB="0" anchor="ctr"/>
                </a:tc>
                <a:extLst>
                  <a:ext uri="{0D108BD9-81ED-4DB2-BD59-A6C34878D82A}">
                    <a16:rowId xmlns:a16="http://schemas.microsoft.com/office/drawing/2014/main" val="1755335106"/>
                  </a:ext>
                </a:extLst>
              </a:tr>
              <a:tr h="740807">
                <a:tc vMerge="1">
                  <a:txBody>
                    <a:bodyPr/>
                    <a:lstStyle/>
                    <a:p>
                      <a:pPr algn="ctr"/>
                      <a:r>
                        <a:rPr lang="de-DE" sz="1600" kern="1200" dirty="0">
                          <a:solidFill>
                            <a:schemeClr val="tx1"/>
                          </a:solidFill>
                          <a:latin typeface="EnBW DIN Pro" panose="020B0504020101020102" pitchFamily="34" charset="0"/>
                          <a:ea typeface="+mn-ea"/>
                          <a:cs typeface="EnBW DIN Pro" panose="020B0504020101020102" pitchFamily="34" charset="0"/>
                        </a:rPr>
                        <a:t>2021 (Jan-Juli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400" b="0" i="0" u="none" strike="noStrike" dirty="0">
                          <a:solidFill>
                            <a:srgbClr val="3B3B3B"/>
                          </a:solidFill>
                          <a:effectLst/>
                          <a:latin typeface="EnBW DIN Pro" panose="020B0504020101020102" pitchFamily="34" charset="0"/>
                          <a:cs typeface="EnBW DIN Pro" panose="020B0504020101020102" pitchFamily="34" charset="0"/>
                        </a:rPr>
                        <a:t>2021</a:t>
                      </a:r>
                    </a:p>
                  </a:txBody>
                  <a:tcPr marL="1203" marR="1203" marT="1203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400" b="0" i="0" u="none" strike="noStrike" kern="1200" dirty="0">
                          <a:solidFill>
                            <a:srgbClr val="3B3B3B"/>
                          </a:solidFill>
                          <a:effectLst/>
                          <a:latin typeface="EnBW DIN Pro" panose="020B0504020101020102" pitchFamily="34" charset="0"/>
                          <a:ea typeface="+mn-ea"/>
                          <a:cs typeface="EnBW DIN Pro" panose="020B0504020101020102" pitchFamily="34" charset="0"/>
                        </a:rPr>
                        <a:t>2.106.000 €</a:t>
                      </a:r>
                    </a:p>
                  </a:txBody>
                  <a:tcPr marL="1203" marR="1203" marT="1203" marB="0" anchor="ctr"/>
                </a:tc>
                <a:extLst>
                  <a:ext uri="{0D108BD9-81ED-4DB2-BD59-A6C34878D82A}">
                    <a16:rowId xmlns:a16="http://schemas.microsoft.com/office/drawing/2014/main" val="1995448211"/>
                  </a:ext>
                </a:extLst>
              </a:tr>
              <a:tr h="664800">
                <a:tc gridSpan="2">
                  <a:txBody>
                    <a:bodyPr/>
                    <a:lstStyle/>
                    <a:p>
                      <a:pPr lvl="1" algn="l" rtl="0" fontAlgn="ctr"/>
                      <a:r>
                        <a:rPr lang="de-DE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EnBW DIN Pro" panose="020B0504020101020102" pitchFamily="34" charset="0"/>
                          <a:cs typeface="EnBW DIN Pro" panose="020B0504020101020102" pitchFamily="34" charset="0"/>
                        </a:rPr>
                        <a:t>Summe</a:t>
                      </a:r>
                    </a:p>
                  </a:txBody>
                  <a:tcPr marL="54104" marR="1203" marT="1203" marB="0" anchor="ctr">
                    <a:solidFill>
                      <a:srgbClr val="000099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de-DE" sz="1400" b="0" i="0" u="none" strike="noStrike" dirty="0">
                        <a:solidFill>
                          <a:srgbClr val="3B3B3B"/>
                        </a:solidFill>
                        <a:effectLst/>
                        <a:latin typeface="EnBW DIN Pro" panose="020B0504020101020102" pitchFamily="34" charset="0"/>
                        <a:cs typeface="EnBW DIN Pro" panose="020B0504020101020102" pitchFamily="34" charset="0"/>
                      </a:endParaRPr>
                    </a:p>
                  </a:txBody>
                  <a:tcPr marL="1203" marR="1203" marT="1203" marB="0" anchor="ctr"/>
                </a:tc>
                <a:tc>
                  <a:txBody>
                    <a:bodyPr/>
                    <a:lstStyle/>
                    <a:p>
                      <a:pPr marL="457200" lvl="1" algn="l" defTabSz="914400" rtl="0" eaLnBrk="1" fontAlgn="ctr" latinLnBrk="0" hangingPunct="1"/>
                      <a:r>
                        <a:rPr lang="de-DE" sz="18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EnBW DIN Pro" panose="020B0504020101020102" pitchFamily="34" charset="0"/>
                          <a:ea typeface="+mn-ea"/>
                          <a:cs typeface="EnBW DIN Pro" panose="020B0504020101020102" pitchFamily="34" charset="0"/>
                        </a:rPr>
                        <a:t>   ca. 6.861.000 €</a:t>
                      </a:r>
                    </a:p>
                  </a:txBody>
                  <a:tcPr marL="1203" marR="1203" marT="1203" marB="0" anchor="ctr">
                    <a:solidFill>
                      <a:srgbClr val="0000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2436550"/>
                  </a:ext>
                </a:extLst>
              </a:tr>
            </a:tbl>
          </a:graphicData>
        </a:graphic>
      </p:graphicFrame>
      <p:pic>
        <p:nvPicPr>
          <p:cNvPr id="11" name="Bild 3">
            <a:extLst>
              <a:ext uri="{FF2B5EF4-FFF2-40B4-BE49-F238E27FC236}">
                <a16:creationId xmlns:a16="http://schemas.microsoft.com/office/drawing/2014/main" id="{38A4317E-C000-4954-A4DC-709F10675BDC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82393" y="1318308"/>
            <a:ext cx="817756" cy="817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2268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0090D2B-3D50-496F-B53B-BBB4F042794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3D4A45-F672-4474-BA28-E624C64DA635}" type="slidenum">
              <a:rPr lang="de-DE" smtClean="0"/>
              <a:t>18</a:t>
            </a:fld>
            <a:endParaRPr lang="de-DE"/>
          </a:p>
        </p:txBody>
      </p:sp>
      <p:pic>
        <p:nvPicPr>
          <p:cNvPr id="6" name="Bild 3">
            <a:extLst>
              <a:ext uri="{FF2B5EF4-FFF2-40B4-BE49-F238E27FC236}">
                <a16:creationId xmlns:a16="http://schemas.microsoft.com/office/drawing/2014/main" id="{C88F236E-7ED4-4007-BDEA-DA8DBEB9511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04916" y="1567692"/>
            <a:ext cx="450372" cy="450372"/>
          </a:xfrm>
          <a:prstGeom prst="rect">
            <a:avLst/>
          </a:prstGeom>
        </p:spPr>
      </p:pic>
      <p:sp>
        <p:nvSpPr>
          <p:cNvPr id="10" name="Titel 1">
            <a:extLst>
              <a:ext uri="{FF2B5EF4-FFF2-40B4-BE49-F238E27FC236}">
                <a16:creationId xmlns:a16="http://schemas.microsoft.com/office/drawing/2014/main" id="{C127DA24-8F5A-4868-9177-39E462BA74F4}"/>
              </a:ext>
            </a:extLst>
          </p:cNvPr>
          <p:cNvSpPr txBox="1">
            <a:spLocks/>
          </p:cNvSpPr>
          <p:nvPr/>
        </p:nvSpPr>
        <p:spPr bwMode="auto">
          <a:xfrm>
            <a:off x="471247" y="541907"/>
            <a:ext cx="9440706" cy="61510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650" baseline="0">
                <a:solidFill>
                  <a:schemeClr val="accent6"/>
                </a:solidFill>
                <a:latin typeface="+mn-lt"/>
                <a:ea typeface="EnBW DIN Pro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5pPr>
            <a:lvl6pPr marL="342809"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6pPr>
            <a:lvl7pPr marL="685617"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7pPr>
            <a:lvl8pPr marL="1028426"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8pPr>
            <a:lvl9pPr marL="1371234"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9pPr>
          </a:lstStyle>
          <a:p>
            <a:r>
              <a:rPr lang="de-DE" sz="2199" kern="0" dirty="0">
                <a:cs typeface="EnBW DIN Pro Medium" panose="020B0604020101020102" pitchFamily="34" charset="0"/>
              </a:rPr>
              <a:t>Wir investieren in Ihre Zukunft</a:t>
            </a:r>
          </a:p>
          <a:p>
            <a:r>
              <a:rPr lang="de-DE" sz="1798" dirty="0">
                <a:solidFill>
                  <a:schemeClr val="tx2"/>
                </a:solidFill>
                <a:cs typeface="EnBW DIN Pro Medium" panose="020B0604020101020102" pitchFamily="34" charset="0"/>
              </a:rPr>
              <a:t>Highlight-Projekte 2017 - 2021</a:t>
            </a:r>
          </a:p>
        </p:txBody>
      </p:sp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28A01881-8FDA-41FC-A804-614E895F4FD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34886454"/>
              </p:ext>
            </p:extLst>
          </p:nvPr>
        </p:nvGraphicFramePr>
        <p:xfrm>
          <a:off x="328729" y="1500504"/>
          <a:ext cx="11529385" cy="499832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5860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36435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0643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96354">
                <a:tc>
                  <a:txBody>
                    <a:bodyPr/>
                    <a:lstStyle/>
                    <a:p>
                      <a:pPr marL="0" indent="0" algn="l" fontAlgn="b"/>
                      <a:r>
                        <a:rPr lang="de-DE" sz="1600" kern="1200">
                          <a:latin typeface="EnBW DIN Pro" panose="020B0504020101020102" pitchFamily="34" charset="0"/>
                          <a:cs typeface="EnBW DIN Pro" panose="020B0504020101020102" pitchFamily="34" charset="0"/>
                        </a:rPr>
                        <a:t>Jahr</a:t>
                      </a:r>
                    </a:p>
                  </a:txBody>
                  <a:tcPr marL="179953" marR="9523" marT="9523" marB="35991" anchor="ctr">
                    <a:gradFill>
                      <a:gsLst>
                        <a:gs pos="0">
                          <a:srgbClr val="374A9A"/>
                        </a:gs>
                        <a:gs pos="100000">
                          <a:srgbClr val="061671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600" kern="1200" dirty="0">
                          <a:latin typeface="EnBW DIN Pro" panose="020B0504020101020102" pitchFamily="34" charset="0"/>
                          <a:cs typeface="EnBW DIN Pro" panose="020B0504020101020102" pitchFamily="34" charset="0"/>
                        </a:rPr>
                        <a:t>Maßnahme</a:t>
                      </a:r>
                      <a:endParaRPr lang="de-DE" sz="1600" b="1" kern="1200" dirty="0">
                        <a:solidFill>
                          <a:schemeClr val="tx1"/>
                        </a:solidFill>
                        <a:latin typeface="EnBW DIN Pro" panose="020B0504020101020102" pitchFamily="34" charset="0"/>
                        <a:ea typeface="+mn-ea"/>
                        <a:cs typeface="EnBW DIN Pro" panose="020B0504020101020102" pitchFamily="34" charset="0"/>
                      </a:endParaRPr>
                    </a:p>
                  </a:txBody>
                  <a:tcPr marL="179953" marR="9523" marT="9523" marB="35991" anchor="ctr">
                    <a:gradFill>
                      <a:gsLst>
                        <a:gs pos="0">
                          <a:srgbClr val="374A9A"/>
                        </a:gs>
                        <a:gs pos="100000">
                          <a:srgbClr val="061671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tabLst>
                          <a:tab pos="625475" algn="l"/>
                        </a:tabLst>
                      </a:pPr>
                      <a:r>
                        <a:rPr lang="de-DE" sz="1600" kern="1200">
                          <a:latin typeface="EnBW DIN Pro" panose="020B0504020101020102" pitchFamily="34" charset="0"/>
                          <a:cs typeface="EnBW DIN Pro" panose="020B0504020101020102" pitchFamily="34" charset="0"/>
                        </a:rPr>
                        <a:t>Kosten</a:t>
                      </a:r>
                      <a:endParaRPr lang="de-DE" sz="1600" b="1" kern="1200">
                        <a:solidFill>
                          <a:schemeClr val="tx1"/>
                        </a:solidFill>
                        <a:latin typeface="EnBW DIN Pro" panose="020B0504020101020102" pitchFamily="34" charset="0"/>
                        <a:ea typeface="+mn-ea"/>
                        <a:cs typeface="EnBW DIN Pro" panose="020B0504020101020102" pitchFamily="34" charset="0"/>
                      </a:endParaRPr>
                    </a:p>
                  </a:txBody>
                  <a:tcPr marL="179953" marR="179953" marT="9523" marB="35991" anchor="ctr">
                    <a:gradFill>
                      <a:gsLst>
                        <a:gs pos="0">
                          <a:srgbClr val="374A9A"/>
                        </a:gs>
                        <a:gs pos="100000">
                          <a:srgbClr val="061671"/>
                        </a:gs>
                      </a:gsLst>
                      <a:lin ang="5400000" scaled="0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92127">
                <a:tc>
                  <a:txBody>
                    <a:bodyPr/>
                    <a:lstStyle/>
                    <a:p>
                      <a:pPr marL="90488" indent="0" algn="l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DIN-Regular" panose="020B0500010101010101" pitchFamily="34" charset="0"/>
                          <a:ea typeface="DIN-Regular" panose="020B0500010101010101" pitchFamily="34" charset="0"/>
                          <a:cs typeface="Times New Roman"/>
                        </a:rPr>
                        <a:t>2017</a:t>
                      </a:r>
                    </a:p>
                  </a:txBody>
                  <a:tcPr marL="68562" marR="68562" marT="0" marB="0" anchor="ctr"/>
                </a:tc>
                <a:tc>
                  <a:txBody>
                    <a:bodyPr/>
                    <a:lstStyle/>
                    <a:p>
                      <a:pPr marL="90488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DIN-Regular" panose="020B0500010101010101" pitchFamily="34" charset="0"/>
                          <a:ea typeface="DIN-Regular" panose="020B0500010101010101" pitchFamily="34" charset="0"/>
                          <a:cs typeface="Times New Roman"/>
                        </a:rPr>
                        <a:t>20kV-Leitung Verstärkung, Abbau Freileitung, UST Neubau; </a:t>
                      </a:r>
                      <a:r>
                        <a:rPr lang="de-DE" sz="1400" b="0" kern="1200" dirty="0" err="1">
                          <a:solidFill>
                            <a:schemeClr val="tx1"/>
                          </a:solidFill>
                          <a:effectLst/>
                          <a:latin typeface="DIN-Regular" panose="020B0500010101010101" pitchFamily="34" charset="0"/>
                          <a:ea typeface="DIN-Regular" panose="020B0500010101010101" pitchFamily="34" charset="0"/>
                          <a:cs typeface="Times New Roman"/>
                        </a:rPr>
                        <a:t>Truilz</a:t>
                      </a:r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DIN-Regular" panose="020B0500010101010101" pitchFamily="34" charset="0"/>
                          <a:ea typeface="DIN-Regular" panose="020B0500010101010101" pitchFamily="34" charset="0"/>
                          <a:cs typeface="Times New Roman"/>
                        </a:rPr>
                        <a:t> - </a:t>
                      </a:r>
                      <a:r>
                        <a:rPr lang="de-DE" sz="1400" b="0" kern="1200" dirty="0" err="1">
                          <a:solidFill>
                            <a:schemeClr val="tx1"/>
                          </a:solidFill>
                          <a:effectLst/>
                          <a:latin typeface="DIN-Regular" panose="020B0500010101010101" pitchFamily="34" charset="0"/>
                          <a:ea typeface="DIN-Regular" panose="020B0500010101010101" pitchFamily="34" charset="0"/>
                          <a:cs typeface="Times New Roman"/>
                        </a:rPr>
                        <a:t>Unterluizen</a:t>
                      </a:r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DIN-Regular" panose="020B0500010101010101" pitchFamily="34" charset="0"/>
                          <a:ea typeface="DIN-Regular" panose="020B0500010101010101" pitchFamily="34" charset="0"/>
                          <a:cs typeface="Times New Roman"/>
                        </a:rPr>
                        <a:t> </a:t>
                      </a:r>
                    </a:p>
                    <a:p>
                      <a:pPr marL="90488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DIN-Regular" panose="020B0500010101010101" pitchFamily="34" charset="0"/>
                          <a:ea typeface="DIN-Regular" panose="020B0500010101010101" pitchFamily="34" charset="0"/>
                          <a:cs typeface="Times New Roman"/>
                        </a:rPr>
                        <a:t>20kV-Leitung Verkabelung, Neubau Niederspannung; Humberg-Schreinermann</a:t>
                      </a:r>
                      <a:endParaRPr lang="de-DE" sz="1400" b="0" kern="1200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DIN-Regular" panose="020B0500010101010101" pitchFamily="34" charset="0"/>
                        <a:ea typeface="DIN-Regular" panose="020B0500010101010101" pitchFamily="34" charset="0"/>
                        <a:cs typeface="Times New Roman"/>
                      </a:endParaRPr>
                    </a:p>
                  </a:txBody>
                  <a:tcPr marL="68562" marR="68562" marT="0" marB="0" anchor="ctr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1" dirty="0">
                          <a:solidFill>
                            <a:schemeClr val="tx1"/>
                          </a:solidFill>
                          <a:effectLst/>
                          <a:latin typeface="DIN-Regular" panose="020B0500010101010101" pitchFamily="34" charset="0"/>
                          <a:ea typeface="DIN-Regular" panose="020B0500010101010101" pitchFamily="34" charset="0"/>
                          <a:cs typeface="Times New Roman"/>
                        </a:rPr>
                        <a:t>420.000 €</a:t>
                      </a:r>
                    </a:p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1" dirty="0">
                          <a:solidFill>
                            <a:schemeClr val="tx1"/>
                          </a:solidFill>
                          <a:effectLst/>
                          <a:latin typeface="DIN-Regular" panose="020B0500010101010101" pitchFamily="34" charset="0"/>
                          <a:ea typeface="DIN-Regular" panose="020B0500010101010101" pitchFamily="34" charset="0"/>
                          <a:cs typeface="Times New Roman"/>
                        </a:rPr>
                        <a:t>255.000 €</a:t>
                      </a:r>
                    </a:p>
                  </a:txBody>
                  <a:tcPr marL="68562" marR="179953" marT="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01969">
                <a:tc>
                  <a:txBody>
                    <a:bodyPr/>
                    <a:lstStyle/>
                    <a:p>
                      <a:pPr marL="90488" indent="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de-DE" sz="1400" b="0" dirty="0">
                          <a:solidFill>
                            <a:schemeClr val="tx1"/>
                          </a:solidFill>
                          <a:effectLst/>
                          <a:latin typeface="DIN-Regular" panose="020B0500010101010101" pitchFamily="34" charset="0"/>
                          <a:ea typeface="DIN-Regular" panose="020B0500010101010101" pitchFamily="34" charset="0"/>
                          <a:cs typeface="Times New Roman"/>
                        </a:rPr>
                        <a:t>2018</a:t>
                      </a:r>
                    </a:p>
                  </a:txBody>
                  <a:tcPr marL="68562" marR="68562" marT="0" marB="0" anchor="ctr"/>
                </a:tc>
                <a:tc>
                  <a:txBody>
                    <a:bodyPr/>
                    <a:lstStyle/>
                    <a:p>
                      <a:pPr marL="90488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DIN-Regular" panose="020B0500010101010101" pitchFamily="34" charset="0"/>
                          <a:ea typeface="DIN-Regular" panose="020B0500010101010101" pitchFamily="34" charset="0"/>
                          <a:cs typeface="Times New Roman"/>
                        </a:rPr>
                        <a:t>Verkabelung 20kV-Leitung, Erneuerung Niederspannung und UST, Abbau Freileitung; Gartenäcker</a:t>
                      </a:r>
                    </a:p>
                    <a:p>
                      <a:pPr marL="90488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DIN-Regular" panose="020B0500010101010101" pitchFamily="34" charset="0"/>
                          <a:ea typeface="DIN-Regular" panose="020B0500010101010101" pitchFamily="34" charset="0"/>
                          <a:cs typeface="Times New Roman"/>
                        </a:rPr>
                        <a:t>Ersatzbau UST </a:t>
                      </a:r>
                      <a:r>
                        <a:rPr lang="de-DE" sz="1400" b="0" kern="1200" dirty="0" err="1">
                          <a:solidFill>
                            <a:schemeClr val="tx1"/>
                          </a:solidFill>
                          <a:effectLst/>
                          <a:latin typeface="DIN-Regular" panose="020B0500010101010101" pitchFamily="34" charset="0"/>
                          <a:ea typeface="DIN-Regular" panose="020B0500010101010101" pitchFamily="34" charset="0"/>
                          <a:cs typeface="Times New Roman"/>
                        </a:rPr>
                        <a:t>Baierz</a:t>
                      </a:r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DIN-Regular" panose="020B0500010101010101" pitchFamily="34" charset="0"/>
                          <a:ea typeface="DIN-Regular" panose="020B0500010101010101" pitchFamily="34" charset="0"/>
                          <a:cs typeface="Times New Roman"/>
                        </a:rPr>
                        <a:t> inkl. Erneuerung Mittel- und Niederspannung</a:t>
                      </a:r>
                    </a:p>
                  </a:txBody>
                  <a:tcPr marL="68562" marR="68562" marT="0" marB="0" anchor="ctr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1" dirty="0">
                          <a:solidFill>
                            <a:schemeClr val="tx1"/>
                          </a:solidFill>
                          <a:effectLst/>
                          <a:latin typeface="DIN-Regular" panose="020B0500010101010101" pitchFamily="34" charset="0"/>
                          <a:ea typeface="DIN-Regular" panose="020B0500010101010101" pitchFamily="34" charset="0"/>
                          <a:cs typeface="Times New Roman"/>
                        </a:rPr>
                        <a:t>78.000 €</a:t>
                      </a:r>
                    </a:p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1" dirty="0">
                          <a:solidFill>
                            <a:schemeClr val="tx1"/>
                          </a:solidFill>
                          <a:effectLst/>
                          <a:latin typeface="DIN-Regular" panose="020B0500010101010101" pitchFamily="34" charset="0"/>
                          <a:ea typeface="DIN-Regular" panose="020B0500010101010101" pitchFamily="34" charset="0"/>
                          <a:cs typeface="Times New Roman"/>
                        </a:rPr>
                        <a:t>40.000 €</a:t>
                      </a:r>
                    </a:p>
                  </a:txBody>
                  <a:tcPr marL="68562" marR="179953" marT="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002461">
                <a:tc>
                  <a:txBody>
                    <a:bodyPr/>
                    <a:lstStyle/>
                    <a:p>
                      <a:pPr marL="90488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dirty="0">
                          <a:solidFill>
                            <a:schemeClr val="tx1"/>
                          </a:solidFill>
                          <a:effectLst/>
                          <a:latin typeface="DIN-Regular" panose="020B0500010101010101" pitchFamily="34" charset="0"/>
                          <a:ea typeface="DIN-Regular" panose="020B0500010101010101" pitchFamily="34" charset="0"/>
                          <a:cs typeface="Times New Roman"/>
                        </a:rPr>
                        <a:t>2019</a:t>
                      </a:r>
                    </a:p>
                  </a:txBody>
                  <a:tcPr marL="68562" marR="68562" marT="0" marB="0" anchor="ctr"/>
                </a:tc>
                <a:tc>
                  <a:txBody>
                    <a:bodyPr/>
                    <a:lstStyle/>
                    <a:p>
                      <a:pPr marL="90488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DIN-Regular" panose="020B0500010101010101" pitchFamily="34" charset="0"/>
                          <a:ea typeface="DIN-Regular" panose="020B0500010101010101" pitchFamily="34" charset="0"/>
                          <a:cs typeface="Times New Roman"/>
                        </a:rPr>
                        <a:t>Netzverstärkung EEG, Neubau Mittel- und Niederspannung; Schwende</a:t>
                      </a:r>
                    </a:p>
                    <a:p>
                      <a:pPr marL="90488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DIN-Regular" panose="020B0500010101010101" pitchFamily="34" charset="0"/>
                          <a:ea typeface="DIN-Regular" panose="020B0500010101010101" pitchFamily="34" charset="0"/>
                          <a:cs typeface="Times New Roman"/>
                        </a:rPr>
                        <a:t>Erneuerung UST </a:t>
                      </a:r>
                      <a:r>
                        <a:rPr lang="de-DE" sz="1400" b="0" kern="1200" dirty="0" err="1">
                          <a:solidFill>
                            <a:schemeClr val="tx1"/>
                          </a:solidFill>
                          <a:effectLst/>
                          <a:latin typeface="DIN-Regular" panose="020B0500010101010101" pitchFamily="34" charset="0"/>
                          <a:ea typeface="DIN-Regular" panose="020B0500010101010101" pitchFamily="34" charset="0"/>
                          <a:cs typeface="Times New Roman"/>
                        </a:rPr>
                        <a:t>Eintürnen</a:t>
                      </a:r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DIN-Regular" panose="020B0500010101010101" pitchFamily="34" charset="0"/>
                          <a:ea typeface="DIN-Regular" panose="020B0500010101010101" pitchFamily="34" charset="0"/>
                          <a:cs typeface="Times New Roman"/>
                        </a:rPr>
                        <a:t> Einöde Franziskus, inkl. Verkabelung Mittel- und Niederspannung</a:t>
                      </a:r>
                    </a:p>
                    <a:p>
                      <a:pPr marL="90488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DIN-Regular" panose="020B0500010101010101" pitchFamily="34" charset="0"/>
                          <a:ea typeface="DIN-Regular" panose="020B0500010101010101" pitchFamily="34" charset="0"/>
                          <a:cs typeface="Times New Roman"/>
                        </a:rPr>
                        <a:t>Neubau Niederspannung inkl. Hausanschlüsse, </a:t>
                      </a:r>
                      <a:r>
                        <a:rPr lang="de-DE" sz="1400" b="0" kern="1200" dirty="0" err="1">
                          <a:solidFill>
                            <a:schemeClr val="tx1"/>
                          </a:solidFill>
                          <a:effectLst/>
                          <a:latin typeface="DIN-Regular" panose="020B0500010101010101" pitchFamily="34" charset="0"/>
                          <a:ea typeface="DIN-Regular" panose="020B0500010101010101" pitchFamily="34" charset="0"/>
                          <a:cs typeface="Times New Roman"/>
                        </a:rPr>
                        <a:t>Achbergstraße</a:t>
                      </a:r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DIN-Regular" panose="020B0500010101010101" pitchFamily="34" charset="0"/>
                          <a:ea typeface="DIN-Regular" panose="020B0500010101010101" pitchFamily="34" charset="0"/>
                          <a:cs typeface="Times New Roman"/>
                        </a:rPr>
                        <a:t> </a:t>
                      </a:r>
                    </a:p>
                  </a:txBody>
                  <a:tcPr marL="68562" marR="68562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de-DE" sz="1400" b="1" dirty="0">
                          <a:solidFill>
                            <a:schemeClr val="tx1"/>
                          </a:solidFill>
                          <a:effectLst/>
                          <a:latin typeface="DIN-Regular" panose="020B0500010101010101" pitchFamily="34" charset="0"/>
                          <a:ea typeface="DIN-Regular" panose="020B0500010101010101" pitchFamily="34" charset="0"/>
                          <a:cs typeface="Times New Roman"/>
                        </a:rPr>
                        <a:t>92.000 €</a:t>
                      </a:r>
                    </a:p>
                    <a:p>
                      <a:pPr algn="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de-DE" sz="1400" b="1" dirty="0">
                          <a:solidFill>
                            <a:schemeClr val="tx1"/>
                          </a:solidFill>
                          <a:effectLst/>
                          <a:latin typeface="DIN-Regular" panose="020B0500010101010101" pitchFamily="34" charset="0"/>
                          <a:ea typeface="DIN-Regular" panose="020B0500010101010101" pitchFamily="34" charset="0"/>
                          <a:cs typeface="Times New Roman"/>
                        </a:rPr>
                        <a:t>59.000 €</a:t>
                      </a:r>
                    </a:p>
                    <a:p>
                      <a:pPr algn="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de-DE" sz="1400" b="1" dirty="0">
                          <a:solidFill>
                            <a:schemeClr val="tx1"/>
                          </a:solidFill>
                          <a:effectLst/>
                          <a:latin typeface="DIN-Regular" panose="020B0500010101010101" pitchFamily="34" charset="0"/>
                          <a:ea typeface="DIN-Regular" panose="020B0500010101010101" pitchFamily="34" charset="0"/>
                          <a:cs typeface="Times New Roman"/>
                        </a:rPr>
                        <a:t>57.000 €</a:t>
                      </a:r>
                    </a:p>
                  </a:txBody>
                  <a:tcPr marL="68562" marR="179953" marT="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002461">
                <a:tc>
                  <a:txBody>
                    <a:bodyPr/>
                    <a:lstStyle/>
                    <a:p>
                      <a:pPr marL="90488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DIN-Regular" panose="020B0500010101010101" pitchFamily="34" charset="0"/>
                          <a:ea typeface="DIN-Regular" panose="020B0500010101010101" pitchFamily="34" charset="0"/>
                          <a:cs typeface="Times New Roman"/>
                        </a:rPr>
                        <a:t>2020</a:t>
                      </a:r>
                    </a:p>
                  </a:txBody>
                  <a:tcPr marL="68562" marR="68562" marT="0" marB="0" anchor="ctr"/>
                </a:tc>
                <a:tc>
                  <a:txBody>
                    <a:bodyPr/>
                    <a:lstStyle/>
                    <a:p>
                      <a:pPr marL="90488" indent="0" algn="l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DIN-Regular" panose="020B0500010101010101" pitchFamily="34" charset="0"/>
                          <a:ea typeface="DIN-Regular" panose="020B0500010101010101" pitchFamily="34" charset="0"/>
                          <a:cs typeface="Times New Roman"/>
                        </a:rPr>
                        <a:t>20-kV-Leitung, Zeppelinstraße</a:t>
                      </a:r>
                    </a:p>
                    <a:p>
                      <a:pPr marL="90488" indent="0" algn="l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DIN-Regular" panose="020B0500010101010101" pitchFamily="34" charset="0"/>
                          <a:ea typeface="DIN-Regular" panose="020B0500010101010101" pitchFamily="34" charset="0"/>
                          <a:cs typeface="Times New Roman"/>
                        </a:rPr>
                        <a:t>Neubau Niederspannung, Erschließung Neubaugebiet „Hinter der Burg“ Bauabschnitt III</a:t>
                      </a:r>
                    </a:p>
                    <a:p>
                      <a:pPr marL="90488" indent="0" algn="l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DIN-Regular" panose="020B0500010101010101" pitchFamily="34" charset="0"/>
                          <a:ea typeface="DIN-Regular" panose="020B0500010101010101" pitchFamily="34" charset="0"/>
                          <a:cs typeface="Times New Roman"/>
                        </a:rPr>
                        <a:t>Verkabelung Niederspannung, Abbau Freileitung wg. EEG; Franziskusstraße </a:t>
                      </a:r>
                    </a:p>
                  </a:txBody>
                  <a:tcPr marL="68562" marR="68562" marT="0" marB="0" anchor="ctr"/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1" dirty="0">
                          <a:solidFill>
                            <a:schemeClr val="tx1"/>
                          </a:solidFill>
                          <a:effectLst/>
                          <a:latin typeface="DIN-Regular" panose="020B0500010101010101" pitchFamily="34" charset="0"/>
                          <a:ea typeface="DIN-Regular" panose="020B0500010101010101" pitchFamily="34" charset="0"/>
                          <a:cs typeface="Times New Roman"/>
                        </a:rPr>
                        <a:t>57.000 €</a:t>
                      </a:r>
                    </a:p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1" dirty="0">
                          <a:solidFill>
                            <a:schemeClr val="tx1"/>
                          </a:solidFill>
                          <a:effectLst/>
                          <a:latin typeface="DIN-Regular" panose="020B0500010101010101" pitchFamily="34" charset="0"/>
                          <a:ea typeface="DIN-Regular" panose="020B0500010101010101" pitchFamily="34" charset="0"/>
                          <a:cs typeface="Times New Roman"/>
                        </a:rPr>
                        <a:t>35.000 €</a:t>
                      </a:r>
                    </a:p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1" dirty="0">
                          <a:solidFill>
                            <a:schemeClr val="tx1"/>
                          </a:solidFill>
                          <a:effectLst/>
                          <a:latin typeface="DIN-Regular" panose="020B0500010101010101" pitchFamily="34" charset="0"/>
                          <a:ea typeface="DIN-Regular" panose="020B0500010101010101" pitchFamily="34" charset="0"/>
                          <a:cs typeface="Times New Roman"/>
                        </a:rPr>
                        <a:t>31.000 €</a:t>
                      </a:r>
                    </a:p>
                  </a:txBody>
                  <a:tcPr marL="68562" marR="179953" marT="0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202953">
                <a:tc>
                  <a:txBody>
                    <a:bodyPr/>
                    <a:lstStyle/>
                    <a:p>
                      <a:pPr marL="90488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DIN-Regular" panose="020B0500010101010101" pitchFamily="34" charset="0"/>
                          <a:ea typeface="DIN-Regular" panose="020B0500010101010101" pitchFamily="34" charset="0"/>
                          <a:cs typeface="Times New Roman"/>
                        </a:rPr>
                        <a:t>2021</a:t>
                      </a:r>
                    </a:p>
                  </a:txBody>
                  <a:tcPr marL="68562" marR="68562" marT="0" marB="0" anchor="ctr"/>
                </a:tc>
                <a:tc>
                  <a:txBody>
                    <a:bodyPr/>
                    <a:lstStyle/>
                    <a:p>
                      <a:pPr marL="90488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DIN-Regular" panose="020B0500010101010101" pitchFamily="34" charset="0"/>
                          <a:ea typeface="DIN-Regular" panose="020B0500010101010101" pitchFamily="34" charset="0"/>
                          <a:cs typeface="Times New Roman"/>
                        </a:rPr>
                        <a:t>20-kV-Leitung Verkabelung und Ausbau; Mitverlegung Vodafone; Ziegelbach</a:t>
                      </a:r>
                    </a:p>
                    <a:p>
                      <a:pPr marL="90488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DIN-Regular" panose="020B0500010101010101" pitchFamily="34" charset="0"/>
                          <a:ea typeface="DIN-Regular" panose="020B0500010101010101" pitchFamily="34" charset="0"/>
                          <a:cs typeface="Times New Roman"/>
                        </a:rPr>
                        <a:t>Neubau Mittel-, Niederspannung und Umspannstation; Neubaugebiet St. Leonhard</a:t>
                      </a:r>
                    </a:p>
                    <a:p>
                      <a:pPr marL="90488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DIN-Regular" panose="020B0500010101010101" pitchFamily="34" charset="0"/>
                          <a:ea typeface="DIN-Regular" panose="020B0500010101010101" pitchFamily="34" charset="0"/>
                          <a:cs typeface="Times New Roman"/>
                        </a:rPr>
                        <a:t>Neubau Niederspannung und Umspannstation, Erweiterung Mittelspannung wg. EEG; </a:t>
                      </a:r>
                      <a:r>
                        <a:rPr lang="de-DE" sz="1400" b="0" kern="1200" dirty="0" err="1">
                          <a:solidFill>
                            <a:schemeClr val="tx1"/>
                          </a:solidFill>
                          <a:effectLst/>
                          <a:latin typeface="DIN-Regular" panose="020B0500010101010101" pitchFamily="34" charset="0"/>
                          <a:ea typeface="DIN-Regular" panose="020B0500010101010101" pitchFamily="34" charset="0"/>
                          <a:cs typeface="Times New Roman"/>
                        </a:rPr>
                        <a:t>Waldseer</a:t>
                      </a:r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DIN-Regular" panose="020B0500010101010101" pitchFamily="34" charset="0"/>
                          <a:ea typeface="DIN-Regular" panose="020B0500010101010101" pitchFamily="34" charset="0"/>
                          <a:cs typeface="Times New Roman"/>
                        </a:rPr>
                        <a:t> Straße</a:t>
                      </a:r>
                    </a:p>
                    <a:p>
                      <a:pPr marL="90488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DIN-Regular" panose="020B0500010101010101" pitchFamily="34" charset="0"/>
                          <a:ea typeface="DIN-Regular" panose="020B0500010101010101" pitchFamily="34" charset="0"/>
                          <a:cs typeface="Times New Roman"/>
                        </a:rPr>
                        <a:t>Verkabelung Niederspannung; Oberschwarzach Alpenblickstraße</a:t>
                      </a:r>
                    </a:p>
                  </a:txBody>
                  <a:tcPr marL="68562" marR="68562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de-DE" sz="1400" b="1" dirty="0">
                          <a:solidFill>
                            <a:schemeClr val="tx1"/>
                          </a:solidFill>
                          <a:effectLst/>
                          <a:latin typeface="DIN-Regular" panose="020B0500010101010101" pitchFamily="34" charset="0"/>
                          <a:ea typeface="DIN-Regular" panose="020B0500010101010101" pitchFamily="34" charset="0"/>
                          <a:cs typeface="Times New Roman"/>
                        </a:rPr>
                        <a:t>332.000 €</a:t>
                      </a:r>
                    </a:p>
                    <a:p>
                      <a:pPr algn="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de-DE" sz="1400" b="1" dirty="0">
                          <a:solidFill>
                            <a:schemeClr val="tx1"/>
                          </a:solidFill>
                          <a:effectLst/>
                          <a:latin typeface="DIN-Regular" panose="020B0500010101010101" pitchFamily="34" charset="0"/>
                          <a:ea typeface="DIN-Regular" panose="020B0500010101010101" pitchFamily="34" charset="0"/>
                          <a:cs typeface="Times New Roman"/>
                        </a:rPr>
                        <a:t>162.000 €</a:t>
                      </a:r>
                    </a:p>
                    <a:p>
                      <a:pPr algn="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de-DE" sz="1400" b="1" dirty="0">
                          <a:solidFill>
                            <a:schemeClr val="tx1"/>
                          </a:solidFill>
                          <a:effectLst/>
                          <a:latin typeface="DIN-Regular" panose="020B0500010101010101" pitchFamily="34" charset="0"/>
                          <a:ea typeface="DIN-Regular" panose="020B0500010101010101" pitchFamily="34" charset="0"/>
                          <a:cs typeface="Times New Roman"/>
                        </a:rPr>
                        <a:t>90.000 €</a:t>
                      </a:r>
                    </a:p>
                    <a:p>
                      <a:pPr algn="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de-DE" sz="1400" b="1" dirty="0">
                          <a:solidFill>
                            <a:schemeClr val="tx1"/>
                          </a:solidFill>
                          <a:effectLst/>
                          <a:latin typeface="DIN-Regular" panose="020B0500010101010101" pitchFamily="34" charset="0"/>
                          <a:ea typeface="DIN-Regular" panose="020B0500010101010101" pitchFamily="34" charset="0"/>
                          <a:cs typeface="Times New Roman"/>
                        </a:rPr>
                        <a:t>54.000 €</a:t>
                      </a:r>
                    </a:p>
                  </a:txBody>
                  <a:tcPr marL="68562" marR="179953" marT="0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pic>
        <p:nvPicPr>
          <p:cNvPr id="12" name="Bild 3">
            <a:extLst>
              <a:ext uri="{FF2B5EF4-FFF2-40B4-BE49-F238E27FC236}">
                <a16:creationId xmlns:a16="http://schemas.microsoft.com/office/drawing/2014/main" id="{102555C7-783C-4E9B-A49B-FA0774D23E9C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79562" y="1404986"/>
            <a:ext cx="686884" cy="686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3102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0090D2B-3D50-496F-B53B-BBB4F042794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3D4A45-F672-4474-BA28-E624C64DA635}" type="slidenum">
              <a:rPr lang="de-DE" smtClean="0"/>
              <a:t>19</a:t>
            </a:fld>
            <a:endParaRPr lang="de-DE"/>
          </a:p>
        </p:txBody>
      </p:sp>
      <p:graphicFrame>
        <p:nvGraphicFramePr>
          <p:cNvPr id="9" name="Tabelle 8">
            <a:extLst>
              <a:ext uri="{FF2B5EF4-FFF2-40B4-BE49-F238E27FC236}">
                <a16:creationId xmlns:a16="http://schemas.microsoft.com/office/drawing/2014/main" id="{F96C027B-BF99-4256-977D-6818AB9DD78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59329346"/>
              </p:ext>
            </p:extLst>
          </p:nvPr>
        </p:nvGraphicFramePr>
        <p:xfrm>
          <a:off x="337062" y="1567693"/>
          <a:ext cx="11529385" cy="52351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9214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1187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2536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21793">
                <a:tc>
                  <a:txBody>
                    <a:bodyPr/>
                    <a:lstStyle/>
                    <a:p>
                      <a:pPr marL="0" indent="0" algn="l" fontAlgn="b"/>
                      <a:r>
                        <a:rPr lang="de-DE" sz="1600" kern="1200">
                          <a:latin typeface="EnBW DIN Pro" panose="020B0504020101020102" pitchFamily="34" charset="0"/>
                          <a:cs typeface="EnBW DIN Pro" panose="020B0504020101020102" pitchFamily="34" charset="0"/>
                        </a:rPr>
                        <a:t>Jahr</a:t>
                      </a:r>
                    </a:p>
                  </a:txBody>
                  <a:tcPr marL="179953" marR="9523" marT="9523" marB="35991" anchor="ctr">
                    <a:gradFill>
                      <a:gsLst>
                        <a:gs pos="0">
                          <a:srgbClr val="374A9A"/>
                        </a:gs>
                        <a:gs pos="100000">
                          <a:srgbClr val="061671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600" kern="1200" dirty="0">
                          <a:latin typeface="EnBW DIN Pro" panose="020B0504020101020102" pitchFamily="34" charset="0"/>
                          <a:cs typeface="EnBW DIN Pro" panose="020B0504020101020102" pitchFamily="34" charset="0"/>
                        </a:rPr>
                        <a:t>Maßnahme</a:t>
                      </a:r>
                      <a:endParaRPr lang="de-DE" sz="1600" b="1" kern="1200" dirty="0">
                        <a:solidFill>
                          <a:schemeClr val="tx1"/>
                        </a:solidFill>
                        <a:latin typeface="EnBW DIN Pro" panose="020B0504020101020102" pitchFamily="34" charset="0"/>
                        <a:ea typeface="+mn-ea"/>
                        <a:cs typeface="EnBW DIN Pro" panose="020B0504020101020102" pitchFamily="34" charset="0"/>
                      </a:endParaRPr>
                    </a:p>
                  </a:txBody>
                  <a:tcPr marL="179953" marR="9523" marT="9523" marB="35991" anchor="ctr">
                    <a:gradFill>
                      <a:gsLst>
                        <a:gs pos="0">
                          <a:srgbClr val="374A9A"/>
                        </a:gs>
                        <a:gs pos="100000">
                          <a:srgbClr val="061671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tabLst>
                          <a:tab pos="625475" algn="l"/>
                        </a:tabLst>
                      </a:pPr>
                      <a:r>
                        <a:rPr lang="de-DE" sz="1600" kern="1200">
                          <a:latin typeface="EnBW DIN Pro" panose="020B0504020101020102" pitchFamily="34" charset="0"/>
                          <a:cs typeface="EnBW DIN Pro" panose="020B0504020101020102" pitchFamily="34" charset="0"/>
                        </a:rPr>
                        <a:t>Plankosten</a:t>
                      </a:r>
                      <a:endParaRPr lang="de-DE" sz="1600" b="1" kern="1200">
                        <a:solidFill>
                          <a:schemeClr val="tx1"/>
                        </a:solidFill>
                        <a:latin typeface="EnBW DIN Pro" panose="020B0504020101020102" pitchFamily="34" charset="0"/>
                        <a:ea typeface="+mn-ea"/>
                        <a:cs typeface="EnBW DIN Pro" panose="020B0504020101020102" pitchFamily="34" charset="0"/>
                      </a:endParaRPr>
                    </a:p>
                  </a:txBody>
                  <a:tcPr marL="179953" marR="179953" marT="9523" marB="35991" anchor="ctr">
                    <a:gradFill>
                      <a:gsLst>
                        <a:gs pos="0">
                          <a:srgbClr val="374A9A"/>
                        </a:gs>
                        <a:gs pos="100000">
                          <a:srgbClr val="061671"/>
                        </a:gs>
                      </a:gsLst>
                      <a:lin ang="5400000" scaled="0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30130">
                <a:tc>
                  <a:txBody>
                    <a:bodyPr/>
                    <a:lstStyle/>
                    <a:p>
                      <a:pPr marL="90488" indent="0" algn="l" defTabSz="914400" rtl="0" eaLnBrk="1" latinLnBrk="0" hangingPunct="1">
                        <a:lnSpc>
                          <a:spcPts val="1150"/>
                        </a:lnSpc>
                        <a:spcAft>
                          <a:spcPts val="0"/>
                        </a:spcAft>
                      </a:pPr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DIN-Regular" panose="020B0500010101010101" pitchFamily="34" charset="0"/>
                          <a:ea typeface="DIN-Regular" panose="020B0500010101010101" pitchFamily="34" charset="0"/>
                          <a:cs typeface="Times New Roman"/>
                        </a:rPr>
                        <a:t>2022</a:t>
                      </a:r>
                    </a:p>
                  </a:txBody>
                  <a:tcPr marL="68562" marR="68562" marT="0" marB="0" anchor="ctr"/>
                </a:tc>
                <a:tc>
                  <a:txBody>
                    <a:bodyPr/>
                    <a:lstStyle/>
                    <a:p>
                      <a:pPr marL="90488" marR="0" lvl="0" indent="0" algn="l" defTabSz="914400" rtl="0" eaLnBrk="1" fontAlgn="auto" latinLnBrk="0" hangingPunct="1">
                        <a:lnSpc>
                          <a:spcPts val="11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kern="1200" dirty="0" err="1">
                          <a:solidFill>
                            <a:schemeClr val="tx1"/>
                          </a:solidFill>
                          <a:effectLst/>
                          <a:latin typeface="DIN-Regular" panose="020B0500010101010101" pitchFamily="34" charset="0"/>
                          <a:ea typeface="DIN-Regular" panose="020B0500010101010101" pitchFamily="34" charset="0"/>
                          <a:cs typeface="Times New Roman"/>
                        </a:rPr>
                        <a:t>Hauerz</a:t>
                      </a:r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DIN-Regular" panose="020B0500010101010101" pitchFamily="34" charset="0"/>
                          <a:ea typeface="DIN-Regular" panose="020B0500010101010101" pitchFamily="34" charset="0"/>
                          <a:cs typeface="Times New Roman"/>
                        </a:rPr>
                        <a:t> Holunderweg MSP-Verkabelung</a:t>
                      </a:r>
                    </a:p>
                  </a:txBody>
                  <a:tcPr marL="68562" marR="68562" marT="0" marB="0" anchor="ctr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ts val="11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dirty="0">
                          <a:solidFill>
                            <a:schemeClr val="tx1"/>
                          </a:solidFill>
                          <a:effectLst/>
                          <a:latin typeface="DIN-Regular" panose="020B0500010101010101" pitchFamily="34" charset="0"/>
                          <a:ea typeface="DIN-Regular" panose="020B0500010101010101" pitchFamily="34" charset="0"/>
                          <a:cs typeface="Times New Roman"/>
                        </a:rPr>
                        <a:t>239.297€</a:t>
                      </a:r>
                    </a:p>
                    <a:p>
                      <a:pPr marL="0" marR="0" lvl="0" indent="0" algn="r" defTabSz="914400" rtl="0" eaLnBrk="1" fontAlgn="auto" latinLnBrk="0" hangingPunct="1">
                        <a:lnSpc>
                          <a:spcPts val="11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400" b="0" dirty="0">
                        <a:solidFill>
                          <a:schemeClr val="tx1"/>
                        </a:solidFill>
                        <a:effectLst/>
                        <a:latin typeface="DIN-Regular" panose="020B0500010101010101" pitchFamily="34" charset="0"/>
                        <a:ea typeface="DIN-Regular" panose="020B0500010101010101" pitchFamily="34" charset="0"/>
                        <a:cs typeface="Times New Roman"/>
                      </a:endParaRPr>
                    </a:p>
                  </a:txBody>
                  <a:tcPr marL="68562" marR="179953" marT="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08545">
                <a:tc>
                  <a:txBody>
                    <a:bodyPr/>
                    <a:lstStyle/>
                    <a:p>
                      <a:pPr marL="90488" indent="0">
                        <a:lnSpc>
                          <a:spcPts val="1150"/>
                        </a:lnSpc>
                        <a:spcAft>
                          <a:spcPts val="0"/>
                        </a:spcAft>
                      </a:pPr>
                      <a:r>
                        <a:rPr lang="de-DE" sz="1400" b="0" dirty="0">
                          <a:solidFill>
                            <a:schemeClr val="tx1"/>
                          </a:solidFill>
                          <a:effectLst/>
                          <a:latin typeface="DIN-Regular" panose="020B0500010101010101" pitchFamily="34" charset="0"/>
                          <a:ea typeface="DIN-Regular" panose="020B0500010101010101" pitchFamily="34" charset="0"/>
                          <a:cs typeface="Times New Roman"/>
                        </a:rPr>
                        <a:t>2022</a:t>
                      </a:r>
                    </a:p>
                  </a:txBody>
                  <a:tcPr marL="68562" marR="68562" marT="0" marB="0" anchor="ctr"/>
                </a:tc>
                <a:tc>
                  <a:txBody>
                    <a:bodyPr/>
                    <a:lstStyle/>
                    <a:p>
                      <a:pPr marL="90488" marR="0" lvl="0" indent="0" algn="l" defTabSz="914400" rtl="0" eaLnBrk="1" fontAlgn="auto" latinLnBrk="0" hangingPunct="1">
                        <a:lnSpc>
                          <a:spcPts val="11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DIN-Regular" panose="020B0500010101010101" pitchFamily="34" charset="0"/>
                          <a:ea typeface="DIN-Regular" panose="020B0500010101010101" pitchFamily="34" charset="0"/>
                          <a:cs typeface="Times New Roman"/>
                        </a:rPr>
                        <a:t>Bad Wurzach </a:t>
                      </a:r>
                      <a:r>
                        <a:rPr lang="de-DE" sz="1400" b="0" kern="1200" dirty="0" err="1">
                          <a:solidFill>
                            <a:schemeClr val="tx1"/>
                          </a:solidFill>
                          <a:effectLst/>
                          <a:latin typeface="DIN-Regular" panose="020B0500010101010101" pitchFamily="34" charset="0"/>
                          <a:ea typeface="DIN-Regular" panose="020B0500010101010101" pitchFamily="34" charset="0"/>
                          <a:cs typeface="Times New Roman"/>
                        </a:rPr>
                        <a:t>Leprosenberg</a:t>
                      </a:r>
                      <a:endParaRPr lang="de-DE" sz="1400" b="0" kern="1200" dirty="0">
                        <a:solidFill>
                          <a:schemeClr val="tx1"/>
                        </a:solidFill>
                        <a:effectLst/>
                        <a:latin typeface="DIN-Regular" panose="020B0500010101010101" pitchFamily="34" charset="0"/>
                        <a:ea typeface="DIN-Regular" panose="020B0500010101010101" pitchFamily="34" charset="0"/>
                        <a:cs typeface="Times New Roman"/>
                      </a:endParaRPr>
                    </a:p>
                  </a:txBody>
                  <a:tcPr marL="68562" marR="68562" marT="0" marB="0" anchor="ctr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ts val="11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dirty="0">
                          <a:solidFill>
                            <a:schemeClr val="tx1"/>
                          </a:solidFill>
                          <a:effectLst/>
                          <a:latin typeface="DIN-Regular" panose="020B0500010101010101" pitchFamily="34" charset="0"/>
                          <a:ea typeface="DIN-Regular" panose="020B0500010101010101" pitchFamily="34" charset="0"/>
                          <a:cs typeface="Times New Roman"/>
                        </a:rPr>
                        <a:t>563.613€</a:t>
                      </a:r>
                    </a:p>
                  </a:txBody>
                  <a:tcPr marL="68562" marR="179953" marT="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82193">
                <a:tc>
                  <a:txBody>
                    <a:bodyPr/>
                    <a:lstStyle/>
                    <a:p>
                      <a:pPr marL="90488" marR="0" lvl="0" indent="0" algn="l" defTabSz="914400" rtl="0" eaLnBrk="1" fontAlgn="auto" latinLnBrk="0" hangingPunct="1">
                        <a:lnSpc>
                          <a:spcPts val="11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dirty="0">
                          <a:solidFill>
                            <a:schemeClr val="tx1"/>
                          </a:solidFill>
                          <a:effectLst/>
                          <a:latin typeface="DIN-Regular" panose="020B0500010101010101" pitchFamily="34" charset="0"/>
                          <a:ea typeface="DIN-Regular" panose="020B0500010101010101" pitchFamily="34" charset="0"/>
                          <a:cs typeface="Times New Roman"/>
                        </a:rPr>
                        <a:t>2022</a:t>
                      </a:r>
                    </a:p>
                  </a:txBody>
                  <a:tcPr marL="68562" marR="68562" marT="0" marB="0" anchor="ctr"/>
                </a:tc>
                <a:tc>
                  <a:txBody>
                    <a:bodyPr/>
                    <a:lstStyle/>
                    <a:p>
                      <a:pPr marL="90488" marR="0" indent="0" algn="l" defTabSz="914400" rtl="0" eaLnBrk="1" fontAlgn="auto" latinLnBrk="0" hangingPunct="1">
                        <a:lnSpc>
                          <a:spcPts val="11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kern="1200" dirty="0" err="1">
                          <a:solidFill>
                            <a:schemeClr val="tx1"/>
                          </a:solidFill>
                          <a:effectLst/>
                          <a:latin typeface="DIN-Regular" panose="020B0500010101010101" pitchFamily="34" charset="0"/>
                          <a:ea typeface="DIN-Regular" panose="020B0500010101010101" pitchFamily="34" charset="0"/>
                          <a:cs typeface="Times New Roman"/>
                        </a:rPr>
                        <a:t>Gospoldshofen</a:t>
                      </a:r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DIN-Regular" panose="020B0500010101010101" pitchFamily="34" charset="0"/>
                          <a:ea typeface="DIN-Regular" panose="020B0500010101010101" pitchFamily="34" charset="0"/>
                          <a:cs typeface="Times New Roman"/>
                        </a:rPr>
                        <a:t> PV-Anlage MS-Verkabelung</a:t>
                      </a:r>
                    </a:p>
                  </a:txBody>
                  <a:tcPr marL="68562" marR="68562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150"/>
                        </a:lnSpc>
                        <a:spcAft>
                          <a:spcPts val="0"/>
                        </a:spcAft>
                      </a:pPr>
                      <a:r>
                        <a:rPr lang="de-DE" sz="1400" b="0" dirty="0">
                          <a:solidFill>
                            <a:schemeClr val="tx1"/>
                          </a:solidFill>
                          <a:effectLst/>
                          <a:latin typeface="DIN-Regular" panose="020B0500010101010101" pitchFamily="34" charset="0"/>
                          <a:ea typeface="DIN-Regular" panose="020B0500010101010101" pitchFamily="34" charset="0"/>
                          <a:cs typeface="Times New Roman"/>
                        </a:rPr>
                        <a:t>232.674€</a:t>
                      </a:r>
                    </a:p>
                  </a:txBody>
                  <a:tcPr marL="68562" marR="179953" marT="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42447">
                <a:tc>
                  <a:txBody>
                    <a:bodyPr/>
                    <a:lstStyle/>
                    <a:p>
                      <a:pPr marL="90488" marR="0" lvl="0" indent="0" algn="l" defTabSz="914400" rtl="0" eaLnBrk="1" fontAlgn="auto" latinLnBrk="0" hangingPunct="1">
                        <a:lnSpc>
                          <a:spcPts val="11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dirty="0">
                          <a:solidFill>
                            <a:schemeClr val="tx1"/>
                          </a:solidFill>
                          <a:effectLst/>
                          <a:latin typeface="DIN-Regular" panose="020B0500010101010101" pitchFamily="34" charset="0"/>
                          <a:ea typeface="DIN-Regular" panose="020B0500010101010101" pitchFamily="34" charset="0"/>
                          <a:cs typeface="Times New Roman"/>
                        </a:rPr>
                        <a:t>2022</a:t>
                      </a:r>
                    </a:p>
                  </a:txBody>
                  <a:tcPr marL="68562" marR="68562" marT="0" marB="0" anchor="ctr"/>
                </a:tc>
                <a:tc>
                  <a:txBody>
                    <a:bodyPr/>
                    <a:lstStyle/>
                    <a:p>
                      <a:pPr marL="90488" marR="0" lvl="0" indent="0" algn="l" defTabSz="914400" rtl="0" eaLnBrk="1" fontAlgn="auto" latinLnBrk="0" hangingPunct="1">
                        <a:lnSpc>
                          <a:spcPts val="11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kern="1200" dirty="0" err="1">
                          <a:solidFill>
                            <a:schemeClr val="tx1"/>
                          </a:solidFill>
                          <a:effectLst/>
                          <a:latin typeface="DIN-Regular" panose="020B0500010101010101" pitchFamily="34" charset="0"/>
                          <a:ea typeface="DIN-Regular" panose="020B0500010101010101" pitchFamily="34" charset="0"/>
                          <a:cs typeface="Times New Roman"/>
                        </a:rPr>
                        <a:t>Eintürnen</a:t>
                      </a:r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DIN-Regular" panose="020B0500010101010101" pitchFamily="34" charset="0"/>
                          <a:ea typeface="DIN-Regular" panose="020B0500010101010101" pitchFamily="34" charset="0"/>
                          <a:cs typeface="Times New Roman"/>
                        </a:rPr>
                        <a:t> Markusweg 11 EEG</a:t>
                      </a:r>
                    </a:p>
                  </a:txBody>
                  <a:tcPr marL="68562" marR="68562" marT="0" marB="0" anchor="ctr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ts val="11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dirty="0">
                          <a:solidFill>
                            <a:schemeClr val="tx1"/>
                          </a:solidFill>
                          <a:effectLst/>
                          <a:latin typeface="DIN-Regular" panose="020B0500010101010101" pitchFamily="34" charset="0"/>
                          <a:ea typeface="DIN-Regular" panose="020B0500010101010101" pitchFamily="34" charset="0"/>
                          <a:cs typeface="Times New Roman"/>
                        </a:rPr>
                        <a:t>54.935€</a:t>
                      </a:r>
                    </a:p>
                  </a:txBody>
                  <a:tcPr marL="68562" marR="179953" marT="0" marB="0" anchor="ctr"/>
                </a:tc>
                <a:extLst>
                  <a:ext uri="{0D108BD9-81ED-4DB2-BD59-A6C34878D82A}">
                    <a16:rowId xmlns:a16="http://schemas.microsoft.com/office/drawing/2014/main" val="3999764393"/>
                  </a:ext>
                </a:extLst>
              </a:tr>
              <a:tr h="542447">
                <a:tc>
                  <a:txBody>
                    <a:bodyPr/>
                    <a:lstStyle/>
                    <a:p>
                      <a:pPr marL="90488" marR="0" lvl="0" indent="0" algn="l" defTabSz="914400" rtl="0" eaLnBrk="1" fontAlgn="auto" latinLnBrk="0" hangingPunct="1">
                        <a:lnSpc>
                          <a:spcPts val="11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dirty="0">
                          <a:solidFill>
                            <a:schemeClr val="tx1"/>
                          </a:solidFill>
                          <a:effectLst/>
                          <a:latin typeface="DIN-Regular" panose="020B0500010101010101" pitchFamily="34" charset="0"/>
                          <a:ea typeface="DIN-Regular" panose="020B0500010101010101" pitchFamily="34" charset="0"/>
                          <a:cs typeface="Times New Roman"/>
                        </a:rPr>
                        <a:t>2022</a:t>
                      </a:r>
                    </a:p>
                  </a:txBody>
                  <a:tcPr marL="68562" marR="68562" marT="0" marB="0" anchor="ctr"/>
                </a:tc>
                <a:tc>
                  <a:txBody>
                    <a:bodyPr/>
                    <a:lstStyle/>
                    <a:p>
                      <a:pPr marL="90488" marR="0" indent="0" algn="l" defTabSz="914400" rtl="0" eaLnBrk="1" fontAlgn="auto" latinLnBrk="0" hangingPunct="1">
                        <a:lnSpc>
                          <a:spcPts val="11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kern="1200" dirty="0" err="1">
                          <a:solidFill>
                            <a:schemeClr val="tx1"/>
                          </a:solidFill>
                          <a:effectLst/>
                          <a:latin typeface="DIN-Regular" panose="020B0500010101010101" pitchFamily="34" charset="0"/>
                          <a:ea typeface="DIN-Regular" panose="020B0500010101010101" pitchFamily="34" charset="0"/>
                          <a:cs typeface="Times New Roman"/>
                        </a:rPr>
                        <a:t>Greut</a:t>
                      </a:r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DIN-Regular" panose="020B0500010101010101" pitchFamily="34" charset="0"/>
                          <a:ea typeface="DIN-Regular" panose="020B0500010101010101" pitchFamily="34" charset="0"/>
                          <a:cs typeface="Times New Roman"/>
                        </a:rPr>
                        <a:t> Stockteil/Felders/Beckes LW</a:t>
                      </a:r>
                    </a:p>
                  </a:txBody>
                  <a:tcPr marL="68562" marR="68562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150"/>
                        </a:lnSpc>
                        <a:spcAft>
                          <a:spcPts val="0"/>
                        </a:spcAft>
                      </a:pPr>
                      <a:r>
                        <a:rPr lang="de-DE" sz="1400" b="0" dirty="0">
                          <a:solidFill>
                            <a:schemeClr val="tx1"/>
                          </a:solidFill>
                          <a:effectLst/>
                          <a:latin typeface="DIN-Regular" panose="020B0500010101010101" pitchFamily="34" charset="0"/>
                          <a:ea typeface="DIN-Regular" panose="020B0500010101010101" pitchFamily="34" charset="0"/>
                          <a:cs typeface="Times New Roman"/>
                        </a:rPr>
                        <a:t>62.000€</a:t>
                      </a:r>
                    </a:p>
                  </a:txBody>
                  <a:tcPr marL="68562" marR="179953" marT="0" marB="0" anchor="ctr"/>
                </a:tc>
                <a:extLst>
                  <a:ext uri="{0D108BD9-81ED-4DB2-BD59-A6C34878D82A}">
                    <a16:rowId xmlns:a16="http://schemas.microsoft.com/office/drawing/2014/main" val="73259964"/>
                  </a:ext>
                </a:extLst>
              </a:tr>
              <a:tr h="542447">
                <a:tc>
                  <a:txBody>
                    <a:bodyPr/>
                    <a:lstStyle/>
                    <a:p>
                      <a:pPr marL="90488" marR="0" lvl="0" indent="0" algn="l" defTabSz="914400" rtl="0" eaLnBrk="1" fontAlgn="auto" latinLnBrk="0" hangingPunct="1">
                        <a:lnSpc>
                          <a:spcPts val="11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dirty="0">
                          <a:solidFill>
                            <a:schemeClr val="tx1"/>
                          </a:solidFill>
                          <a:effectLst/>
                          <a:latin typeface="DIN-Regular" panose="020B0500010101010101" pitchFamily="34" charset="0"/>
                          <a:ea typeface="DIN-Regular" panose="020B0500010101010101" pitchFamily="34" charset="0"/>
                          <a:cs typeface="Times New Roman"/>
                        </a:rPr>
                        <a:t>2022</a:t>
                      </a:r>
                    </a:p>
                  </a:txBody>
                  <a:tcPr marL="68562" marR="68562" marT="0" marB="0" anchor="ctr"/>
                </a:tc>
                <a:tc>
                  <a:txBody>
                    <a:bodyPr/>
                    <a:lstStyle/>
                    <a:p>
                      <a:pPr marL="90488" marR="0" indent="0" algn="l" defTabSz="914400" rtl="0" eaLnBrk="1" fontAlgn="auto" latinLnBrk="0" hangingPunct="1">
                        <a:lnSpc>
                          <a:spcPts val="11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DIN-Regular" panose="020B0500010101010101" pitchFamily="34" charset="0"/>
                          <a:ea typeface="DIN-Regular" panose="020B0500010101010101" pitchFamily="34" charset="0"/>
                          <a:cs typeface="Times New Roman"/>
                        </a:rPr>
                        <a:t>Bad Wurzach </a:t>
                      </a:r>
                      <a:r>
                        <a:rPr lang="de-DE" sz="1400" b="0" kern="1200" dirty="0" err="1">
                          <a:solidFill>
                            <a:schemeClr val="tx1"/>
                          </a:solidFill>
                          <a:effectLst/>
                          <a:latin typeface="DIN-Regular" panose="020B0500010101010101" pitchFamily="34" charset="0"/>
                          <a:ea typeface="DIN-Regular" panose="020B0500010101010101" pitchFamily="34" charset="0"/>
                          <a:cs typeface="Times New Roman"/>
                        </a:rPr>
                        <a:t>Achbergstr</a:t>
                      </a:r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DIN-Regular" panose="020B0500010101010101" pitchFamily="34" charset="0"/>
                          <a:ea typeface="DIN-Regular" panose="020B0500010101010101" pitchFamily="34" charset="0"/>
                          <a:cs typeface="Times New Roman"/>
                        </a:rPr>
                        <a:t>. neue UST</a:t>
                      </a:r>
                    </a:p>
                  </a:txBody>
                  <a:tcPr marL="68562" marR="68562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150"/>
                        </a:lnSpc>
                        <a:spcAft>
                          <a:spcPts val="0"/>
                        </a:spcAft>
                      </a:pPr>
                      <a:r>
                        <a:rPr lang="de-DE" sz="1400" b="0" dirty="0">
                          <a:solidFill>
                            <a:schemeClr val="tx1"/>
                          </a:solidFill>
                          <a:effectLst/>
                          <a:latin typeface="DIN-Regular" panose="020B0500010101010101" pitchFamily="34" charset="0"/>
                          <a:ea typeface="DIN-Regular" panose="020B0500010101010101" pitchFamily="34" charset="0"/>
                          <a:cs typeface="Times New Roman"/>
                        </a:rPr>
                        <a:t>52.000€</a:t>
                      </a:r>
                    </a:p>
                  </a:txBody>
                  <a:tcPr marL="68562" marR="179953" marT="0" marB="0" anchor="ctr"/>
                </a:tc>
                <a:extLst>
                  <a:ext uri="{0D108BD9-81ED-4DB2-BD59-A6C34878D82A}">
                    <a16:rowId xmlns:a16="http://schemas.microsoft.com/office/drawing/2014/main" val="2239213921"/>
                  </a:ext>
                </a:extLst>
              </a:tr>
              <a:tr h="542447">
                <a:tc>
                  <a:txBody>
                    <a:bodyPr/>
                    <a:lstStyle/>
                    <a:p>
                      <a:pPr marL="90488" marR="0" lvl="0" indent="0" algn="l" defTabSz="914400" rtl="0" eaLnBrk="1" fontAlgn="auto" latinLnBrk="0" hangingPunct="1">
                        <a:lnSpc>
                          <a:spcPts val="11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dirty="0">
                          <a:solidFill>
                            <a:schemeClr val="tx1"/>
                          </a:solidFill>
                          <a:effectLst/>
                          <a:latin typeface="DIN-Regular" panose="020B0500010101010101" pitchFamily="34" charset="0"/>
                          <a:ea typeface="DIN-Regular" panose="020B0500010101010101" pitchFamily="34" charset="0"/>
                          <a:cs typeface="Times New Roman"/>
                        </a:rPr>
                        <a:t>2022</a:t>
                      </a:r>
                    </a:p>
                  </a:txBody>
                  <a:tcPr marL="68562" marR="68562" marT="0" marB="0" anchor="ctr"/>
                </a:tc>
                <a:tc>
                  <a:txBody>
                    <a:bodyPr/>
                    <a:lstStyle/>
                    <a:p>
                      <a:pPr marL="90488" marR="0" indent="0" algn="l" defTabSz="914400" rtl="0" eaLnBrk="1" fontAlgn="auto" latinLnBrk="0" hangingPunct="1">
                        <a:lnSpc>
                          <a:spcPts val="11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DIN-Regular" panose="020B0500010101010101" pitchFamily="34" charset="0"/>
                          <a:ea typeface="DIN-Regular" panose="020B0500010101010101" pitchFamily="34" charset="0"/>
                          <a:cs typeface="Times New Roman"/>
                        </a:rPr>
                        <a:t>Bad Wurzach </a:t>
                      </a:r>
                      <a:r>
                        <a:rPr lang="de-DE" sz="1400" b="0" kern="1200" dirty="0" err="1">
                          <a:solidFill>
                            <a:schemeClr val="tx1"/>
                          </a:solidFill>
                          <a:effectLst/>
                          <a:latin typeface="DIN-Regular" panose="020B0500010101010101" pitchFamily="34" charset="0"/>
                          <a:ea typeface="DIN-Regular" panose="020B0500010101010101" pitchFamily="34" charset="0"/>
                          <a:cs typeface="Times New Roman"/>
                        </a:rPr>
                        <a:t>Lanzstr</a:t>
                      </a:r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DIN-Regular" panose="020B0500010101010101" pitchFamily="34" charset="0"/>
                          <a:ea typeface="DIN-Regular" panose="020B0500010101010101" pitchFamily="34" charset="0"/>
                          <a:cs typeface="Times New Roman"/>
                        </a:rPr>
                        <a:t>.</a:t>
                      </a:r>
                    </a:p>
                  </a:txBody>
                  <a:tcPr marL="68562" marR="68562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150"/>
                        </a:lnSpc>
                        <a:spcAft>
                          <a:spcPts val="0"/>
                        </a:spcAft>
                      </a:pPr>
                      <a:r>
                        <a:rPr lang="de-DE" sz="1400" b="0" dirty="0">
                          <a:solidFill>
                            <a:schemeClr val="tx1"/>
                          </a:solidFill>
                          <a:effectLst/>
                          <a:latin typeface="DIN-Regular" panose="020B0500010101010101" pitchFamily="34" charset="0"/>
                          <a:ea typeface="DIN-Regular" panose="020B0500010101010101" pitchFamily="34" charset="0"/>
                          <a:cs typeface="Times New Roman"/>
                        </a:rPr>
                        <a:t>117.356€</a:t>
                      </a:r>
                    </a:p>
                  </a:txBody>
                  <a:tcPr marL="68562" marR="179953" marT="0" marB="0" anchor="ctr"/>
                </a:tc>
                <a:extLst>
                  <a:ext uri="{0D108BD9-81ED-4DB2-BD59-A6C34878D82A}">
                    <a16:rowId xmlns:a16="http://schemas.microsoft.com/office/drawing/2014/main" val="4288936027"/>
                  </a:ext>
                </a:extLst>
              </a:tr>
              <a:tr h="542447">
                <a:tc>
                  <a:txBody>
                    <a:bodyPr/>
                    <a:lstStyle/>
                    <a:p>
                      <a:pPr marL="90488" marR="0" lvl="0" indent="0" algn="l" defTabSz="914400" rtl="0" eaLnBrk="1" fontAlgn="auto" latinLnBrk="0" hangingPunct="1">
                        <a:lnSpc>
                          <a:spcPts val="11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dirty="0">
                          <a:solidFill>
                            <a:schemeClr val="tx1"/>
                          </a:solidFill>
                          <a:effectLst/>
                          <a:latin typeface="DIN-Regular" panose="020B0500010101010101" pitchFamily="34" charset="0"/>
                          <a:ea typeface="DIN-Regular" panose="020B0500010101010101" pitchFamily="34" charset="0"/>
                          <a:cs typeface="Times New Roman"/>
                        </a:rPr>
                        <a:t>2022</a:t>
                      </a:r>
                    </a:p>
                  </a:txBody>
                  <a:tcPr marL="68562" marR="68562" marT="0" marB="0" anchor="ctr"/>
                </a:tc>
                <a:tc>
                  <a:txBody>
                    <a:bodyPr/>
                    <a:lstStyle/>
                    <a:p>
                      <a:pPr marL="90488" marR="0" indent="0" algn="l" defTabSz="914400" rtl="0" eaLnBrk="1" fontAlgn="auto" latinLnBrk="0" hangingPunct="1">
                        <a:lnSpc>
                          <a:spcPts val="11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DIN-Regular" panose="020B0500010101010101" pitchFamily="34" charset="0"/>
                          <a:ea typeface="DIN-Regular" panose="020B0500010101010101" pitchFamily="34" charset="0"/>
                          <a:cs typeface="Times New Roman"/>
                        </a:rPr>
                        <a:t>Ziegelbach Am Rohrbach </a:t>
                      </a:r>
                    </a:p>
                  </a:txBody>
                  <a:tcPr marL="68562" marR="68562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150"/>
                        </a:lnSpc>
                        <a:spcAft>
                          <a:spcPts val="0"/>
                        </a:spcAft>
                      </a:pPr>
                      <a:r>
                        <a:rPr lang="de-DE" sz="1400" b="0" dirty="0">
                          <a:solidFill>
                            <a:schemeClr val="tx1"/>
                          </a:solidFill>
                          <a:effectLst/>
                          <a:latin typeface="DIN-Regular" panose="020B0500010101010101" pitchFamily="34" charset="0"/>
                          <a:ea typeface="DIN-Regular" panose="020B0500010101010101" pitchFamily="34" charset="0"/>
                          <a:cs typeface="Times New Roman"/>
                        </a:rPr>
                        <a:t>105.041€</a:t>
                      </a:r>
                    </a:p>
                  </a:txBody>
                  <a:tcPr marL="68562" marR="179953" marT="0" marB="0" anchor="ctr"/>
                </a:tc>
                <a:extLst>
                  <a:ext uri="{0D108BD9-81ED-4DB2-BD59-A6C34878D82A}">
                    <a16:rowId xmlns:a16="http://schemas.microsoft.com/office/drawing/2014/main" val="158956158"/>
                  </a:ext>
                </a:extLst>
              </a:tr>
              <a:tr h="380222">
                <a:tc gridSpan="2">
                  <a:txBody>
                    <a:bodyPr/>
                    <a:lstStyle/>
                    <a:p>
                      <a:pPr marL="0" indent="3767138" algn="r" defTabSz="9144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de-DE" sz="1600" b="1" kern="1200" dirty="0">
                          <a:solidFill>
                            <a:schemeClr val="bg1"/>
                          </a:solidFill>
                          <a:effectLst/>
                          <a:latin typeface="EnBW DIN Pro" panose="020B0504020101020102" pitchFamily="34" charset="0"/>
                          <a:ea typeface="+mn-ea"/>
                          <a:cs typeface="EnBW DIN Pro" panose="020B0504020101020102" pitchFamily="34" charset="0"/>
                        </a:rPr>
                        <a:t>  Summe  </a:t>
                      </a:r>
                    </a:p>
                  </a:txBody>
                  <a:tcPr marL="179953" marR="9523" marT="35991" marB="35991" anchor="ctr"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indent="3767138" algn="r" defTabSz="914400" rtl="0" eaLnBrk="1" fontAlgn="b" latinLnBrk="0" hangingPunct="1">
                        <a:lnSpc>
                          <a:spcPct val="100000"/>
                        </a:lnSpc>
                      </a:pPr>
                      <a:endParaRPr lang="de-DE" sz="1600" b="1" kern="1200">
                        <a:solidFill>
                          <a:schemeClr val="bg1"/>
                        </a:solidFill>
                        <a:effectLst/>
                        <a:latin typeface="EnBW DIN Pro" panose="020B0504020101020102" pitchFamily="34" charset="0"/>
                        <a:ea typeface="+mn-ea"/>
                        <a:cs typeface="EnBW DIN Pro" panose="020B0504020101020102" pitchFamily="34" charset="0"/>
                      </a:endParaRPr>
                    </a:p>
                  </a:txBody>
                  <a:tcPr marL="180000" marR="9525" marT="36000" marB="3600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de-DE" sz="1600" b="1" kern="1200" dirty="0">
                          <a:solidFill>
                            <a:schemeClr val="bg1"/>
                          </a:solidFill>
                          <a:effectLst/>
                          <a:latin typeface="EnBW DIN Pro" panose="020B0504020101020102" pitchFamily="34" charset="0"/>
                          <a:ea typeface="+mn-ea"/>
                          <a:cs typeface="EnBW DIN Pro" panose="020B0504020101020102" pitchFamily="34" charset="0"/>
                        </a:rPr>
                        <a:t>1.426.916€ </a:t>
                      </a:r>
                    </a:p>
                  </a:txBody>
                  <a:tcPr marL="179953" marR="179953" marT="35991" marB="35991"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10" name="Titel 1">
            <a:extLst>
              <a:ext uri="{FF2B5EF4-FFF2-40B4-BE49-F238E27FC236}">
                <a16:creationId xmlns:a16="http://schemas.microsoft.com/office/drawing/2014/main" id="{C127DA24-8F5A-4868-9177-39E462BA74F4}"/>
              </a:ext>
            </a:extLst>
          </p:cNvPr>
          <p:cNvSpPr txBox="1">
            <a:spLocks/>
          </p:cNvSpPr>
          <p:nvPr/>
        </p:nvSpPr>
        <p:spPr bwMode="auto">
          <a:xfrm>
            <a:off x="471247" y="541907"/>
            <a:ext cx="9440706" cy="61510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650" baseline="0">
                <a:solidFill>
                  <a:schemeClr val="accent6"/>
                </a:solidFill>
                <a:latin typeface="+mn-lt"/>
                <a:ea typeface="EnBW DIN Pro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5pPr>
            <a:lvl6pPr marL="342809"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6pPr>
            <a:lvl7pPr marL="685617"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7pPr>
            <a:lvl8pPr marL="1028426"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8pPr>
            <a:lvl9pPr marL="1371234"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9pPr>
          </a:lstStyle>
          <a:p>
            <a:r>
              <a:rPr lang="de-DE" sz="2199" kern="0" dirty="0">
                <a:cs typeface="EnBW DIN Pro Medium" panose="020B0604020101020102" pitchFamily="34" charset="0"/>
              </a:rPr>
              <a:t>Wir investieren in Ihre Zukunft</a:t>
            </a:r>
          </a:p>
          <a:p>
            <a:r>
              <a:rPr lang="de-DE" sz="1798" dirty="0">
                <a:solidFill>
                  <a:schemeClr val="tx2"/>
                </a:solidFill>
                <a:cs typeface="EnBW DIN Pro Medium" panose="020B0604020101020102" pitchFamily="34" charset="0"/>
              </a:rPr>
              <a:t>Maßnahmen und Kostenübersicht 2022  </a:t>
            </a:r>
          </a:p>
        </p:txBody>
      </p:sp>
      <p:pic>
        <p:nvPicPr>
          <p:cNvPr id="11" name="Bild 3">
            <a:extLst>
              <a:ext uri="{FF2B5EF4-FFF2-40B4-BE49-F238E27FC236}">
                <a16:creationId xmlns:a16="http://schemas.microsoft.com/office/drawing/2014/main" id="{D859597F-D0B6-48CA-805A-1A06635245E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79562" y="1404986"/>
            <a:ext cx="686884" cy="686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5077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4ED510A8-9B0F-4FEA-982D-68ED0A5CDAD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38323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2"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4ED510A8-9B0F-4FEA-982D-68ED0A5CDA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B6A5E2D-2B10-476F-B2E4-FD376779BF1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3D4A45-F672-4474-BA28-E624C64DA635}" type="slidenum">
              <a:rPr lang="de-DE" smtClean="0"/>
              <a:t>2</a:t>
            </a:fld>
            <a:endParaRPr lang="de-DE" dirty="0"/>
          </a:p>
        </p:txBody>
      </p:sp>
      <p:pic>
        <p:nvPicPr>
          <p:cNvPr id="5" name="Bild 12">
            <a:extLst>
              <a:ext uri="{FF2B5EF4-FFF2-40B4-BE49-F238E27FC236}">
                <a16:creationId xmlns:a16="http://schemas.microsoft.com/office/drawing/2014/main" id="{FC4E60C5-5711-4512-9334-9E96DE50262A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64189" y="1553324"/>
            <a:ext cx="4641632" cy="4887064"/>
          </a:xfrm>
          <a:prstGeom prst="rect">
            <a:avLst/>
          </a:prstGeom>
        </p:spPr>
      </p:pic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5F6B057F-EAD7-4716-B1B4-39551960F41E}"/>
              </a:ext>
            </a:extLst>
          </p:cNvPr>
          <p:cNvGrpSpPr/>
          <p:nvPr/>
        </p:nvGrpSpPr>
        <p:grpSpPr>
          <a:xfrm>
            <a:off x="5029565" y="2993484"/>
            <a:ext cx="1563016" cy="1543924"/>
            <a:chOff x="1475656" y="2765859"/>
            <a:chExt cx="2045188" cy="2045188"/>
          </a:xfrm>
        </p:grpSpPr>
        <p:pic>
          <p:nvPicPr>
            <p:cNvPr id="7" name="Picture 42" descr="C:\Users\JaroliA\Desktop\Karten-Globus-2400.jpg">
              <a:extLst>
                <a:ext uri="{FF2B5EF4-FFF2-40B4-BE49-F238E27FC236}">
                  <a16:creationId xmlns:a16="http://schemas.microsoft.com/office/drawing/2014/main" id="{D0434319-4402-415B-A476-478ED635BB5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75656" y="2765859"/>
              <a:ext cx="2045188" cy="2045188"/>
            </a:xfrm>
            <a:prstGeom prst="ellipse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8" name="Gruppieren 7">
              <a:extLst>
                <a:ext uri="{FF2B5EF4-FFF2-40B4-BE49-F238E27FC236}">
                  <a16:creationId xmlns:a16="http://schemas.microsoft.com/office/drawing/2014/main" id="{22444CCE-BE53-4AF0-91C6-108C248B259D}"/>
                </a:ext>
              </a:extLst>
            </p:cNvPr>
            <p:cNvGrpSpPr/>
            <p:nvPr/>
          </p:nvGrpSpPr>
          <p:grpSpPr>
            <a:xfrm>
              <a:off x="1475656" y="2779714"/>
              <a:ext cx="2045188" cy="2017477"/>
              <a:chOff x="4327012" y="1916553"/>
              <a:chExt cx="2045188" cy="2017477"/>
            </a:xfrm>
          </p:grpSpPr>
          <p:grpSp>
            <p:nvGrpSpPr>
              <p:cNvPr id="9" name="Gruppieren 8">
                <a:extLst>
                  <a:ext uri="{FF2B5EF4-FFF2-40B4-BE49-F238E27FC236}">
                    <a16:creationId xmlns:a16="http://schemas.microsoft.com/office/drawing/2014/main" id="{B3E29284-23C6-4B50-8538-798039DFEE87}"/>
                  </a:ext>
                </a:extLst>
              </p:cNvPr>
              <p:cNvGrpSpPr/>
              <p:nvPr/>
            </p:nvGrpSpPr>
            <p:grpSpPr>
              <a:xfrm>
                <a:off x="4327012" y="1916553"/>
                <a:ext cx="2045188" cy="2017477"/>
                <a:chOff x="4125608" y="1700807"/>
                <a:chExt cx="2520003" cy="2520003"/>
              </a:xfrm>
            </p:grpSpPr>
            <p:sp>
              <p:nvSpPr>
                <p:cNvPr id="11" name="Ellipse 10">
                  <a:extLst>
                    <a:ext uri="{FF2B5EF4-FFF2-40B4-BE49-F238E27FC236}">
                      <a16:creationId xmlns:a16="http://schemas.microsoft.com/office/drawing/2014/main" id="{C52DBDB0-9236-45DB-846C-A6C387A76E24}"/>
                    </a:ext>
                  </a:extLst>
                </p:cNvPr>
                <p:cNvSpPr/>
                <p:nvPr/>
              </p:nvSpPr>
              <p:spPr bwMode="auto">
                <a:xfrm>
                  <a:off x="4125609" y="1700808"/>
                  <a:ext cx="2520002" cy="2520002"/>
                </a:xfrm>
                <a:prstGeom prst="ellipse">
                  <a:avLst/>
                </a:prstGeom>
                <a:noFill/>
                <a:ln w="28575" cap="flat" cmpd="sng" algn="ctr">
                  <a:solidFill>
                    <a:schemeClr val="accent2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108000" tIns="108000" rIns="108000" bIns="10800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eaLnBrk="0" fontAlgn="base" hangingPunct="0">
                    <a:spcAft>
                      <a:spcPct val="0"/>
                    </a:spcAft>
                  </a:pPr>
                  <a:endParaRPr lang="de-DE" sz="1400" dirty="0">
                    <a:solidFill>
                      <a:srgbClr val="3B3B3B"/>
                    </a:solidFill>
                  </a:endParaRPr>
                </a:p>
              </p:txBody>
            </p:sp>
            <p:sp>
              <p:nvSpPr>
                <p:cNvPr id="12" name="Akkord 18">
                  <a:extLst>
                    <a:ext uri="{FF2B5EF4-FFF2-40B4-BE49-F238E27FC236}">
                      <a16:creationId xmlns:a16="http://schemas.microsoft.com/office/drawing/2014/main" id="{A6F10FE3-8CF3-4FF7-80C7-B0934997CCE4}"/>
                    </a:ext>
                  </a:extLst>
                </p:cNvPr>
                <p:cNvSpPr/>
                <p:nvPr/>
              </p:nvSpPr>
              <p:spPr bwMode="auto">
                <a:xfrm>
                  <a:off x="4125608" y="1700807"/>
                  <a:ext cx="2520002" cy="2520002"/>
                </a:xfrm>
                <a:prstGeom prst="chord">
                  <a:avLst>
                    <a:gd name="adj1" fmla="val 1846425"/>
                    <a:gd name="adj2" fmla="val 8876360"/>
                  </a:avLst>
                </a:prstGeom>
                <a:solidFill>
                  <a:schemeClr val="accent2"/>
                </a:solidFill>
                <a:ln w="28575" cap="flat" cmpd="sng" algn="ctr">
                  <a:solidFill>
                    <a:schemeClr val="accent2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108000" tIns="108000" rIns="108000" bIns="10800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eaLnBrk="0" fontAlgn="base" hangingPunct="0">
                    <a:spcAft>
                      <a:spcPct val="0"/>
                    </a:spcAft>
                  </a:pPr>
                  <a:endParaRPr lang="de-DE" sz="1400" dirty="0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10" name="Textfeld 9">
                <a:extLst>
                  <a:ext uri="{FF2B5EF4-FFF2-40B4-BE49-F238E27FC236}">
                    <a16:creationId xmlns:a16="http://schemas.microsoft.com/office/drawing/2014/main" id="{CA6209CA-3C8B-4201-9025-8C65CF986083}"/>
                  </a:ext>
                </a:extLst>
              </p:cNvPr>
              <p:cNvSpPr txBox="1"/>
              <p:nvPr/>
            </p:nvSpPr>
            <p:spPr bwMode="gray">
              <a:xfrm>
                <a:off x="4586280" y="3528330"/>
                <a:ext cx="1526650" cy="24462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buClr>
                    <a:srgbClr val="FF9900"/>
                  </a:buClr>
                  <a:buSzPct val="140000"/>
                </a:pPr>
                <a:r>
                  <a:rPr lang="de-DE" sz="1200" b="1" dirty="0">
                    <a:solidFill>
                      <a:srgbClr val="FFFFFF"/>
                    </a:solidFill>
                    <a:ea typeface="DIN-Regular" panose="020B0500010101010101" pitchFamily="34" charset="0"/>
                  </a:rPr>
                  <a:t>Klimaziele</a:t>
                </a:r>
              </a:p>
            </p:txBody>
          </p:sp>
        </p:grpSp>
      </p:grp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A3F7D466-6218-44EE-9D74-59001503C772}"/>
              </a:ext>
            </a:extLst>
          </p:cNvPr>
          <p:cNvGrpSpPr/>
          <p:nvPr/>
        </p:nvGrpSpPr>
        <p:grpSpPr>
          <a:xfrm>
            <a:off x="4003443" y="1536480"/>
            <a:ext cx="1581026" cy="1529012"/>
            <a:chOff x="4932040" y="4090927"/>
            <a:chExt cx="2045188" cy="2017477"/>
          </a:xfrm>
        </p:grpSpPr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3F588608-CE12-4A76-8F25-665F5CE9723A}"/>
                </a:ext>
              </a:extLst>
            </p:cNvPr>
            <p:cNvGrpSpPr/>
            <p:nvPr/>
          </p:nvGrpSpPr>
          <p:grpSpPr>
            <a:xfrm>
              <a:off x="4932040" y="4090927"/>
              <a:ext cx="2045188" cy="2017477"/>
              <a:chOff x="4327012" y="1916553"/>
              <a:chExt cx="2045188" cy="2017477"/>
            </a:xfrm>
          </p:grpSpPr>
          <p:grpSp>
            <p:nvGrpSpPr>
              <p:cNvPr id="16" name="Gruppieren 15">
                <a:extLst>
                  <a:ext uri="{FF2B5EF4-FFF2-40B4-BE49-F238E27FC236}">
                    <a16:creationId xmlns:a16="http://schemas.microsoft.com/office/drawing/2014/main" id="{423AC295-60A6-4186-AD24-8E6A7E5AE0D7}"/>
                  </a:ext>
                </a:extLst>
              </p:cNvPr>
              <p:cNvGrpSpPr/>
              <p:nvPr/>
            </p:nvGrpSpPr>
            <p:grpSpPr>
              <a:xfrm>
                <a:off x="4327012" y="1916553"/>
                <a:ext cx="2045188" cy="2017477"/>
                <a:chOff x="4125608" y="1700807"/>
                <a:chExt cx="2520003" cy="2520003"/>
              </a:xfrm>
            </p:grpSpPr>
            <p:sp>
              <p:nvSpPr>
                <p:cNvPr id="18" name="Ellipse 17">
                  <a:extLst>
                    <a:ext uri="{FF2B5EF4-FFF2-40B4-BE49-F238E27FC236}">
                      <a16:creationId xmlns:a16="http://schemas.microsoft.com/office/drawing/2014/main" id="{485F69DD-04FF-423D-98EC-62454F010CA8}"/>
                    </a:ext>
                  </a:extLst>
                </p:cNvPr>
                <p:cNvSpPr/>
                <p:nvPr/>
              </p:nvSpPr>
              <p:spPr bwMode="auto">
                <a:xfrm>
                  <a:off x="4125609" y="1700808"/>
                  <a:ext cx="2520002" cy="2520002"/>
                </a:xfrm>
                <a:prstGeom prst="ellipse">
                  <a:avLst/>
                </a:prstGeom>
                <a:solidFill>
                  <a:schemeClr val="bg1"/>
                </a:solidFill>
                <a:ln w="28575" cap="flat" cmpd="sng" algn="ctr">
                  <a:solidFill>
                    <a:schemeClr val="accent2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108000" tIns="108000" rIns="108000" bIns="10800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eaLnBrk="0" fontAlgn="base" hangingPunct="0">
                    <a:spcAft>
                      <a:spcPct val="0"/>
                    </a:spcAft>
                  </a:pPr>
                  <a:endParaRPr lang="de-DE" sz="1400" dirty="0">
                    <a:solidFill>
                      <a:srgbClr val="3B3B3B"/>
                    </a:solidFill>
                  </a:endParaRPr>
                </a:p>
              </p:txBody>
            </p:sp>
            <p:sp>
              <p:nvSpPr>
                <p:cNvPr id="19" name="Akkord 25">
                  <a:extLst>
                    <a:ext uri="{FF2B5EF4-FFF2-40B4-BE49-F238E27FC236}">
                      <a16:creationId xmlns:a16="http://schemas.microsoft.com/office/drawing/2014/main" id="{BA756881-7296-4B9A-9291-9A86E69774B3}"/>
                    </a:ext>
                  </a:extLst>
                </p:cNvPr>
                <p:cNvSpPr/>
                <p:nvPr/>
              </p:nvSpPr>
              <p:spPr bwMode="auto">
                <a:xfrm>
                  <a:off x="4125608" y="1700807"/>
                  <a:ext cx="2520002" cy="2520002"/>
                </a:xfrm>
                <a:prstGeom prst="chord">
                  <a:avLst>
                    <a:gd name="adj1" fmla="val 1846425"/>
                    <a:gd name="adj2" fmla="val 8876360"/>
                  </a:avLst>
                </a:prstGeom>
                <a:solidFill>
                  <a:schemeClr val="accent2"/>
                </a:solidFill>
                <a:ln w="28575" cap="flat" cmpd="sng" algn="ctr">
                  <a:solidFill>
                    <a:schemeClr val="accent2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108000" tIns="108000" rIns="108000" bIns="10800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eaLnBrk="0" fontAlgn="base" hangingPunct="0">
                    <a:spcAft>
                      <a:spcPct val="0"/>
                    </a:spcAft>
                  </a:pPr>
                  <a:endParaRPr lang="de-DE" sz="1400" dirty="0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17" name="Textfeld 16">
                <a:extLst>
                  <a:ext uri="{FF2B5EF4-FFF2-40B4-BE49-F238E27FC236}">
                    <a16:creationId xmlns:a16="http://schemas.microsoft.com/office/drawing/2014/main" id="{F44E64FF-B1CB-4AE5-9B07-DD8BD1CB0789}"/>
                  </a:ext>
                </a:extLst>
              </p:cNvPr>
              <p:cNvSpPr txBox="1"/>
              <p:nvPr/>
            </p:nvSpPr>
            <p:spPr bwMode="gray">
              <a:xfrm>
                <a:off x="4586280" y="3558883"/>
                <a:ext cx="1526650" cy="24366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buClr>
                    <a:srgbClr val="FF9900"/>
                  </a:buClr>
                  <a:buSzPct val="140000"/>
                </a:pPr>
                <a:r>
                  <a:rPr lang="de-DE" sz="1200" b="1" dirty="0">
                    <a:solidFill>
                      <a:srgbClr val="FFFFFF"/>
                    </a:solidFill>
                    <a:ea typeface="DIN-Regular" panose="020B0500010101010101" pitchFamily="34" charset="0"/>
                  </a:rPr>
                  <a:t>Gesetze</a:t>
                </a:r>
              </a:p>
            </p:txBody>
          </p:sp>
        </p:grpSp>
        <p:pic>
          <p:nvPicPr>
            <p:cNvPr id="15" name="Picture 44" descr="Bildergebnis für gesetz">
              <a:hlinkClick r:id="rId8"/>
              <a:extLst>
                <a:ext uri="{FF2B5EF4-FFF2-40B4-BE49-F238E27FC236}">
                  <a16:creationId xmlns:a16="http://schemas.microsoft.com/office/drawing/2014/main" id="{54C544CC-8869-47AB-AFB3-0F08A0914CF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53441" y="4293096"/>
              <a:ext cx="1402385" cy="129614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C13354BD-FD3C-4F03-B2C9-67E4E3782842}"/>
              </a:ext>
            </a:extLst>
          </p:cNvPr>
          <p:cNvGrpSpPr/>
          <p:nvPr/>
        </p:nvGrpSpPr>
        <p:grpSpPr>
          <a:xfrm>
            <a:off x="6042449" y="1536483"/>
            <a:ext cx="1558244" cy="1529011"/>
            <a:chOff x="4327012" y="1916553"/>
            <a:chExt cx="2045188" cy="2017477"/>
          </a:xfrm>
        </p:grpSpPr>
        <p:grpSp>
          <p:nvGrpSpPr>
            <p:cNvPr id="21" name="Gruppieren 20">
              <a:extLst>
                <a:ext uri="{FF2B5EF4-FFF2-40B4-BE49-F238E27FC236}">
                  <a16:creationId xmlns:a16="http://schemas.microsoft.com/office/drawing/2014/main" id="{434FC888-0DBE-495A-8ED9-0467D80FD7CE}"/>
                </a:ext>
              </a:extLst>
            </p:cNvPr>
            <p:cNvGrpSpPr/>
            <p:nvPr/>
          </p:nvGrpSpPr>
          <p:grpSpPr>
            <a:xfrm>
              <a:off x="4327012" y="1916553"/>
              <a:ext cx="2045188" cy="2017477"/>
              <a:chOff x="4125608" y="1700807"/>
              <a:chExt cx="2520003" cy="2520003"/>
            </a:xfrm>
          </p:grpSpPr>
          <p:pic>
            <p:nvPicPr>
              <p:cNvPr id="23" name="Picture 41" descr="https://static1.bmbfcluster.de/1/2/5/7_8b9c61647e5625f/1257_8d41285ea295bc3.jpg">
                <a:extLst>
                  <a:ext uri="{FF2B5EF4-FFF2-40B4-BE49-F238E27FC236}">
                    <a16:creationId xmlns:a16="http://schemas.microsoft.com/office/drawing/2014/main" id="{464A2371-613F-47C3-BDE5-629AC5FA09E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b="-18985"/>
              <a:stretch/>
            </p:blipFill>
            <p:spPr bwMode="auto">
              <a:xfrm>
                <a:off x="4125610" y="1700809"/>
                <a:ext cx="2520000" cy="2520000"/>
              </a:xfrm>
              <a:prstGeom prst="ellipse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4" name="Ellipse 23">
                <a:extLst>
                  <a:ext uri="{FF2B5EF4-FFF2-40B4-BE49-F238E27FC236}">
                    <a16:creationId xmlns:a16="http://schemas.microsoft.com/office/drawing/2014/main" id="{D03B027C-0628-4208-9E23-2EF9FD03F997}"/>
                  </a:ext>
                </a:extLst>
              </p:cNvPr>
              <p:cNvSpPr/>
              <p:nvPr/>
            </p:nvSpPr>
            <p:spPr bwMode="auto">
              <a:xfrm>
                <a:off x="4125609" y="1700808"/>
                <a:ext cx="2520002" cy="2520002"/>
              </a:xfrm>
              <a:prstGeom prst="ellipse">
                <a:avLst/>
              </a:prstGeom>
              <a:noFill/>
              <a:ln w="28575" cap="flat" cmpd="sng" algn="ctr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08000" tIns="108000" rIns="108000" bIns="10800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eaLnBrk="0" fontAlgn="base" hangingPunct="0">
                  <a:spcAft>
                    <a:spcPct val="0"/>
                  </a:spcAft>
                </a:pPr>
                <a:endParaRPr lang="de-DE" sz="1400" dirty="0">
                  <a:solidFill>
                    <a:srgbClr val="3B3B3B"/>
                  </a:solidFill>
                </a:endParaRPr>
              </a:p>
            </p:txBody>
          </p:sp>
          <p:sp>
            <p:nvSpPr>
              <p:cNvPr id="25" name="Akkord 31">
                <a:extLst>
                  <a:ext uri="{FF2B5EF4-FFF2-40B4-BE49-F238E27FC236}">
                    <a16:creationId xmlns:a16="http://schemas.microsoft.com/office/drawing/2014/main" id="{05B1E0CC-E69D-42F7-BC4C-B4F7247EB8A4}"/>
                  </a:ext>
                </a:extLst>
              </p:cNvPr>
              <p:cNvSpPr/>
              <p:nvPr/>
            </p:nvSpPr>
            <p:spPr bwMode="auto">
              <a:xfrm>
                <a:off x="4125608" y="1700807"/>
                <a:ext cx="2520002" cy="2520002"/>
              </a:xfrm>
              <a:prstGeom prst="chord">
                <a:avLst>
                  <a:gd name="adj1" fmla="val 1846425"/>
                  <a:gd name="adj2" fmla="val 8876360"/>
                </a:avLst>
              </a:prstGeom>
              <a:solidFill>
                <a:schemeClr val="accent2"/>
              </a:solidFill>
              <a:ln w="28575" cap="flat" cmpd="sng" algn="ctr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08000" tIns="108000" rIns="108000" bIns="10800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eaLnBrk="0" fontAlgn="base" hangingPunct="0">
                  <a:spcAft>
                    <a:spcPct val="0"/>
                  </a:spcAft>
                </a:pPr>
                <a:endParaRPr lang="de-DE" sz="1400" dirty="0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22" name="Textfeld 21">
              <a:extLst>
                <a:ext uri="{FF2B5EF4-FFF2-40B4-BE49-F238E27FC236}">
                  <a16:creationId xmlns:a16="http://schemas.microsoft.com/office/drawing/2014/main" id="{1399A68C-9872-40C7-88B5-A0A67AAF02DA}"/>
                </a:ext>
              </a:extLst>
            </p:cNvPr>
            <p:cNvSpPr txBox="1"/>
            <p:nvPr/>
          </p:nvSpPr>
          <p:spPr bwMode="gray">
            <a:xfrm>
              <a:off x="4586280" y="3528331"/>
              <a:ext cx="1526650" cy="24366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>
                <a:buClr>
                  <a:srgbClr val="FF9900"/>
                </a:buClr>
                <a:buSzPct val="140000"/>
              </a:pPr>
              <a:r>
                <a:rPr lang="de-DE" sz="1200" b="1" dirty="0">
                  <a:solidFill>
                    <a:srgbClr val="FFFFFF"/>
                  </a:solidFill>
                  <a:ea typeface="DIN-Regular" panose="020B0500010101010101" pitchFamily="34" charset="0"/>
                </a:rPr>
                <a:t>Energiewende</a:t>
              </a:r>
            </a:p>
          </p:txBody>
        </p:sp>
      </p:grp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C1AD94AB-FD04-44DF-9D58-7F72AB8791CE}"/>
              </a:ext>
            </a:extLst>
          </p:cNvPr>
          <p:cNvGrpSpPr/>
          <p:nvPr/>
        </p:nvGrpSpPr>
        <p:grpSpPr>
          <a:xfrm>
            <a:off x="6880615" y="3209508"/>
            <a:ext cx="1558243" cy="1539208"/>
            <a:chOff x="6919300" y="1885498"/>
            <a:chExt cx="2045188" cy="2017477"/>
          </a:xfrm>
        </p:grpSpPr>
        <p:grpSp>
          <p:nvGrpSpPr>
            <p:cNvPr id="27" name="Gruppieren 26">
              <a:extLst>
                <a:ext uri="{FF2B5EF4-FFF2-40B4-BE49-F238E27FC236}">
                  <a16:creationId xmlns:a16="http://schemas.microsoft.com/office/drawing/2014/main" id="{57F4F753-7109-4F06-B8CE-3D42181050E1}"/>
                </a:ext>
              </a:extLst>
            </p:cNvPr>
            <p:cNvGrpSpPr/>
            <p:nvPr/>
          </p:nvGrpSpPr>
          <p:grpSpPr>
            <a:xfrm>
              <a:off x="6919300" y="1885498"/>
              <a:ext cx="2045188" cy="2017477"/>
              <a:chOff x="4327012" y="1916553"/>
              <a:chExt cx="2045188" cy="2017477"/>
            </a:xfrm>
          </p:grpSpPr>
          <p:grpSp>
            <p:nvGrpSpPr>
              <p:cNvPr id="29" name="Gruppieren 28">
                <a:extLst>
                  <a:ext uri="{FF2B5EF4-FFF2-40B4-BE49-F238E27FC236}">
                    <a16:creationId xmlns:a16="http://schemas.microsoft.com/office/drawing/2014/main" id="{5E274E38-7941-42C5-A53F-8A7A339C1FE3}"/>
                  </a:ext>
                </a:extLst>
              </p:cNvPr>
              <p:cNvGrpSpPr/>
              <p:nvPr/>
            </p:nvGrpSpPr>
            <p:grpSpPr>
              <a:xfrm>
                <a:off x="4327012" y="1916553"/>
                <a:ext cx="2045188" cy="2017477"/>
                <a:chOff x="4125608" y="1700807"/>
                <a:chExt cx="2520003" cy="2520003"/>
              </a:xfrm>
            </p:grpSpPr>
            <p:sp>
              <p:nvSpPr>
                <p:cNvPr id="31" name="Ellipse 30">
                  <a:extLst>
                    <a:ext uri="{FF2B5EF4-FFF2-40B4-BE49-F238E27FC236}">
                      <a16:creationId xmlns:a16="http://schemas.microsoft.com/office/drawing/2014/main" id="{3C204082-5A16-4D2B-A38A-87343E9C76A6}"/>
                    </a:ext>
                  </a:extLst>
                </p:cNvPr>
                <p:cNvSpPr/>
                <p:nvPr/>
              </p:nvSpPr>
              <p:spPr bwMode="auto">
                <a:xfrm>
                  <a:off x="4125609" y="1700808"/>
                  <a:ext cx="2520002" cy="2520002"/>
                </a:xfrm>
                <a:prstGeom prst="ellipse">
                  <a:avLst/>
                </a:prstGeom>
                <a:solidFill>
                  <a:schemeClr val="bg1"/>
                </a:solidFill>
                <a:ln w="28575" cap="flat" cmpd="sng" algn="ctr">
                  <a:solidFill>
                    <a:schemeClr val="accent2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108000" tIns="108000" rIns="108000" bIns="10800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eaLnBrk="0" fontAlgn="base" hangingPunct="0">
                    <a:spcAft>
                      <a:spcPct val="0"/>
                    </a:spcAft>
                  </a:pPr>
                  <a:endParaRPr lang="de-DE" sz="1600" b="1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2" name="Akkord 45">
                  <a:extLst>
                    <a:ext uri="{FF2B5EF4-FFF2-40B4-BE49-F238E27FC236}">
                      <a16:creationId xmlns:a16="http://schemas.microsoft.com/office/drawing/2014/main" id="{532502EE-3CDA-4D89-8B3B-E211AD9C6EDE}"/>
                    </a:ext>
                  </a:extLst>
                </p:cNvPr>
                <p:cNvSpPr/>
                <p:nvPr/>
              </p:nvSpPr>
              <p:spPr bwMode="auto">
                <a:xfrm>
                  <a:off x="4125608" y="1700807"/>
                  <a:ext cx="2520002" cy="2520002"/>
                </a:xfrm>
                <a:prstGeom prst="chord">
                  <a:avLst>
                    <a:gd name="adj1" fmla="val 1846425"/>
                    <a:gd name="adj2" fmla="val 8876360"/>
                  </a:avLst>
                </a:prstGeom>
                <a:solidFill>
                  <a:schemeClr val="accent2"/>
                </a:solidFill>
                <a:ln w="28575" cap="flat" cmpd="sng" algn="ctr">
                  <a:solidFill>
                    <a:schemeClr val="accent2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108000" tIns="108000" rIns="108000" bIns="10800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eaLnBrk="0" fontAlgn="base" hangingPunct="0">
                    <a:spcAft>
                      <a:spcPct val="0"/>
                    </a:spcAft>
                  </a:pPr>
                  <a:endParaRPr lang="de-DE" sz="1400" dirty="0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30" name="Textfeld 29">
                <a:extLst>
                  <a:ext uri="{FF2B5EF4-FFF2-40B4-BE49-F238E27FC236}">
                    <a16:creationId xmlns:a16="http://schemas.microsoft.com/office/drawing/2014/main" id="{E7C1A706-90A4-4105-B460-EE212AD7FF59}"/>
                  </a:ext>
                </a:extLst>
              </p:cNvPr>
              <p:cNvSpPr txBox="1"/>
              <p:nvPr/>
            </p:nvSpPr>
            <p:spPr bwMode="gray">
              <a:xfrm>
                <a:off x="4586280" y="3550119"/>
                <a:ext cx="1526650" cy="24204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buClr>
                    <a:srgbClr val="FF9900"/>
                  </a:buClr>
                  <a:buSzPct val="140000"/>
                </a:pPr>
                <a:r>
                  <a:rPr lang="de-DE" sz="1200" b="1" dirty="0">
                    <a:solidFill>
                      <a:srgbClr val="FFFFFF"/>
                    </a:solidFill>
                    <a:ea typeface="DIN-Regular" panose="020B0500010101010101" pitchFamily="34" charset="0"/>
                  </a:rPr>
                  <a:t>Smart Grid</a:t>
                </a:r>
              </a:p>
            </p:txBody>
          </p:sp>
        </p:grpSp>
        <p:pic>
          <p:nvPicPr>
            <p:cNvPr id="28" name="Picture 2" descr="Bildergebnis für smart grid netze bw">
              <a:hlinkClick r:id="rId11"/>
              <a:extLst>
                <a:ext uri="{FF2B5EF4-FFF2-40B4-BE49-F238E27FC236}">
                  <a16:creationId xmlns:a16="http://schemas.microsoft.com/office/drawing/2014/main" id="{02F2C9F9-9AF0-4873-9019-F22AA73EE79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7308304" y="2029514"/>
              <a:ext cx="1313348" cy="1374148"/>
            </a:xfrm>
            <a:prstGeom prst="ellipse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B14E8EBB-37BB-4E3B-A0BC-EC962A5A5430}"/>
              </a:ext>
            </a:extLst>
          </p:cNvPr>
          <p:cNvGrpSpPr/>
          <p:nvPr/>
        </p:nvGrpSpPr>
        <p:grpSpPr>
          <a:xfrm>
            <a:off x="6592583" y="4937702"/>
            <a:ext cx="1563015" cy="1543925"/>
            <a:chOff x="8095895" y="3892615"/>
            <a:chExt cx="2045189" cy="2031332"/>
          </a:xfrm>
        </p:grpSpPr>
        <p:pic>
          <p:nvPicPr>
            <p:cNvPr id="34" name="Picture 34" descr="http://www.gemeindewerke-everswinkel.de/wDeutsch/img/kopfbilder/netznutzung.jpg">
              <a:extLst>
                <a:ext uri="{FF2B5EF4-FFF2-40B4-BE49-F238E27FC236}">
                  <a16:creationId xmlns:a16="http://schemas.microsoft.com/office/drawing/2014/main" id="{50BF3964-509A-445E-8C51-E52D59E748A4}"/>
                </a:ext>
              </a:extLst>
            </p:cNvPr>
            <p:cNvPicPr>
              <a:picLocks noChangeArrowheads="1"/>
            </p:cNvPicPr>
            <p:nvPr/>
          </p:nvPicPr>
          <p:blipFill rotWithShape="1"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5"/>
            <a:stretch/>
          </p:blipFill>
          <p:spPr bwMode="auto">
            <a:xfrm>
              <a:off x="8095895" y="3906473"/>
              <a:ext cx="2045188" cy="2017474"/>
            </a:xfrm>
            <a:prstGeom prst="ellipse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35" name="Gruppieren 34">
              <a:extLst>
                <a:ext uri="{FF2B5EF4-FFF2-40B4-BE49-F238E27FC236}">
                  <a16:creationId xmlns:a16="http://schemas.microsoft.com/office/drawing/2014/main" id="{22F8103E-19D1-4407-9404-6ED3F38FA947}"/>
                </a:ext>
              </a:extLst>
            </p:cNvPr>
            <p:cNvGrpSpPr/>
            <p:nvPr/>
          </p:nvGrpSpPr>
          <p:grpSpPr>
            <a:xfrm>
              <a:off x="8095896" y="3892615"/>
              <a:ext cx="2045188" cy="2017477"/>
              <a:chOff x="4327012" y="1916553"/>
              <a:chExt cx="2045188" cy="2017477"/>
            </a:xfrm>
          </p:grpSpPr>
          <p:grpSp>
            <p:nvGrpSpPr>
              <p:cNvPr id="36" name="Gruppieren 35">
                <a:extLst>
                  <a:ext uri="{FF2B5EF4-FFF2-40B4-BE49-F238E27FC236}">
                    <a16:creationId xmlns:a16="http://schemas.microsoft.com/office/drawing/2014/main" id="{13341369-FEB7-4C28-B3B9-4B8C205D0BBC}"/>
                  </a:ext>
                </a:extLst>
              </p:cNvPr>
              <p:cNvGrpSpPr/>
              <p:nvPr/>
            </p:nvGrpSpPr>
            <p:grpSpPr>
              <a:xfrm>
                <a:off x="4327012" y="1916553"/>
                <a:ext cx="2045188" cy="2017477"/>
                <a:chOff x="4125608" y="1700807"/>
                <a:chExt cx="2520003" cy="2520003"/>
              </a:xfrm>
            </p:grpSpPr>
            <p:sp>
              <p:nvSpPr>
                <p:cNvPr id="38" name="Ellipse 37">
                  <a:extLst>
                    <a:ext uri="{FF2B5EF4-FFF2-40B4-BE49-F238E27FC236}">
                      <a16:creationId xmlns:a16="http://schemas.microsoft.com/office/drawing/2014/main" id="{8DF546CF-3743-4569-BD7B-BEB12E2D720C}"/>
                    </a:ext>
                  </a:extLst>
                </p:cNvPr>
                <p:cNvSpPr/>
                <p:nvPr/>
              </p:nvSpPr>
              <p:spPr bwMode="auto">
                <a:xfrm>
                  <a:off x="4125609" y="1700808"/>
                  <a:ext cx="2520002" cy="2520002"/>
                </a:xfrm>
                <a:prstGeom prst="ellipse">
                  <a:avLst/>
                </a:prstGeom>
                <a:noFill/>
                <a:ln w="28575" cap="flat" cmpd="sng" algn="ctr">
                  <a:solidFill>
                    <a:schemeClr val="accent2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108000" tIns="108000" rIns="108000" bIns="10800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eaLnBrk="0" fontAlgn="base" hangingPunct="0">
                    <a:spcAft>
                      <a:spcPct val="0"/>
                    </a:spcAft>
                  </a:pPr>
                  <a:endParaRPr lang="de-DE" sz="1400" dirty="0">
                    <a:solidFill>
                      <a:srgbClr val="3B3B3B"/>
                    </a:solidFill>
                  </a:endParaRPr>
                </a:p>
              </p:txBody>
            </p:sp>
            <p:sp>
              <p:nvSpPr>
                <p:cNvPr id="39" name="Akkord 52">
                  <a:extLst>
                    <a:ext uri="{FF2B5EF4-FFF2-40B4-BE49-F238E27FC236}">
                      <a16:creationId xmlns:a16="http://schemas.microsoft.com/office/drawing/2014/main" id="{92354A6A-C0DC-4B78-988D-C050C3F184E3}"/>
                    </a:ext>
                  </a:extLst>
                </p:cNvPr>
                <p:cNvSpPr/>
                <p:nvPr/>
              </p:nvSpPr>
              <p:spPr bwMode="auto">
                <a:xfrm>
                  <a:off x="4125608" y="1700807"/>
                  <a:ext cx="2520002" cy="2520002"/>
                </a:xfrm>
                <a:prstGeom prst="chord">
                  <a:avLst>
                    <a:gd name="adj1" fmla="val 1846425"/>
                    <a:gd name="adj2" fmla="val 8876360"/>
                  </a:avLst>
                </a:prstGeom>
                <a:solidFill>
                  <a:schemeClr val="accent2"/>
                </a:solidFill>
                <a:ln w="28575" cap="flat" cmpd="sng" algn="ctr">
                  <a:solidFill>
                    <a:schemeClr val="accent2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108000" tIns="108000" rIns="108000" bIns="10800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eaLnBrk="0" fontAlgn="base" hangingPunct="0">
                    <a:spcAft>
                      <a:spcPct val="0"/>
                    </a:spcAft>
                  </a:pPr>
                  <a:endParaRPr lang="de-DE" sz="1400" dirty="0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37" name="Textfeld 36">
                <a:extLst>
                  <a:ext uri="{FF2B5EF4-FFF2-40B4-BE49-F238E27FC236}">
                    <a16:creationId xmlns:a16="http://schemas.microsoft.com/office/drawing/2014/main" id="{C47BFAA7-9479-4590-902A-EAF1B5797D0A}"/>
                  </a:ext>
                </a:extLst>
              </p:cNvPr>
              <p:cNvSpPr txBox="1"/>
              <p:nvPr/>
            </p:nvSpPr>
            <p:spPr bwMode="gray">
              <a:xfrm>
                <a:off x="4586280" y="3558882"/>
                <a:ext cx="1526650" cy="24296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buClr>
                    <a:srgbClr val="FF9900"/>
                  </a:buClr>
                  <a:buSzPct val="140000"/>
                </a:pPr>
                <a:r>
                  <a:rPr lang="de-DE" sz="1200" b="1" dirty="0">
                    <a:solidFill>
                      <a:srgbClr val="FFFFFF"/>
                    </a:solidFill>
                    <a:ea typeface="DIN-Regular" panose="020B0500010101010101" pitchFamily="34" charset="0"/>
                  </a:rPr>
                  <a:t>Gasnetze</a:t>
                </a:r>
              </a:p>
            </p:txBody>
          </p:sp>
        </p:grpSp>
      </p:grp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FF73F2D5-F8D8-404B-8481-0027B3655B55}"/>
              </a:ext>
            </a:extLst>
          </p:cNvPr>
          <p:cNvGrpSpPr/>
          <p:nvPr/>
        </p:nvGrpSpPr>
        <p:grpSpPr>
          <a:xfrm>
            <a:off x="4648365" y="4793684"/>
            <a:ext cx="1563016" cy="1543926"/>
            <a:chOff x="323528" y="1555345"/>
            <a:chExt cx="2045188" cy="2045188"/>
          </a:xfrm>
        </p:grpSpPr>
        <p:pic>
          <p:nvPicPr>
            <p:cNvPr id="41" name="Grafik 40">
              <a:extLst>
                <a:ext uri="{FF2B5EF4-FFF2-40B4-BE49-F238E27FC236}">
                  <a16:creationId xmlns:a16="http://schemas.microsoft.com/office/drawing/2014/main" id="{803E9ACE-8D18-468D-AA9C-013D060CD17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23528" y="1555345"/>
              <a:ext cx="2045188" cy="2045188"/>
            </a:xfrm>
            <a:prstGeom prst="ellipse">
              <a:avLst/>
            </a:prstGeom>
          </p:spPr>
        </p:pic>
        <p:grpSp>
          <p:nvGrpSpPr>
            <p:cNvPr id="42" name="Gruppieren 41">
              <a:extLst>
                <a:ext uri="{FF2B5EF4-FFF2-40B4-BE49-F238E27FC236}">
                  <a16:creationId xmlns:a16="http://schemas.microsoft.com/office/drawing/2014/main" id="{1D082684-29E7-442C-A739-C2D676A7161B}"/>
                </a:ext>
              </a:extLst>
            </p:cNvPr>
            <p:cNvGrpSpPr/>
            <p:nvPr/>
          </p:nvGrpSpPr>
          <p:grpSpPr>
            <a:xfrm>
              <a:off x="323528" y="1569200"/>
              <a:ext cx="2045188" cy="2017477"/>
              <a:chOff x="4327012" y="1916553"/>
              <a:chExt cx="2045188" cy="2017477"/>
            </a:xfrm>
          </p:grpSpPr>
          <p:grpSp>
            <p:nvGrpSpPr>
              <p:cNvPr id="43" name="Gruppieren 42">
                <a:extLst>
                  <a:ext uri="{FF2B5EF4-FFF2-40B4-BE49-F238E27FC236}">
                    <a16:creationId xmlns:a16="http://schemas.microsoft.com/office/drawing/2014/main" id="{5F7BC5DB-846D-4723-8F6A-A1680B73451F}"/>
                  </a:ext>
                </a:extLst>
              </p:cNvPr>
              <p:cNvGrpSpPr/>
              <p:nvPr/>
            </p:nvGrpSpPr>
            <p:grpSpPr>
              <a:xfrm>
                <a:off x="4327012" y="1916553"/>
                <a:ext cx="2045188" cy="2017477"/>
                <a:chOff x="4125608" y="1700807"/>
                <a:chExt cx="2520003" cy="2520003"/>
              </a:xfrm>
            </p:grpSpPr>
            <p:sp>
              <p:nvSpPr>
                <p:cNvPr id="45" name="Ellipse 44">
                  <a:extLst>
                    <a:ext uri="{FF2B5EF4-FFF2-40B4-BE49-F238E27FC236}">
                      <a16:creationId xmlns:a16="http://schemas.microsoft.com/office/drawing/2014/main" id="{8B9E6570-510D-42CD-B47C-C18AEAC9C9A8}"/>
                    </a:ext>
                  </a:extLst>
                </p:cNvPr>
                <p:cNvSpPr/>
                <p:nvPr/>
              </p:nvSpPr>
              <p:spPr bwMode="auto">
                <a:xfrm>
                  <a:off x="4125609" y="1700808"/>
                  <a:ext cx="2520002" cy="2520002"/>
                </a:xfrm>
                <a:prstGeom prst="ellipse">
                  <a:avLst/>
                </a:prstGeom>
                <a:noFill/>
                <a:ln w="28575" cap="flat" cmpd="sng" algn="ctr">
                  <a:solidFill>
                    <a:schemeClr val="accent2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108000" tIns="108000" rIns="108000" bIns="10800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eaLnBrk="0" fontAlgn="base" hangingPunct="0">
                    <a:spcAft>
                      <a:spcPct val="0"/>
                    </a:spcAft>
                  </a:pPr>
                  <a:endParaRPr lang="de-DE" sz="1600" b="1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46" name="Akkord 59">
                  <a:extLst>
                    <a:ext uri="{FF2B5EF4-FFF2-40B4-BE49-F238E27FC236}">
                      <a16:creationId xmlns:a16="http://schemas.microsoft.com/office/drawing/2014/main" id="{610FD9D3-73E7-4FFE-84EF-75146B6775D8}"/>
                    </a:ext>
                  </a:extLst>
                </p:cNvPr>
                <p:cNvSpPr/>
                <p:nvPr/>
              </p:nvSpPr>
              <p:spPr bwMode="auto">
                <a:xfrm>
                  <a:off x="4125608" y="1700807"/>
                  <a:ext cx="2520002" cy="2520002"/>
                </a:xfrm>
                <a:prstGeom prst="chord">
                  <a:avLst>
                    <a:gd name="adj1" fmla="val 1846425"/>
                    <a:gd name="adj2" fmla="val 8876360"/>
                  </a:avLst>
                </a:prstGeom>
                <a:solidFill>
                  <a:schemeClr val="accent2"/>
                </a:solidFill>
                <a:ln w="28575" cap="flat" cmpd="sng" algn="ctr">
                  <a:solidFill>
                    <a:schemeClr val="accent2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108000" tIns="108000" rIns="108000" bIns="10800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eaLnBrk="0" fontAlgn="base" hangingPunct="0">
                    <a:spcAft>
                      <a:spcPct val="0"/>
                    </a:spcAft>
                  </a:pPr>
                  <a:endParaRPr lang="de-DE" sz="1400" dirty="0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44" name="Textfeld 43">
                <a:extLst>
                  <a:ext uri="{FF2B5EF4-FFF2-40B4-BE49-F238E27FC236}">
                    <a16:creationId xmlns:a16="http://schemas.microsoft.com/office/drawing/2014/main" id="{3E48FDE6-9E98-498B-BF39-6DA85874598A}"/>
                  </a:ext>
                </a:extLst>
              </p:cNvPr>
              <p:cNvSpPr txBox="1"/>
              <p:nvPr/>
            </p:nvSpPr>
            <p:spPr bwMode="gray">
              <a:xfrm>
                <a:off x="4586280" y="3543069"/>
                <a:ext cx="1526650" cy="21404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buClr>
                    <a:srgbClr val="FF9900"/>
                  </a:buClr>
                  <a:buSzPct val="140000"/>
                </a:pPr>
                <a:r>
                  <a:rPr lang="de-DE" sz="1050" b="1" dirty="0">
                    <a:solidFill>
                      <a:srgbClr val="FFFFFF"/>
                    </a:solidFill>
                    <a:ea typeface="DIN-Regular" panose="020B0500010101010101" pitchFamily="34" charset="0"/>
                  </a:rPr>
                  <a:t>Elektromobilität</a:t>
                </a:r>
              </a:p>
            </p:txBody>
          </p:sp>
        </p:grpSp>
      </p:grpSp>
      <p:grpSp>
        <p:nvGrpSpPr>
          <p:cNvPr id="47" name="Gruppieren 46">
            <a:extLst>
              <a:ext uri="{FF2B5EF4-FFF2-40B4-BE49-F238E27FC236}">
                <a16:creationId xmlns:a16="http://schemas.microsoft.com/office/drawing/2014/main" id="{68FA343F-28C0-45E6-9133-E9E637F03E5B}"/>
              </a:ext>
            </a:extLst>
          </p:cNvPr>
          <p:cNvGrpSpPr/>
          <p:nvPr/>
        </p:nvGrpSpPr>
        <p:grpSpPr>
          <a:xfrm>
            <a:off x="2704151" y="4811365"/>
            <a:ext cx="1581027" cy="1566497"/>
            <a:chOff x="4327012" y="1916553"/>
            <a:chExt cx="2045188" cy="2017477"/>
          </a:xfrm>
        </p:grpSpPr>
        <p:grpSp>
          <p:nvGrpSpPr>
            <p:cNvPr id="48" name="Gruppieren 47">
              <a:extLst>
                <a:ext uri="{FF2B5EF4-FFF2-40B4-BE49-F238E27FC236}">
                  <a16:creationId xmlns:a16="http://schemas.microsoft.com/office/drawing/2014/main" id="{07A83F48-9D8E-42A7-A26F-6F9DF7C71739}"/>
                </a:ext>
              </a:extLst>
            </p:cNvPr>
            <p:cNvGrpSpPr/>
            <p:nvPr/>
          </p:nvGrpSpPr>
          <p:grpSpPr>
            <a:xfrm>
              <a:off x="4327012" y="1916553"/>
              <a:ext cx="2045188" cy="2017477"/>
              <a:chOff x="4125608" y="1700807"/>
              <a:chExt cx="2520003" cy="2520003"/>
            </a:xfrm>
          </p:grpSpPr>
          <p:sp>
            <p:nvSpPr>
              <p:cNvPr id="50" name="Ellipse 49">
                <a:extLst>
                  <a:ext uri="{FF2B5EF4-FFF2-40B4-BE49-F238E27FC236}">
                    <a16:creationId xmlns:a16="http://schemas.microsoft.com/office/drawing/2014/main" id="{A27FB8F9-D561-47ED-B7C1-E4B9E0F17A4C}"/>
                  </a:ext>
                </a:extLst>
              </p:cNvPr>
              <p:cNvSpPr/>
              <p:nvPr/>
            </p:nvSpPr>
            <p:spPr bwMode="auto">
              <a:xfrm>
                <a:off x="4125609" y="1700808"/>
                <a:ext cx="2520002" cy="2520002"/>
              </a:xfrm>
              <a:prstGeom prst="ellipse">
                <a:avLst/>
              </a:prstGeom>
              <a:solidFill>
                <a:schemeClr val="bg1"/>
              </a:solidFill>
              <a:ln w="28575" cap="flat" cmpd="sng" algn="ctr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08000" tIns="108000" rIns="108000" bIns="10800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eaLnBrk="0" fontAlgn="base" hangingPunct="0">
                  <a:spcAft>
                    <a:spcPct val="0"/>
                  </a:spcAft>
                </a:pPr>
                <a:endParaRPr lang="de-DE" sz="1600" b="1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1" name="Akkord 64">
                <a:extLst>
                  <a:ext uri="{FF2B5EF4-FFF2-40B4-BE49-F238E27FC236}">
                    <a16:creationId xmlns:a16="http://schemas.microsoft.com/office/drawing/2014/main" id="{3B544AD9-A15C-4A6C-8854-B23B5F6EB0E8}"/>
                  </a:ext>
                </a:extLst>
              </p:cNvPr>
              <p:cNvSpPr/>
              <p:nvPr/>
            </p:nvSpPr>
            <p:spPr bwMode="auto">
              <a:xfrm>
                <a:off x="4125608" y="1700807"/>
                <a:ext cx="2520002" cy="2520002"/>
              </a:xfrm>
              <a:prstGeom prst="chord">
                <a:avLst>
                  <a:gd name="adj1" fmla="val 1846425"/>
                  <a:gd name="adj2" fmla="val 8876360"/>
                </a:avLst>
              </a:prstGeom>
              <a:solidFill>
                <a:schemeClr val="accent2"/>
              </a:solidFill>
              <a:ln w="28575" cap="flat" cmpd="sng" algn="ctr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08000" tIns="108000" rIns="108000" bIns="10800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eaLnBrk="0" fontAlgn="base" hangingPunct="0">
                  <a:spcAft>
                    <a:spcPct val="0"/>
                  </a:spcAft>
                </a:pPr>
                <a:endParaRPr lang="de-DE" sz="1400" dirty="0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49" name="Textfeld 48">
              <a:extLst>
                <a:ext uri="{FF2B5EF4-FFF2-40B4-BE49-F238E27FC236}">
                  <a16:creationId xmlns:a16="http://schemas.microsoft.com/office/drawing/2014/main" id="{957486FD-9404-4990-BA19-6198E97EA89A}"/>
                </a:ext>
              </a:extLst>
            </p:cNvPr>
            <p:cNvSpPr txBox="1"/>
            <p:nvPr/>
          </p:nvSpPr>
          <p:spPr bwMode="gray">
            <a:xfrm>
              <a:off x="4586279" y="3550119"/>
              <a:ext cx="1526650" cy="20810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>
                <a:buClr>
                  <a:srgbClr val="FF9900"/>
                </a:buClr>
                <a:buSzPct val="140000"/>
              </a:pPr>
              <a:r>
                <a:rPr lang="de-DE" sz="1050" b="1" dirty="0">
                  <a:solidFill>
                    <a:srgbClr val="FFFFFF"/>
                  </a:solidFill>
                  <a:ea typeface="DIN-Regular" panose="020B0500010101010101" pitchFamily="34" charset="0"/>
                </a:rPr>
                <a:t>Energieeffizienz</a:t>
              </a:r>
            </a:p>
          </p:txBody>
        </p:sp>
      </p:grpSp>
      <p:pic>
        <p:nvPicPr>
          <p:cNvPr id="52" name="Picture 49" descr="http://oerper-baugesellschaft.de/wp-content/uploads/2016/02/Fotolia_59567712_Subscription_Monthly_M.jpg">
            <a:extLst>
              <a:ext uri="{FF2B5EF4-FFF2-40B4-BE49-F238E27FC236}">
                <a16:creationId xmlns:a16="http://schemas.microsoft.com/office/drawing/2014/main" id="{D1B46A48-3DAD-4614-87F5-CB1C2EA991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69315" y="5061040"/>
            <a:ext cx="934131" cy="9341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0" name="Titel 1">
            <a:extLst>
              <a:ext uri="{FF2B5EF4-FFF2-40B4-BE49-F238E27FC236}">
                <a16:creationId xmlns:a16="http://schemas.microsoft.com/office/drawing/2014/main" id="{D85FE117-1319-42B5-8111-323F80625322}"/>
              </a:ext>
            </a:extLst>
          </p:cNvPr>
          <p:cNvSpPr txBox="1">
            <a:spLocks/>
          </p:cNvSpPr>
          <p:nvPr/>
        </p:nvSpPr>
        <p:spPr bwMode="auto">
          <a:xfrm>
            <a:off x="469781" y="541010"/>
            <a:ext cx="9443165" cy="615553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650" baseline="0">
                <a:solidFill>
                  <a:schemeClr val="accent6"/>
                </a:solidFill>
                <a:latin typeface="+mn-lt"/>
                <a:ea typeface="EnBW DIN Pro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5pPr>
            <a:lvl6pPr marL="342809"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6pPr>
            <a:lvl7pPr marL="685617"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7pPr>
            <a:lvl8pPr marL="1028426"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8pPr>
            <a:lvl9pPr marL="1371234"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9pPr>
          </a:lstStyle>
          <a:p>
            <a:r>
              <a:rPr lang="de-DE" sz="2200" kern="0" dirty="0">
                <a:cs typeface="EnBW DIN Pro Medium" panose="020B0604020101020102" pitchFamily="34" charset="0"/>
              </a:rPr>
              <a:t>Was bringt die Zukunft?</a:t>
            </a:r>
          </a:p>
          <a:p>
            <a:r>
              <a:rPr lang="de-DE" sz="1800" dirty="0">
                <a:solidFill>
                  <a:schemeClr val="tx2"/>
                </a:solidFill>
                <a:cs typeface="EnBW DIN Pro Medium" panose="020B0604020101020102" pitchFamily="34" charset="0"/>
              </a:rPr>
              <a:t>Einflussfaktoren der Energiewende und Politik</a:t>
            </a: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3AB79829-06E9-4CF5-99FB-7BA1D18F3CB0}"/>
              </a:ext>
            </a:extLst>
          </p:cNvPr>
          <p:cNvGrpSpPr/>
          <p:nvPr/>
        </p:nvGrpSpPr>
        <p:grpSpPr>
          <a:xfrm>
            <a:off x="3144650" y="3098920"/>
            <a:ext cx="1596880" cy="1580386"/>
            <a:chOff x="933851" y="3127843"/>
            <a:chExt cx="1596880" cy="1580386"/>
          </a:xfrm>
        </p:grpSpPr>
        <p:pic>
          <p:nvPicPr>
            <p:cNvPr id="54" name="Picture 51" descr="https://www.euractiv.de/wp-content/uploads/sites/4/2015/10/co2_0.jpeg">
              <a:extLst>
                <a:ext uri="{FF2B5EF4-FFF2-40B4-BE49-F238E27FC236}">
                  <a16:creationId xmlns:a16="http://schemas.microsoft.com/office/drawing/2014/main" id="{2BF94D64-ADBE-4B99-8FE1-C04B585023A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952500" y="3130384"/>
              <a:ext cx="1578231" cy="1577845"/>
            </a:xfrm>
            <a:prstGeom prst="ellipse">
              <a:avLst/>
            </a:prstGeom>
            <a:ln w="63500" cap="rnd">
              <a:noFill/>
            </a:ln>
            <a:effectLst>
              <a:outerShdw blurRad="381000" dist="292100" dir="5400000" sx="-80000" sy="-18000" rotWithShape="0">
                <a:srgbClr val="000000">
                  <a:alpha val="22000"/>
                </a:srgbClr>
              </a:outerShdw>
            </a:effectLst>
            <a:scene3d>
              <a:camera prst="orthographicFront"/>
              <a:lightRig rig="contrasting" dir="t">
                <a:rot lat="0" lon="0" rev="3000000"/>
              </a:lightRig>
            </a:scene3d>
            <a:sp3d contourW="7620">
              <a:bevelT w="95250" h="31750"/>
              <a:contourClr>
                <a:srgbClr val="333333"/>
              </a:contourClr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4" name="Ellipse 63">
              <a:extLst>
                <a:ext uri="{FF2B5EF4-FFF2-40B4-BE49-F238E27FC236}">
                  <a16:creationId xmlns:a16="http://schemas.microsoft.com/office/drawing/2014/main" id="{85BD96BC-2799-45FF-B90F-BD5E1B3D262E}"/>
                </a:ext>
              </a:extLst>
            </p:cNvPr>
            <p:cNvSpPr/>
            <p:nvPr/>
          </p:nvSpPr>
          <p:spPr bwMode="auto">
            <a:xfrm>
              <a:off x="941778" y="3135385"/>
              <a:ext cx="1581026" cy="1566495"/>
            </a:xfrm>
            <a:prstGeom prst="ellipse">
              <a:avLst/>
            </a:prstGeom>
            <a:noFill/>
            <a:ln w="2857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08000" tIns="108000" rIns="108000" bIns="10800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Aft>
                  <a:spcPct val="0"/>
                </a:spcAft>
              </a:pPr>
              <a:endParaRPr lang="de-DE" sz="1600" b="1" dirty="0">
                <a:solidFill>
                  <a:srgbClr val="FFFFFF"/>
                </a:solidFill>
              </a:endParaRPr>
            </a:p>
          </p:txBody>
        </p:sp>
        <p:sp>
          <p:nvSpPr>
            <p:cNvPr id="66" name="Akkord 64">
              <a:extLst>
                <a:ext uri="{FF2B5EF4-FFF2-40B4-BE49-F238E27FC236}">
                  <a16:creationId xmlns:a16="http://schemas.microsoft.com/office/drawing/2014/main" id="{729F5342-FCB1-4EBD-A043-A548DB05596D}"/>
                </a:ext>
              </a:extLst>
            </p:cNvPr>
            <p:cNvSpPr/>
            <p:nvPr/>
          </p:nvSpPr>
          <p:spPr bwMode="auto">
            <a:xfrm>
              <a:off x="933851" y="3127843"/>
              <a:ext cx="1581026" cy="1566495"/>
            </a:xfrm>
            <a:prstGeom prst="chord">
              <a:avLst>
                <a:gd name="adj1" fmla="val 1846425"/>
                <a:gd name="adj2" fmla="val 8876360"/>
              </a:avLst>
            </a:prstGeom>
            <a:solidFill>
              <a:schemeClr val="accent2"/>
            </a:solidFill>
            <a:ln w="2857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08000" tIns="108000" rIns="108000" bIns="10800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Aft>
                  <a:spcPct val="0"/>
                </a:spcAft>
              </a:pPr>
              <a:endParaRPr lang="de-DE" sz="1400" dirty="0">
                <a:solidFill>
                  <a:srgbClr val="FFFFFF"/>
                </a:solidFill>
              </a:endParaRPr>
            </a:p>
          </p:txBody>
        </p:sp>
        <p:sp>
          <p:nvSpPr>
            <p:cNvPr id="67" name="Textfeld 66">
              <a:extLst>
                <a:ext uri="{FF2B5EF4-FFF2-40B4-BE49-F238E27FC236}">
                  <a16:creationId xmlns:a16="http://schemas.microsoft.com/office/drawing/2014/main" id="{8EA3FF3C-B538-4DC1-8469-FC9DB00E8D1F}"/>
                </a:ext>
              </a:extLst>
            </p:cNvPr>
            <p:cNvSpPr txBox="1"/>
            <p:nvPr/>
          </p:nvSpPr>
          <p:spPr bwMode="gray">
            <a:xfrm>
              <a:off x="1142204" y="4384274"/>
              <a:ext cx="1180173" cy="16158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>
                <a:buClr>
                  <a:srgbClr val="FF9900"/>
                </a:buClr>
                <a:buSzPct val="140000"/>
              </a:pPr>
              <a:r>
                <a:rPr lang="de-DE" sz="1050" b="1" dirty="0">
                  <a:solidFill>
                    <a:srgbClr val="FFFFFF"/>
                  </a:solidFill>
                  <a:ea typeface="DIN-Regular" panose="020B0500010101010101" pitchFamily="34" charset="0"/>
                </a:rPr>
                <a:t>Klimaneutralitä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96700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34F20D3A-789E-47DD-A3E3-F28FEB2FB12D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839650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58" name="think-cell Folie" r:id="rId5" imgW="347" imgH="348" progId="TCLayout.ActiveDocument.1">
                  <p:embed/>
                </p:oleObj>
              </mc:Choice>
              <mc:Fallback>
                <p:oleObj name="think-cell Folie" r:id="rId5" imgW="347" imgH="348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id="{34F20D3A-789E-47DD-A3E3-F28FEB2FB1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3BEDE7B-4487-412D-98B4-C4F3DE219FC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3D4A45-F672-4474-BA28-E624C64DA635}" type="slidenum">
              <a:rPr lang="de-DE" smtClean="0"/>
              <a:t>20</a:t>
            </a:fld>
            <a:endParaRPr lang="de-DE"/>
          </a:p>
        </p:txBody>
      </p:sp>
      <p:pic>
        <p:nvPicPr>
          <p:cNvPr id="6" name="Grafik 5" descr="Ein Bild, das draußen, Baum, Schnee, Himmel enthält.&#10;&#10;Automatisch generierte Beschreibung">
            <a:extLst>
              <a:ext uri="{FF2B5EF4-FFF2-40B4-BE49-F238E27FC236}">
                <a16:creationId xmlns:a16="http://schemas.microsoft.com/office/drawing/2014/main" id="{E6A1863F-B084-4097-85D5-6BD0EC57F935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58"/>
          <a:stretch/>
        </p:blipFill>
        <p:spPr>
          <a:xfrm>
            <a:off x="468311" y="4730432"/>
            <a:ext cx="2261103" cy="167941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7C14E843-3CB1-4C15-8863-6BC2F47F3F82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8311" y="1588880"/>
            <a:ext cx="2261103" cy="301480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2" name="Grafik 11" descr="Ein Bild, das Himmel, draußen, Straße enthält.&#10;&#10;Automatisch generierte Beschreibung">
            <a:extLst>
              <a:ext uri="{FF2B5EF4-FFF2-40B4-BE49-F238E27FC236}">
                <a16:creationId xmlns:a16="http://schemas.microsoft.com/office/drawing/2014/main" id="{DCFAB272-D831-49FE-968F-8E5AC59FF31C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46827" y="3395045"/>
            <a:ext cx="2261103" cy="301480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4" name="Grafik 13" descr="Ein Bild, das Baum, draußen, Schnee, Transport enthält.&#10;&#10;Automatisch generierte Beschreibung">
            <a:extLst>
              <a:ext uri="{FF2B5EF4-FFF2-40B4-BE49-F238E27FC236}">
                <a16:creationId xmlns:a16="http://schemas.microsoft.com/office/drawing/2014/main" id="{A4B1D7B4-9CE7-4865-8907-AEB9CABD47D7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251897" y="1588880"/>
            <a:ext cx="4344263" cy="253044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5" name="Picture 7" descr="H:\Daten\Projekte\GF-Klausur\Schnee-Einsatz 2019\Bilder\18-Bild.jpg">
            <a:extLst>
              <a:ext uri="{FF2B5EF4-FFF2-40B4-BE49-F238E27FC236}">
                <a16:creationId xmlns:a16="http://schemas.microsoft.com/office/drawing/2014/main" id="{2BDB5E0C-AFA0-48ED-8D12-75F89BFAD9E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750498" y="1588880"/>
            <a:ext cx="2010446" cy="4824741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113B9D9D-725A-42EC-86B3-3A53A2C759A1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251897" y="4245035"/>
            <a:ext cx="4340653" cy="216481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0" name="Grafik 19" descr="Ein Bild, das draußen, Rauch, Natur enthält.&#10;&#10;Automatisch generierte Beschreibung">
            <a:extLst>
              <a:ext uri="{FF2B5EF4-FFF2-40B4-BE49-F238E27FC236}">
                <a16:creationId xmlns:a16="http://schemas.microsoft.com/office/drawing/2014/main" id="{A57355C7-94BE-4C10-9EBF-9210B0BFFCB7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"/>
          <a:stretch/>
        </p:blipFill>
        <p:spPr>
          <a:xfrm rot="5400000">
            <a:off x="3117427" y="1305207"/>
            <a:ext cx="1701304" cy="226110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1" name="Titel 1">
            <a:extLst>
              <a:ext uri="{FF2B5EF4-FFF2-40B4-BE49-F238E27FC236}">
                <a16:creationId xmlns:a16="http://schemas.microsoft.com/office/drawing/2014/main" id="{19712098-4730-40FE-A8F6-92C1DAC432EB}"/>
              </a:ext>
            </a:extLst>
          </p:cNvPr>
          <p:cNvSpPr txBox="1">
            <a:spLocks/>
          </p:cNvSpPr>
          <p:nvPr/>
        </p:nvSpPr>
        <p:spPr bwMode="auto">
          <a:xfrm>
            <a:off x="469781" y="541010"/>
            <a:ext cx="9443165" cy="615553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650" baseline="0">
                <a:solidFill>
                  <a:schemeClr val="accent6"/>
                </a:solidFill>
                <a:latin typeface="+mn-lt"/>
                <a:ea typeface="EnBW DIN Pro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5pPr>
            <a:lvl6pPr marL="342809"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6pPr>
            <a:lvl7pPr marL="685617"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7pPr>
            <a:lvl8pPr marL="1028426"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8pPr>
            <a:lvl9pPr marL="1371234"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9pPr>
          </a:lstStyle>
          <a:p>
            <a:r>
              <a:rPr lang="de-DE" sz="2200" kern="0" dirty="0">
                <a:cs typeface="EnBW DIN Pro Medium" panose="020B0604020101020102" pitchFamily="34" charset="0"/>
              </a:rPr>
              <a:t>Besondere Ereignisse</a:t>
            </a:r>
          </a:p>
          <a:p>
            <a:r>
              <a:rPr lang="de-DE" sz="1800" dirty="0">
                <a:solidFill>
                  <a:schemeClr val="tx2"/>
                </a:solidFill>
                <a:cs typeface="EnBW DIN Pro Medium" panose="020B0604020101020102" pitchFamily="34" charset="0"/>
              </a:rPr>
              <a:t>Schneechaos im Allgäu im Januar 2021</a:t>
            </a:r>
          </a:p>
        </p:txBody>
      </p:sp>
    </p:spTree>
    <p:extLst>
      <p:ext uri="{BB962C8B-B14F-4D97-AF65-F5344CB8AC3E}">
        <p14:creationId xmlns:p14="http://schemas.microsoft.com/office/powerpoint/2010/main" val="38669218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6BC09315-767C-46E0-B933-45FE6DAC480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2" name="think-cell Folie" r:id="rId4" imgW="347" imgH="348" progId="TCLayout.ActiveDocument.1">
                  <p:embed/>
                </p:oleObj>
              </mc:Choice>
              <mc:Fallback>
                <p:oleObj name="think-cell Folie" r:id="rId4" imgW="347" imgH="34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6BC09315-767C-46E0-B933-45FE6DAC48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DC5DBFA5-E7F9-4F9E-9360-C2AA582A9B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11" y="502224"/>
            <a:ext cx="9445626" cy="615553"/>
          </a:xfrm>
        </p:spPr>
        <p:txBody>
          <a:bodyPr vert="horz"/>
          <a:lstStyle/>
          <a:p>
            <a:r>
              <a:rPr lang="de-DE" dirty="0"/>
              <a:t>Eindrücke aus den aktuellen Starkwetterereignissen</a:t>
            </a:r>
            <a:br>
              <a:rPr lang="de-DE" dirty="0"/>
            </a:br>
            <a:r>
              <a:rPr lang="de-DE" sz="1800" kern="1200" dirty="0">
                <a:solidFill>
                  <a:schemeClr val="tx2"/>
                </a:solidFill>
                <a:cs typeface="EnBW DIN Pro Medium" panose="020B0604020101020102" pitchFamily="34" charset="0"/>
              </a:rPr>
              <a:t>Juni 2021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C98FC8D-4728-4A0A-A5B8-B8A90AF7AD0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3D4A45-F672-4474-BA28-E624C64DA635}" type="slidenum">
              <a:rPr lang="de-DE" smtClean="0"/>
              <a:t>21</a:t>
            </a:fld>
            <a:endParaRPr lang="de-DE"/>
          </a:p>
        </p:txBody>
      </p:sp>
      <p:pic>
        <p:nvPicPr>
          <p:cNvPr id="10" name="Grafik 9" descr="Ein Bild, das drinnen enthält.&#10;&#10;Automatisch generierte Beschreibung">
            <a:extLst>
              <a:ext uri="{FF2B5EF4-FFF2-40B4-BE49-F238E27FC236}">
                <a16:creationId xmlns:a16="http://schemas.microsoft.com/office/drawing/2014/main" id="{927F78C2-A1BB-4196-8B61-4F23C0C4AB1D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85"/>
          <a:stretch/>
        </p:blipFill>
        <p:spPr>
          <a:xfrm rot="5400000">
            <a:off x="8091221" y="2761952"/>
            <a:ext cx="4639769" cy="263151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8" name="Grafik 17" descr="Ein Bild, das Gras, draußen, Himmel, Tag enthält.&#10;&#10;Automatisch generierte Beschreibung">
            <a:extLst>
              <a:ext uri="{FF2B5EF4-FFF2-40B4-BE49-F238E27FC236}">
                <a16:creationId xmlns:a16="http://schemas.microsoft.com/office/drawing/2014/main" id="{F2EEE524-818F-4F6E-8898-2C8835D3C532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96852" y="1757826"/>
            <a:ext cx="4462388" cy="464794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6" name="Grafik 25" descr="Ein Bild, das drinnen enthält.&#10;&#10;Automatisch generierte Beschreibung">
            <a:extLst>
              <a:ext uri="{FF2B5EF4-FFF2-40B4-BE49-F238E27FC236}">
                <a16:creationId xmlns:a16="http://schemas.microsoft.com/office/drawing/2014/main" id="{D13C81AD-B113-4DA0-AA16-99FF62D8AD3F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8311" y="1757826"/>
            <a:ext cx="3692434" cy="464794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715474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>
            <a:extLst>
              <a:ext uri="{FF2B5EF4-FFF2-40B4-BE49-F238E27FC236}">
                <a16:creationId xmlns:a16="http://schemas.microsoft.com/office/drawing/2014/main" id="{40D68F74-39EB-4E57-9DAC-3E1DCD73F82E}"/>
              </a:ext>
            </a:extLst>
          </p:cNvPr>
          <p:cNvSpPr txBox="1">
            <a:spLocks/>
          </p:cNvSpPr>
          <p:nvPr/>
        </p:nvSpPr>
        <p:spPr bwMode="auto">
          <a:xfrm>
            <a:off x="469781" y="502472"/>
            <a:ext cx="9443165" cy="646331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650" baseline="0">
                <a:solidFill>
                  <a:schemeClr val="accent6"/>
                </a:solidFill>
                <a:latin typeface="+mn-lt"/>
                <a:ea typeface="EnBW DIN Pro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5pPr>
            <a:lvl6pPr marL="342809"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6pPr>
            <a:lvl7pPr marL="685617"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7pPr>
            <a:lvl8pPr marL="1028426"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8pPr>
            <a:lvl9pPr marL="1371234"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9pPr>
          </a:lstStyle>
          <a:p>
            <a:r>
              <a:rPr lang="de-DE" sz="2400" kern="0" dirty="0">
                <a:latin typeface="EnBW DIN Pro" panose="020B0504020101020102" pitchFamily="34" charset="0"/>
                <a:cs typeface="EnBW DIN Pro" panose="020B0504020101020102" pitchFamily="34" charset="0"/>
              </a:rPr>
              <a:t>Blühende Umspannwerke</a:t>
            </a:r>
          </a:p>
          <a:p>
            <a:r>
              <a:rPr lang="de-DE" sz="1800" dirty="0">
                <a:solidFill>
                  <a:schemeClr val="tx2"/>
                </a:solidFill>
                <a:cs typeface="EnBW DIN Pro Medium" panose="020B0604020101020102" pitchFamily="34" charset="0"/>
              </a:rPr>
              <a:t>Vom Umspannwerk zum </a:t>
            </a:r>
            <a:r>
              <a:rPr lang="de-DE" sz="1800" dirty="0" err="1">
                <a:solidFill>
                  <a:schemeClr val="tx2"/>
                </a:solidFill>
                <a:cs typeface="EnBW DIN Pro Medium" panose="020B0604020101020102" pitchFamily="34" charset="0"/>
              </a:rPr>
              <a:t>Summspannwerk</a:t>
            </a:r>
            <a:r>
              <a:rPr lang="de-DE" sz="1800" dirty="0">
                <a:solidFill>
                  <a:schemeClr val="tx2"/>
                </a:solidFill>
                <a:cs typeface="EnBW DIN Pro Medium" panose="020B0604020101020102" pitchFamily="34" charset="0"/>
              </a:rPr>
              <a:t> – unser Beitrag für eine nachhaltige Artenvielfalt</a:t>
            </a:r>
          </a:p>
        </p:txBody>
      </p:sp>
      <p:pic>
        <p:nvPicPr>
          <p:cNvPr id="30764" name="Picture 44">
            <a:extLst>
              <a:ext uri="{FF2B5EF4-FFF2-40B4-BE49-F238E27FC236}">
                <a16:creationId xmlns:a16="http://schemas.microsoft.com/office/drawing/2014/main" id="{93FABDB5-8116-40E6-8D5E-E538ADB6932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/>
          <a:stretch/>
        </p:blipFill>
        <p:spPr bwMode="auto">
          <a:xfrm>
            <a:off x="444500" y="1604349"/>
            <a:ext cx="11269663" cy="47511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hteck 9">
            <a:extLst>
              <a:ext uri="{FF2B5EF4-FFF2-40B4-BE49-F238E27FC236}">
                <a16:creationId xmlns:a16="http://schemas.microsoft.com/office/drawing/2014/main" id="{81245150-F9DE-4020-BFD4-A54457FC29A5}"/>
              </a:ext>
            </a:extLst>
          </p:cNvPr>
          <p:cNvSpPr/>
          <p:nvPr/>
        </p:nvSpPr>
        <p:spPr bwMode="auto">
          <a:xfrm>
            <a:off x="6079331" y="1693350"/>
            <a:ext cx="5413762" cy="4573176"/>
          </a:xfrm>
          <a:prstGeom prst="rect">
            <a:avLst/>
          </a:prstGeom>
          <a:solidFill>
            <a:srgbClr val="FFFFFF">
              <a:alpha val="85098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8000" tIns="108000" rIns="108000" bIns="10800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Aft>
                <a:spcPct val="0"/>
              </a:spcAft>
            </a:pPr>
            <a:endParaRPr lang="de-DE" sz="1400"/>
          </a:p>
        </p:txBody>
      </p:sp>
      <p:pic>
        <p:nvPicPr>
          <p:cNvPr id="12" name="Picture 66">
            <a:extLst>
              <a:ext uri="{FF2B5EF4-FFF2-40B4-BE49-F238E27FC236}">
                <a16:creationId xmlns:a16="http://schemas.microsoft.com/office/drawing/2014/main" id="{AB72A791-3A39-46F0-AF22-F4A83DDA21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78262" y="3167230"/>
            <a:ext cx="2410459" cy="1356041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952D358D-C7F2-4B55-9441-D981B95AAF9F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78263" y="4712722"/>
            <a:ext cx="2410459" cy="1317718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BB851896-751D-4661-BBAE-E158623667DE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39850" y="3167230"/>
            <a:ext cx="2410739" cy="1356041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5FC75B73-5382-4AAA-90D4-78EB50218A68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51441" y="4712723"/>
            <a:ext cx="2399148" cy="1317718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8B1A402E-7E79-4884-98F5-F5CB8FF0FB34}"/>
              </a:ext>
            </a:extLst>
          </p:cNvPr>
          <p:cNvSpPr txBox="1"/>
          <p:nvPr/>
        </p:nvSpPr>
        <p:spPr bwMode="gray">
          <a:xfrm>
            <a:off x="6278261" y="1874067"/>
            <a:ext cx="4972327" cy="19389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Bef>
                <a:spcPts val="0"/>
              </a:spcBef>
              <a:buClr>
                <a:schemeClr val="accent6"/>
              </a:buClr>
              <a:buSzPct val="100000"/>
              <a:buFont typeface="EnBW DIN Pro" panose="020B0504020101020102" pitchFamily="34" charset="0"/>
              <a:buChar char="›"/>
            </a:pPr>
            <a:r>
              <a:rPr lang="de-DE" sz="1200" dirty="0">
                <a:latin typeface="+mn-lt"/>
                <a:ea typeface="DIN-Regular" panose="020B0500010101010101" pitchFamily="34" charset="0"/>
              </a:rPr>
              <a:t>Umwandlung ungenutzter Flächen in bunte, artenreiche Blumenwiesen</a:t>
            </a:r>
          </a:p>
          <a:p>
            <a:pPr marL="285750" indent="-285750">
              <a:lnSpc>
                <a:spcPct val="150000"/>
              </a:lnSpc>
              <a:spcBef>
                <a:spcPts val="0"/>
              </a:spcBef>
              <a:buClr>
                <a:schemeClr val="accent6"/>
              </a:buClr>
              <a:buSzPct val="100000"/>
              <a:buFont typeface="EnBW DIN Pro" panose="020B0504020101020102" pitchFamily="34" charset="0"/>
              <a:buChar char="›"/>
            </a:pPr>
            <a:r>
              <a:rPr lang="de-DE" sz="1200" dirty="0">
                <a:ea typeface="DIN-Regular" panose="020B0500010101010101" pitchFamily="34" charset="0"/>
              </a:rPr>
              <a:t>Partnerschaft mit dem Netzwerk Blühende Landschaft</a:t>
            </a:r>
          </a:p>
          <a:p>
            <a:pPr marL="285750" indent="-285750">
              <a:lnSpc>
                <a:spcPct val="150000"/>
              </a:lnSpc>
              <a:spcBef>
                <a:spcPts val="0"/>
              </a:spcBef>
              <a:buClr>
                <a:schemeClr val="accent6"/>
              </a:buClr>
              <a:buSzPct val="100000"/>
              <a:buFont typeface="EnBW DIN Pro" panose="020B0504020101020102" pitchFamily="34" charset="0"/>
              <a:buChar char="›"/>
            </a:pPr>
            <a:r>
              <a:rPr lang="de-DE" sz="1200" dirty="0">
                <a:ea typeface="DIN-Regular" panose="020B0500010101010101" pitchFamily="34" charset="0"/>
              </a:rPr>
              <a:t>Aktuell gibt es 29 blühende Umspannwerke</a:t>
            </a:r>
          </a:p>
          <a:p>
            <a:pPr marL="285750" indent="-285750">
              <a:lnSpc>
                <a:spcPct val="150000"/>
              </a:lnSpc>
              <a:spcBef>
                <a:spcPts val="0"/>
              </a:spcBef>
              <a:buClr>
                <a:schemeClr val="accent6"/>
              </a:buClr>
              <a:buSzPct val="100000"/>
              <a:buFont typeface="EnBW DIN Pro" panose="020B0504020101020102" pitchFamily="34" charset="0"/>
              <a:buChar char="›"/>
            </a:pPr>
            <a:r>
              <a:rPr lang="de-DE" sz="1200" dirty="0">
                <a:ea typeface="DIN-Regular" panose="020B0500010101010101" pitchFamily="34" charset="0"/>
              </a:rPr>
              <a:t>Jährlich kommen 10 weitere Umspannwerke hinzu</a:t>
            </a:r>
          </a:p>
          <a:p>
            <a:pPr marL="285750" indent="-285750">
              <a:spcBef>
                <a:spcPts val="0"/>
              </a:spcBef>
              <a:buClr>
                <a:schemeClr val="accent6"/>
              </a:buClr>
              <a:buSzPct val="100000"/>
              <a:buFont typeface="EnBW DIN Pro" panose="020B0504020101020102" pitchFamily="34" charset="0"/>
              <a:buChar char="›"/>
            </a:pPr>
            <a:endParaRPr lang="de-DE" sz="1200" dirty="0">
              <a:solidFill>
                <a:schemeClr val="tx1">
                  <a:lumMod val="50000"/>
                </a:schemeClr>
              </a:solidFill>
              <a:latin typeface="+mn-lt"/>
              <a:ea typeface="DIN-Regular" panose="020B0500010101010101" pitchFamily="34" charset="0"/>
            </a:endParaRPr>
          </a:p>
          <a:p>
            <a:pPr marL="285750" indent="-285750">
              <a:spcBef>
                <a:spcPts val="0"/>
              </a:spcBef>
              <a:buClr>
                <a:schemeClr val="accent6"/>
              </a:buClr>
              <a:buSzPct val="100000"/>
              <a:buFont typeface="EnBW DIN Pro" panose="020B0504020101020102" pitchFamily="34" charset="0"/>
              <a:buChar char="›"/>
            </a:pPr>
            <a:endParaRPr lang="de-DE" sz="1200" dirty="0">
              <a:latin typeface="+mn-lt"/>
              <a:ea typeface="DIN-Regular" panose="020B0500010101010101" pitchFamily="34" charset="0"/>
            </a:endParaRPr>
          </a:p>
          <a:p>
            <a:pPr marL="285750" indent="-285750">
              <a:spcBef>
                <a:spcPts val="0"/>
              </a:spcBef>
              <a:buClr>
                <a:schemeClr val="accent6"/>
              </a:buClr>
              <a:buSzPct val="100000"/>
              <a:buFont typeface="EnBW DIN Pro" panose="020B0504020101020102" pitchFamily="34" charset="0"/>
              <a:buChar char="›"/>
            </a:pPr>
            <a:endParaRPr lang="de-DE" sz="1200" dirty="0">
              <a:latin typeface="+mn-lt"/>
              <a:ea typeface="DIN-Regular" panose="020B0500010101010101" pitchFamily="34" charset="0"/>
            </a:endParaRPr>
          </a:p>
          <a:p>
            <a:pPr marL="285750" indent="-285750">
              <a:spcBef>
                <a:spcPts val="0"/>
              </a:spcBef>
              <a:buClr>
                <a:schemeClr val="accent6"/>
              </a:buClr>
              <a:buSzPct val="100000"/>
              <a:buFont typeface="EnBW DIN Pro" panose="020B0504020101020102" pitchFamily="34" charset="0"/>
              <a:buChar char="›"/>
            </a:pPr>
            <a:endParaRPr lang="de-DE" sz="1200" dirty="0" err="1">
              <a:latin typeface="+mn-lt"/>
              <a:ea typeface="DIN-Regular" panose="020B0500010101010101" pitchFamily="34" charset="0"/>
            </a:endParaRP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962D91FD-1513-4EA2-8F47-013B75F6958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3D4A45-F672-4474-BA28-E624C64DA635}" type="slidenum">
              <a:rPr lang="de-DE" smtClean="0"/>
              <a:t>22</a:t>
            </a:fld>
            <a:endParaRPr lang="de-DE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E83C883F-08F5-4E5F-BA39-967D7EE90D6D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5764" y="2078478"/>
            <a:ext cx="5232303" cy="3802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8988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>
            <a:extLst>
              <a:ext uri="{FF2B5EF4-FFF2-40B4-BE49-F238E27FC236}">
                <a16:creationId xmlns:a16="http://schemas.microsoft.com/office/drawing/2014/main" id="{636A7CC9-6589-4654-A50C-F69C100E104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71248" y="2049735"/>
            <a:ext cx="5773743" cy="3871445"/>
          </a:xfrm>
          <a:prstGeom prst="rect">
            <a:avLst/>
          </a:prstGeom>
          <a:gradFill>
            <a:gsLst>
              <a:gs pos="0">
                <a:schemeClr val="accent6"/>
              </a:gs>
              <a:gs pos="100000">
                <a:srgbClr val="EE7700"/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7CC4E1F-BFA2-498C-89A0-24ADA76B03A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914126"/>
            <a:fld id="{0C3D4A45-F672-4474-BA28-E624C64DA635}" type="slidenum">
              <a:rPr lang="de-DE">
                <a:solidFill>
                  <a:srgbClr val="3B3B3B"/>
                </a:solidFill>
              </a:rPr>
              <a:pPr defTabSz="914126"/>
              <a:t>23</a:t>
            </a:fld>
            <a:endParaRPr lang="de-DE">
              <a:solidFill>
                <a:srgbClr val="3B3B3B"/>
              </a:solidFill>
            </a:endParaRPr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329DD7DC-D4B0-4F39-8286-F70EA9A2A195}"/>
              </a:ext>
            </a:extLst>
          </p:cNvPr>
          <p:cNvSpPr txBox="1">
            <a:spLocks/>
          </p:cNvSpPr>
          <p:nvPr/>
        </p:nvSpPr>
        <p:spPr bwMode="auto">
          <a:xfrm>
            <a:off x="471247" y="541763"/>
            <a:ext cx="9440706" cy="615393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650" baseline="0">
                <a:solidFill>
                  <a:schemeClr val="accent6"/>
                </a:solidFill>
                <a:latin typeface="+mn-lt"/>
                <a:ea typeface="EnBW DIN Pro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5pPr>
            <a:lvl6pPr marL="342809"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6pPr>
            <a:lvl7pPr marL="685617"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7pPr>
            <a:lvl8pPr marL="1028426"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8pPr>
            <a:lvl9pPr marL="1371234"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9pPr>
          </a:lstStyle>
          <a:p>
            <a:pPr defTabSz="91412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2199" kern="0" dirty="0">
                <a:solidFill>
                  <a:srgbClr val="FF9900"/>
                </a:solidFill>
                <a:latin typeface="EnBW DIN Pro"/>
              </a:rPr>
              <a:t>Mobile Brandübungsanlagen für Feuerwehren in Baden-Württemberg</a:t>
            </a:r>
            <a:br>
              <a:rPr lang="de-DE" sz="2199" kern="0" dirty="0">
                <a:solidFill>
                  <a:srgbClr val="FF9900"/>
                </a:solidFill>
                <a:latin typeface="EnBW DIN Pro"/>
              </a:rPr>
            </a:br>
            <a:r>
              <a:rPr lang="de-DE" sz="1799" kern="0" dirty="0">
                <a:solidFill>
                  <a:schemeClr val="tx2"/>
                </a:solidFill>
                <a:latin typeface="EnBW DIN Pro"/>
                <a:ea typeface="+mn-ea"/>
                <a:cs typeface="EnBW DIN Pro Medium" panose="020B0604020101020102" pitchFamily="34" charset="0"/>
              </a:rPr>
              <a:t>Üben für den Ernstfall</a:t>
            </a:r>
          </a:p>
        </p:txBody>
      </p:sp>
      <p:pic>
        <p:nvPicPr>
          <p:cNvPr id="11" name="Grafik 10" descr="Ein Bild, das Kochen, Natur, Waffe enthält.&#10;&#10;Automatisch generierte Beschreibung">
            <a:extLst>
              <a:ext uri="{FF2B5EF4-FFF2-40B4-BE49-F238E27FC236}">
                <a16:creationId xmlns:a16="http://schemas.microsoft.com/office/drawing/2014/main" id="{1446A111-7CA6-4F2C-B16E-7162EFAA7A5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6021643" y="3683316"/>
            <a:ext cx="2554652" cy="191599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2" name="Ellipse 11">
            <a:extLst>
              <a:ext uri="{FF2B5EF4-FFF2-40B4-BE49-F238E27FC236}">
                <a16:creationId xmlns:a16="http://schemas.microsoft.com/office/drawing/2014/main" id="{24A650B5-8890-4FD8-B3B5-A911E65B26D1}"/>
              </a:ext>
            </a:extLst>
          </p:cNvPr>
          <p:cNvSpPr/>
          <p:nvPr/>
        </p:nvSpPr>
        <p:spPr bwMode="auto">
          <a:xfrm>
            <a:off x="271955" y="1777952"/>
            <a:ext cx="1343771" cy="1343771"/>
          </a:xfrm>
          <a:prstGeom prst="ellipse">
            <a:avLst/>
          </a:prstGeom>
          <a:gradFill>
            <a:gsLst>
              <a:gs pos="0">
                <a:schemeClr val="accent6"/>
              </a:gs>
              <a:gs pos="100000">
                <a:srgbClr val="EE7700"/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79906" tIns="0" rIns="89954" bIns="0" numCol="1" rtlCol="0" anchor="ctr" anchorCtr="0" compatLnSpc="1">
            <a:prstTxWarp prst="textNoShape">
              <a:avLst/>
            </a:prstTxWarp>
          </a:bodyPr>
          <a:lstStyle/>
          <a:p>
            <a:pPr defTabSz="914126"/>
            <a:endParaRPr lang="de-DE" sz="1400">
              <a:solidFill>
                <a:srgbClr val="FFFFFF"/>
              </a:solidFill>
              <a:latin typeface="EnBW DIN Pro" charset="0"/>
              <a:cs typeface="EnBW DIN Pro" charset="0"/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DCC71621-4C68-4A8C-8A72-616869C51E56}"/>
              </a:ext>
            </a:extLst>
          </p:cNvPr>
          <p:cNvSpPr/>
          <p:nvPr/>
        </p:nvSpPr>
        <p:spPr>
          <a:xfrm>
            <a:off x="271955" y="2260263"/>
            <a:ext cx="1343771" cy="7384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126">
              <a:buClr>
                <a:srgbClr val="FF9900"/>
              </a:buClr>
              <a:buSzPct val="100000"/>
            </a:pPr>
            <a:r>
              <a:rPr lang="de-DE" sz="1400" b="1" dirty="0">
                <a:solidFill>
                  <a:srgbClr val="FFFFFF"/>
                </a:solidFill>
                <a:latin typeface="EnBW DIN Pro"/>
                <a:ea typeface="DIN-Regular" panose="020B0500010101010101" pitchFamily="34" charset="0"/>
              </a:rPr>
              <a:t>Brandübungs-anlagen für ganz BW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18341E5F-943A-4F6F-9776-CB931B4993BE}"/>
              </a:ext>
            </a:extLst>
          </p:cNvPr>
          <p:cNvSpPr txBox="1"/>
          <p:nvPr/>
        </p:nvSpPr>
        <p:spPr bwMode="gray">
          <a:xfrm>
            <a:off x="682650" y="1864536"/>
            <a:ext cx="522378" cy="43077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 defTabSz="914126">
              <a:buClr>
                <a:srgbClr val="FF9900"/>
              </a:buClr>
              <a:buSzPct val="140000"/>
            </a:pPr>
            <a:r>
              <a:rPr lang="de-DE" sz="2799" b="1" dirty="0">
                <a:solidFill>
                  <a:srgbClr val="FFFFFF"/>
                </a:solidFill>
                <a:latin typeface="EnBW DIN Pro"/>
                <a:ea typeface="DIN-Regular" panose="020B0500010101010101" pitchFamily="34" charset="0"/>
              </a:rPr>
              <a:t>5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BF33B981-C39D-479B-B74C-F6614E0D6C02}"/>
              </a:ext>
            </a:extLst>
          </p:cNvPr>
          <p:cNvSpPr/>
          <p:nvPr/>
        </p:nvSpPr>
        <p:spPr bwMode="auto">
          <a:xfrm>
            <a:off x="8474469" y="2035251"/>
            <a:ext cx="3446110" cy="3883387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7972" tIns="107972" rIns="107972" bIns="107972" numCol="1" rtlCol="0" anchor="ctr" anchorCtr="0" compatLnSpc="1">
            <a:prstTxWarp prst="textNoShape">
              <a:avLst/>
            </a:prstTxWarp>
          </a:bodyPr>
          <a:lstStyle/>
          <a:p>
            <a:pPr algn="ctr" defTabSz="914126" eaLnBrk="0" fontAlgn="base" hangingPunct="0">
              <a:spcAft>
                <a:spcPct val="0"/>
              </a:spcAft>
            </a:pPr>
            <a:endParaRPr lang="de-DE" sz="1400">
              <a:solidFill>
                <a:srgbClr val="3B3B3B"/>
              </a:solidFill>
              <a:latin typeface="EnBW DIN Pro"/>
            </a:endParaRP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47C5722D-5EFF-4A58-8010-E79DC60FBC21}"/>
              </a:ext>
            </a:extLst>
          </p:cNvPr>
          <p:cNvSpPr txBox="1"/>
          <p:nvPr/>
        </p:nvSpPr>
        <p:spPr bwMode="gray">
          <a:xfrm>
            <a:off x="8603871" y="2504682"/>
            <a:ext cx="3251361" cy="295465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171399" indent="-171399" defTabSz="914126"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</a:pPr>
            <a:r>
              <a:rPr lang="de-DE" sz="1200" dirty="0">
                <a:solidFill>
                  <a:srgbClr val="3B3B3B"/>
                </a:solidFill>
                <a:latin typeface="EnBW DIN Pro"/>
                <a:ea typeface="DIN-Regular" panose="020B0500010101010101" pitchFamily="34" charset="0"/>
              </a:rPr>
              <a:t>Kostenloses Nutzung der Brandübungsanlage für die freiwillige Feuerwehr in Ihrer Kommune</a:t>
            </a:r>
          </a:p>
          <a:p>
            <a:pPr defTabSz="914126">
              <a:buClr>
                <a:srgbClr val="FF9900"/>
              </a:buClr>
              <a:buSzPct val="100000"/>
            </a:pPr>
            <a:endParaRPr lang="de-DE" sz="1200" dirty="0">
              <a:solidFill>
                <a:srgbClr val="3B3B3B"/>
              </a:solidFill>
              <a:latin typeface="EnBW DIN Pro"/>
              <a:ea typeface="DIN-Regular" panose="020B0500010101010101" pitchFamily="34" charset="0"/>
            </a:endParaRPr>
          </a:p>
          <a:p>
            <a:pPr marL="171399" indent="-171399" defTabSz="914126"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</a:pPr>
            <a:r>
              <a:rPr lang="de-DE" sz="1200" dirty="0">
                <a:solidFill>
                  <a:srgbClr val="3B3B3B"/>
                </a:solidFill>
                <a:latin typeface="EnBW DIN Pro"/>
                <a:ea typeface="DIN-Regular" panose="020B0500010101010101" pitchFamily="34" charset="0"/>
              </a:rPr>
              <a:t>Brandübungsanalagen dienen dazu das theoretische Wissen mit praxisnahen Übungen zu erweitern</a:t>
            </a:r>
          </a:p>
          <a:p>
            <a:pPr marL="171399" indent="-171399" defTabSz="914126"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</a:pPr>
            <a:endParaRPr lang="de-DE" sz="1200" dirty="0">
              <a:solidFill>
                <a:srgbClr val="3B3B3B"/>
              </a:solidFill>
              <a:latin typeface="EnBW DIN Pro"/>
              <a:ea typeface="DIN-Regular" panose="020B0500010101010101" pitchFamily="34" charset="0"/>
            </a:endParaRPr>
          </a:p>
          <a:p>
            <a:pPr marL="171399" indent="-171399" defTabSz="914126"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</a:pPr>
            <a:r>
              <a:rPr lang="de-DE" sz="1200" dirty="0">
                <a:solidFill>
                  <a:srgbClr val="3B3B3B"/>
                </a:solidFill>
                <a:latin typeface="EnBW DIN Pro"/>
                <a:ea typeface="DIN-Regular" panose="020B0500010101010101" pitchFamily="34" charset="0"/>
              </a:rPr>
              <a:t>Zertifizierte Schulungen: Durchführung der Extremsituation in der Brandübungsanlage</a:t>
            </a:r>
          </a:p>
          <a:p>
            <a:pPr marL="171399" indent="-171399" defTabSz="914126"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</a:pPr>
            <a:endParaRPr lang="de-DE" sz="1200" dirty="0">
              <a:solidFill>
                <a:srgbClr val="3B3B3B"/>
              </a:solidFill>
              <a:latin typeface="EnBW DIN Pro"/>
              <a:ea typeface="DIN-Regular" panose="020B0500010101010101" pitchFamily="34" charset="0"/>
            </a:endParaRPr>
          </a:p>
          <a:p>
            <a:pPr marL="171399" indent="-171399" defTabSz="914126"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</a:pPr>
            <a:r>
              <a:rPr lang="de-DE" sz="1200" dirty="0">
                <a:solidFill>
                  <a:srgbClr val="3B3B3B"/>
                </a:solidFill>
                <a:latin typeface="EnBW DIN Pro"/>
                <a:ea typeface="DIN-Regular" panose="020B0500010101010101" pitchFamily="34" charset="0"/>
              </a:rPr>
              <a:t>Seit 2007 mehr als 80.000 geschulte Feuerwehrleute in den Regionen</a:t>
            </a:r>
          </a:p>
          <a:p>
            <a:pPr defTabSz="914126">
              <a:buClr>
                <a:srgbClr val="FF9900"/>
              </a:buClr>
              <a:buSzPct val="100000"/>
            </a:pPr>
            <a:endParaRPr lang="de-DE" sz="1200" dirty="0">
              <a:solidFill>
                <a:srgbClr val="3B3B3B"/>
              </a:solidFill>
              <a:latin typeface="EnBW DIN Pro"/>
              <a:ea typeface="DIN-Regular" panose="020B0500010101010101" pitchFamily="34" charset="0"/>
            </a:endParaRPr>
          </a:p>
          <a:p>
            <a:pPr marL="171399" indent="-171399" defTabSz="914126"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</a:pPr>
            <a:r>
              <a:rPr lang="de-DE" sz="1200" dirty="0">
                <a:solidFill>
                  <a:srgbClr val="3B3B3B"/>
                </a:solidFill>
                <a:latin typeface="EnBW DIN Pro"/>
                <a:ea typeface="DIN-Regular" panose="020B0500010101010101" pitchFamily="34" charset="0"/>
              </a:rPr>
              <a:t>2021 wurden alle Brandübungsanlagen durch neue Anlagen mit moderner Technik ersetzt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AE6024AF-7561-4E0B-B69A-E4CAC9A3BB11}"/>
              </a:ext>
            </a:extLst>
          </p:cNvPr>
          <p:cNvSpPr txBox="1"/>
          <p:nvPr/>
        </p:nvSpPr>
        <p:spPr bwMode="gray">
          <a:xfrm>
            <a:off x="8743571" y="1927556"/>
            <a:ext cx="2907907" cy="2153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126">
              <a:buClr>
                <a:srgbClr val="FF9900"/>
              </a:buClr>
              <a:buSzPct val="140000"/>
            </a:pPr>
            <a:r>
              <a:rPr lang="de-DE" sz="1400" b="1" dirty="0">
                <a:solidFill>
                  <a:srgbClr val="061671"/>
                </a:solidFill>
                <a:latin typeface="EnBW DIN Pro"/>
                <a:ea typeface="DIN-Regular" panose="020B0500010101010101" pitchFamily="34" charset="0"/>
              </a:rPr>
              <a:t>Das bieten wir Ihrer Feuerwehr an:</a:t>
            </a:r>
          </a:p>
        </p:txBody>
      </p:sp>
      <p:pic>
        <p:nvPicPr>
          <p:cNvPr id="25" name="Grafik 24" descr="Ein Bild, das draußen, Licht, gelb, Verkehr enthält.&#10;&#10;Automatisch generierte Beschreibung">
            <a:extLst>
              <a:ext uri="{FF2B5EF4-FFF2-40B4-BE49-F238E27FC236}">
                <a16:creationId xmlns:a16="http://schemas.microsoft.com/office/drawing/2014/main" id="{7145F1C8-CD82-4B5C-92AD-5A933697DD0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4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40973" y="2035252"/>
            <a:ext cx="1915990" cy="124957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469557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platzhalter 6">
            <a:extLst>
              <a:ext uri="{FF2B5EF4-FFF2-40B4-BE49-F238E27FC236}">
                <a16:creationId xmlns:a16="http://schemas.microsoft.com/office/drawing/2014/main" id="{A184CC69-3F11-4386-A9B9-34BF0BD3D9AA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114300" y="0"/>
            <a:ext cx="12309475" cy="6855888"/>
          </a:xfrm>
        </p:spPr>
      </p:pic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nke für die Partnerschaft</a:t>
            </a:r>
          </a:p>
        </p:txBody>
      </p:sp>
      <p:sp>
        <p:nvSpPr>
          <p:cNvPr id="8" name="Rectangle 3">
            <a:extLst>
              <a:ext uri="{FF2B5EF4-FFF2-40B4-BE49-F238E27FC236}">
                <a16:creationId xmlns:a16="http://schemas.microsoft.com/office/drawing/2014/main" id="{A0C03D4A-95D3-4233-B837-3214740CD79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1924" y="156063"/>
            <a:ext cx="4101318" cy="1542108"/>
          </a:xfrm>
          <a:prstGeom prst="rect">
            <a:avLst/>
          </a:prstGeom>
          <a:gradFill>
            <a:gsLst>
              <a:gs pos="0">
                <a:srgbClr val="374A9A"/>
              </a:gs>
              <a:gs pos="100000">
                <a:srgbClr val="061671"/>
              </a:gs>
            </a:gsLst>
            <a:lin ang="2700000" scaled="1"/>
          </a:gradFill>
          <a:ln>
            <a:noFill/>
          </a:ln>
          <a:effectLst/>
        </p:spPr>
        <p:txBody>
          <a:bodyPr vert="horz" wrap="square" lIns="216000" tIns="288000" rIns="288000" bIns="288000" numCol="1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 lang="de-DE" sz="2300" b="0" i="0" u="none" strike="noStrike" baseline="0" smtClean="0">
                <a:solidFill>
                  <a:schemeClr val="accent6"/>
                </a:solidFill>
                <a:latin typeface="+mn-lt"/>
                <a:ea typeface="EnBW DIN Pro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99"/>
                </a:solidFill>
                <a:latin typeface="DIN-Medium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99"/>
                </a:solidFill>
                <a:latin typeface="DIN-Medium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99"/>
                </a:solidFill>
                <a:latin typeface="DIN-Medium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99"/>
                </a:solidFill>
                <a:latin typeface="DIN-Medium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99"/>
                </a:solidFill>
                <a:latin typeface="DIN-Medium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99"/>
                </a:solidFill>
                <a:latin typeface="DIN-Medium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99"/>
                </a:solidFill>
                <a:latin typeface="DIN-Medium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99"/>
                </a:solidFill>
                <a:latin typeface="DIN-Medium" pitchFamily="34" charset="0"/>
              </a:defRPr>
            </a:lvl9pPr>
          </a:lstStyle>
          <a:p>
            <a:r>
              <a:rPr lang="de-DE" sz="3600" dirty="0"/>
              <a:t>Danke für die Partnerschaft!</a:t>
            </a:r>
            <a:endParaRPr lang="de-DE" sz="3600" kern="0" dirty="0">
              <a:latin typeface="EnBW DIN Pro" charset="0"/>
              <a:ea typeface="EnBW DIN Pro" charset="0"/>
              <a:cs typeface="EnBW DIN Pro" charset="0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2BA38C65-AC68-48BE-ACC7-5140A2785AF8}"/>
              </a:ext>
            </a:extLst>
          </p:cNvPr>
          <p:cNvSpPr/>
          <p:nvPr/>
        </p:nvSpPr>
        <p:spPr bwMode="gray">
          <a:xfrm>
            <a:off x="161923" y="1738800"/>
            <a:ext cx="2634544" cy="754096"/>
          </a:xfrm>
          <a:prstGeom prst="rect">
            <a:avLst/>
          </a:prstGeom>
          <a:gradFill>
            <a:gsLst>
              <a:gs pos="0">
                <a:schemeClr val="accent6"/>
              </a:gs>
              <a:gs pos="100000">
                <a:srgbClr val="EE7700"/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0" tIns="0" rIns="90000" bIns="0" numCol="1" rtlCol="0" anchor="ctr" anchorCtr="0" compatLnSpc="1">
            <a:prstTxWarp prst="textNoShape">
              <a:avLst/>
            </a:prstTxWarp>
          </a:bodyPr>
          <a:lstStyle/>
          <a:p>
            <a:pPr lvl="0" fontAlgn="base">
              <a:buClr>
                <a:srgbClr val="FF9900"/>
              </a:buClr>
              <a:buSzPct val="100000"/>
            </a:pPr>
            <a:r>
              <a:rPr lang="de-DE" sz="1100" kern="0" dirty="0">
                <a:solidFill>
                  <a:srgbClr val="FFFFFF"/>
                </a:solidFill>
                <a:latin typeface="EnBW DIN Pro" panose="020B0504020101020102" pitchFamily="34" charset="0"/>
                <a:cs typeface="EnBW DIN Pro" panose="020B0504020101020102" pitchFamily="34" charset="0"/>
                <a:sym typeface="EnBW DIN Pro"/>
              </a:rPr>
              <a:t>Netze BW GmbH</a:t>
            </a:r>
          </a:p>
          <a:p>
            <a:pPr fontAlgn="base">
              <a:buClr>
                <a:srgbClr val="FF9900"/>
              </a:buClr>
              <a:buSzPct val="100000"/>
            </a:pPr>
            <a:r>
              <a:rPr lang="de-DE" sz="1100" kern="0" dirty="0">
                <a:solidFill>
                  <a:srgbClr val="FFFFFF"/>
                </a:solidFill>
                <a:latin typeface="EnBW DIN Pro" panose="020B0504020101020102" pitchFamily="34" charset="0"/>
                <a:cs typeface="EnBW DIN Pro" panose="020B0504020101020102" pitchFamily="34" charset="0"/>
                <a:sym typeface="EnBW DIN Pro"/>
              </a:rPr>
              <a:t>Martin Wirbel</a:t>
            </a:r>
            <a:br>
              <a:rPr lang="de-DE" sz="1100" kern="0" dirty="0">
                <a:solidFill>
                  <a:srgbClr val="FFFFFF"/>
                </a:solidFill>
                <a:latin typeface="EnBW DIN Pro" panose="020B0504020101020102" pitchFamily="34" charset="0"/>
                <a:cs typeface="EnBW DIN Pro" panose="020B0504020101020102" pitchFamily="34" charset="0"/>
                <a:sym typeface="EnBW DIN Pro"/>
              </a:rPr>
            </a:br>
            <a:r>
              <a:rPr lang="de-DE" sz="1100" kern="0" dirty="0">
                <a:solidFill>
                  <a:srgbClr val="FFFFFF"/>
                </a:solidFill>
                <a:latin typeface="EnBW DIN Pro" panose="020B0504020101020102" pitchFamily="34" charset="0"/>
                <a:cs typeface="EnBW DIN Pro" panose="020B0504020101020102" pitchFamily="34" charset="0"/>
                <a:sym typeface="EnBW DIN Pro"/>
              </a:rPr>
              <a:t>Konzessionsmanagement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F196F814-87B3-47F9-A1AB-BA012BF21F7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1924" y="5409473"/>
            <a:ext cx="11760203" cy="1292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3022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Object 38" hidden="1">
            <a:extLst>
              <a:ext uri="{FF2B5EF4-FFF2-40B4-BE49-F238E27FC236}">
                <a16:creationId xmlns:a16="http://schemas.microsoft.com/office/drawing/2014/main" id="{A3CCD3AB-A21D-4C0D-B867-E1DB29305A6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6" y="248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6" name="think-cell Folie" r:id="rId15" imgW="216" imgH="216" progId="TCLayout.ActiveDocument.1">
                  <p:embed/>
                </p:oleObj>
              </mc:Choice>
              <mc:Fallback>
                <p:oleObj name="think-cell Folie" r:id="rId15" imgW="216" imgH="216" progId="TCLayout.ActiveDocument.1">
                  <p:embed/>
                  <p:pic>
                    <p:nvPicPr>
                      <p:cNvPr id="39" name="Object 38" hidden="1">
                        <a:extLst>
                          <a:ext uri="{FF2B5EF4-FFF2-40B4-BE49-F238E27FC236}">
                            <a16:creationId xmlns:a16="http://schemas.microsoft.com/office/drawing/2014/main" id="{A3CCD3AB-A21D-4C0D-B867-E1DB29305A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3176" y="248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extBox 79">
            <a:extLst>
              <a:ext uri="{FF2B5EF4-FFF2-40B4-BE49-F238E27FC236}">
                <a16:creationId xmlns:a16="http://schemas.microsoft.com/office/drawing/2014/main" id="{2D2288F0-8B53-4D4F-B9D7-5437E1E5DA58}"/>
              </a:ext>
            </a:extLst>
          </p:cNvPr>
          <p:cNvSpPr txBox="1"/>
          <p:nvPr/>
        </p:nvSpPr>
        <p:spPr bwMode="gray">
          <a:xfrm>
            <a:off x="3291312" y="1652084"/>
            <a:ext cx="2985044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126">
              <a:buClr>
                <a:srgbClr val="FF9900"/>
              </a:buClr>
              <a:buSzPct val="140000"/>
              <a:defRPr/>
            </a:pPr>
            <a:r>
              <a:rPr lang="de-DE" dirty="0">
                <a:solidFill>
                  <a:srgbClr val="686868"/>
                </a:solidFill>
                <a:latin typeface="EnBW DIN Pro"/>
                <a:ea typeface="DIN-Regular" panose="020B0500010101010101" pitchFamily="34" charset="0"/>
              </a:rPr>
              <a:t>GESTERN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F0519B3E-000E-4D2E-8E14-CBC8075CDF60}"/>
              </a:ext>
            </a:extLst>
          </p:cNvPr>
          <p:cNvSpPr txBox="1"/>
          <p:nvPr/>
        </p:nvSpPr>
        <p:spPr bwMode="gray">
          <a:xfrm>
            <a:off x="6611525" y="1665584"/>
            <a:ext cx="3071287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r" defTabSz="914126">
              <a:buClr>
                <a:srgbClr val="FF9900"/>
              </a:buClr>
              <a:buSzPct val="140000"/>
              <a:defRPr/>
            </a:pPr>
            <a:r>
              <a:rPr lang="de-DE" dirty="0">
                <a:solidFill>
                  <a:srgbClr val="FF9900"/>
                </a:solidFill>
                <a:latin typeface="EnBW DIN Pro"/>
                <a:ea typeface="DIN-Regular" panose="020B0500010101010101" pitchFamily="34" charset="0"/>
              </a:rPr>
              <a:t>MORGEN - 2050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45469C86-6D28-45D1-A8A0-62C5819C81DC}"/>
              </a:ext>
            </a:extLst>
          </p:cNvPr>
          <p:cNvSpPr/>
          <p:nvPr/>
        </p:nvSpPr>
        <p:spPr bwMode="gray">
          <a:xfrm>
            <a:off x="2172866" y="4563404"/>
            <a:ext cx="9631296" cy="1667168"/>
          </a:xfrm>
          <a:prstGeom prst="rect">
            <a:avLst/>
          </a:prstGeom>
          <a:gradFill flip="none" rotWithShape="1">
            <a:gsLst>
              <a:gs pos="45000">
                <a:schemeClr val="bg1">
                  <a:lumMod val="95000"/>
                </a:schemeClr>
              </a:gs>
              <a:gs pos="0">
                <a:schemeClr val="tx1">
                  <a:lumMod val="60000"/>
                  <a:lumOff val="40000"/>
                </a:schemeClr>
              </a:gs>
              <a:gs pos="100000">
                <a:schemeClr val="accent6">
                  <a:lumMod val="60000"/>
                  <a:lumOff val="40000"/>
                </a:schemeClr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7972" tIns="107972" rIns="107972" bIns="107972" numCol="1" rtlCol="0" anchor="ctr" anchorCtr="0" compatLnSpc="1">
            <a:prstTxWarp prst="textNoShape">
              <a:avLst/>
            </a:prstTxWarp>
          </a:bodyPr>
          <a:lstStyle/>
          <a:p>
            <a:pPr algn="ctr" defTabSz="914126" eaLnBrk="0" fontAlgn="base" hangingPunct="0">
              <a:spcAft>
                <a:spcPct val="0"/>
              </a:spcAft>
              <a:defRPr/>
            </a:pPr>
            <a:endParaRPr lang="de-DE" sz="1600" dirty="0">
              <a:solidFill>
                <a:srgbClr val="3B3B3B"/>
              </a:solidFill>
              <a:latin typeface="EnBW DIN Pro"/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C1B19F35-96C6-4E8E-893C-E053C1B74272}"/>
              </a:ext>
            </a:extLst>
          </p:cNvPr>
          <p:cNvSpPr/>
          <p:nvPr/>
        </p:nvSpPr>
        <p:spPr bwMode="gray">
          <a:xfrm>
            <a:off x="2176721" y="2054492"/>
            <a:ext cx="9631297" cy="2468029"/>
          </a:xfrm>
          <a:prstGeom prst="rect">
            <a:avLst/>
          </a:prstGeom>
          <a:gradFill flip="none" rotWithShape="1">
            <a:gsLst>
              <a:gs pos="45000">
                <a:schemeClr val="bg1">
                  <a:lumMod val="95000"/>
                </a:schemeClr>
              </a:gs>
              <a:gs pos="0">
                <a:schemeClr val="tx1">
                  <a:lumMod val="60000"/>
                  <a:lumOff val="40000"/>
                </a:schemeClr>
              </a:gs>
              <a:gs pos="100000">
                <a:schemeClr val="accent6">
                  <a:lumMod val="60000"/>
                  <a:lumOff val="40000"/>
                </a:schemeClr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7972" tIns="107972" rIns="107972" bIns="107972" numCol="1" rtlCol="0" anchor="ctr" anchorCtr="0" compatLnSpc="1">
            <a:prstTxWarp prst="textNoShape">
              <a:avLst/>
            </a:prstTxWarp>
          </a:bodyPr>
          <a:lstStyle/>
          <a:p>
            <a:pPr algn="ctr" defTabSz="914126" eaLnBrk="0" fontAlgn="base" hangingPunct="0">
              <a:spcAft>
                <a:spcPct val="0"/>
              </a:spcAft>
              <a:defRPr/>
            </a:pPr>
            <a:endParaRPr lang="de-DE" sz="1600" dirty="0">
              <a:solidFill>
                <a:srgbClr val="3B3B3B"/>
              </a:solidFill>
              <a:latin typeface="EnBW DIN Pro"/>
            </a:endParaRPr>
          </a:p>
        </p:txBody>
      </p:sp>
      <p:cxnSp>
        <p:nvCxnSpPr>
          <p:cNvPr id="118" name="Straight Connector 117">
            <a:extLst>
              <a:ext uri="{FF2B5EF4-FFF2-40B4-BE49-F238E27FC236}">
                <a16:creationId xmlns:a16="http://schemas.microsoft.com/office/drawing/2014/main" id="{BC85D34F-E195-45F9-8B47-24F5F15831A9}"/>
              </a:ext>
            </a:extLst>
          </p:cNvPr>
          <p:cNvCxnSpPr>
            <a:cxnSpLocks/>
          </p:cNvCxnSpPr>
          <p:nvPr/>
        </p:nvCxnSpPr>
        <p:spPr bwMode="gray">
          <a:xfrm flipH="1">
            <a:off x="1883322" y="2834424"/>
            <a:ext cx="9920841" cy="0"/>
          </a:xfrm>
          <a:prstGeom prst="line">
            <a:avLst/>
          </a:prstGeom>
          <a:solidFill>
            <a:srgbClr val="F0F0F0"/>
          </a:solidFill>
          <a:ln w="38100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5" name="TextBox 64">
            <a:extLst>
              <a:ext uri="{FF2B5EF4-FFF2-40B4-BE49-F238E27FC236}">
                <a16:creationId xmlns:a16="http://schemas.microsoft.com/office/drawing/2014/main" id="{37D8802D-141B-4319-B25F-6D6AF919D991}"/>
              </a:ext>
            </a:extLst>
          </p:cNvPr>
          <p:cNvSpPr txBox="1"/>
          <p:nvPr/>
        </p:nvSpPr>
        <p:spPr bwMode="gray">
          <a:xfrm>
            <a:off x="3864223" y="2206804"/>
            <a:ext cx="2181856" cy="4466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71981" rIns="0" bIns="35991" numCol="1" rtlCol="0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ctr" eaLnBrk="0" fontAlgn="base" hangingPunct="0">
              <a:spcBef>
                <a:spcPts val="400"/>
              </a:spcBef>
              <a:spcAft>
                <a:spcPct val="0"/>
              </a:spcAft>
              <a:defRPr kumimoji="0" sz="1600" b="1" i="0" u="none" strike="noStrike" cap="none" normalizeH="0" baseline="30000">
                <a:ln>
                  <a:noFill/>
                </a:ln>
                <a:solidFill>
                  <a:schemeClr val="bg1"/>
                </a:solidFill>
                <a:effectLst/>
              </a:defRPr>
            </a:lvl1pPr>
          </a:lstStyle>
          <a:p>
            <a:pPr defTabSz="914126">
              <a:defRPr/>
            </a:pPr>
            <a:r>
              <a:rPr lang="de-DE" sz="1400" b="0" baseline="0" dirty="0">
                <a:solidFill>
                  <a:srgbClr val="686868"/>
                </a:solidFill>
                <a:latin typeface="EnBW DIN Pro"/>
              </a:rPr>
              <a:t>ANTEIL AN BRUTTOSTROM- ERZEUGUNG</a:t>
            </a:r>
            <a:endParaRPr lang="de-DE" sz="1400" b="0" dirty="0">
              <a:solidFill>
                <a:srgbClr val="686868"/>
              </a:solidFill>
              <a:latin typeface="EnBW DIN Pro"/>
            </a:endParaRP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6A23E9D0-DC4C-43FE-819B-2AEE7AA38E6F}"/>
              </a:ext>
            </a:extLst>
          </p:cNvPr>
          <p:cNvSpPr txBox="1"/>
          <p:nvPr/>
        </p:nvSpPr>
        <p:spPr bwMode="gray">
          <a:xfrm>
            <a:off x="6958887" y="2206804"/>
            <a:ext cx="2181856" cy="4466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71981" rIns="0" bIns="35991" numCol="1" rtlCol="0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ctr" eaLnBrk="0" fontAlgn="base" hangingPunct="0">
              <a:spcBef>
                <a:spcPts val="400"/>
              </a:spcBef>
              <a:spcAft>
                <a:spcPct val="0"/>
              </a:spcAft>
              <a:defRPr kumimoji="0" sz="1600" b="1" i="0" u="none" strike="noStrike" cap="none" normalizeH="0" baseline="30000">
                <a:ln>
                  <a:noFill/>
                </a:ln>
                <a:solidFill>
                  <a:schemeClr val="bg1"/>
                </a:solidFill>
                <a:effectLst/>
              </a:defRPr>
            </a:lvl1pPr>
          </a:lstStyle>
          <a:p>
            <a:pPr defTabSz="914126">
              <a:defRPr/>
            </a:pPr>
            <a:r>
              <a:rPr lang="de-DE" sz="1400" b="0" baseline="0" dirty="0">
                <a:solidFill>
                  <a:srgbClr val="FF9900"/>
                </a:solidFill>
                <a:latin typeface="EnBW DIN Pro"/>
              </a:rPr>
              <a:t>ANTEIL AN BRUTTOSTROM- ERZEUGUNG</a:t>
            </a:r>
            <a:endParaRPr lang="de-DE" sz="1400" b="0" dirty="0">
              <a:solidFill>
                <a:srgbClr val="FF9900"/>
              </a:solidFill>
              <a:latin typeface="EnBW DIN Pro"/>
            </a:endParaRP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D5B21188-AE03-4B69-B985-E2684D1B5D54}"/>
              </a:ext>
            </a:extLst>
          </p:cNvPr>
          <p:cNvSpPr/>
          <p:nvPr/>
        </p:nvSpPr>
        <p:spPr bwMode="auto">
          <a:xfrm>
            <a:off x="4516349" y="4566001"/>
            <a:ext cx="841795" cy="383596"/>
          </a:xfrm>
          <a:prstGeom prst="rect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7972" tIns="107972" rIns="107972" bIns="107972" numCol="1" rtlCol="0" anchor="ctr" anchorCtr="0" compatLnSpc="1">
            <a:prstTxWarp prst="textNoShape">
              <a:avLst/>
            </a:prstTxWarp>
          </a:bodyPr>
          <a:lstStyle/>
          <a:p>
            <a:pPr algn="ctr" defTabSz="914126" eaLnBrk="0" fontAlgn="base" hangingPunct="0">
              <a:spcAft>
                <a:spcPct val="0"/>
              </a:spcAft>
              <a:defRPr/>
            </a:pPr>
            <a:endParaRPr lang="de-DE" sz="1600" dirty="0">
              <a:solidFill>
                <a:srgbClr val="3B3B3B"/>
              </a:solidFill>
              <a:latin typeface="EnBW DIN Pro"/>
            </a:endParaRP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F14FB420-EDB9-4871-81D3-AAD11650CFC8}"/>
              </a:ext>
            </a:extLst>
          </p:cNvPr>
          <p:cNvSpPr/>
          <p:nvPr>
            <p:custDataLst>
              <p:custData r:id="rId3"/>
            </p:custDataLst>
          </p:nvPr>
        </p:nvSpPr>
        <p:spPr bwMode="auto">
          <a:xfrm>
            <a:off x="4516348" y="3155692"/>
            <a:ext cx="841795" cy="1368976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7972" tIns="107972" rIns="107972" bIns="107972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Aft>
                <a:spcPct val="0"/>
              </a:spcAft>
              <a:defRPr/>
            </a:pPr>
            <a:endParaRPr lang="de-DE" sz="1200" dirty="0">
              <a:solidFill>
                <a:srgbClr val="3B3B3B"/>
              </a:solidFill>
              <a:latin typeface="EnBW DIN Pro"/>
            </a:endParaRP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55B8B2DA-5C68-4F88-ADD8-79266B0E3A3F}"/>
              </a:ext>
            </a:extLst>
          </p:cNvPr>
          <p:cNvSpPr/>
          <p:nvPr/>
        </p:nvSpPr>
        <p:spPr bwMode="gray">
          <a:xfrm>
            <a:off x="4530729" y="3686406"/>
            <a:ext cx="813030" cy="30754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14126" eaLnBrk="0" fontAlgn="base" hangingPunct="0">
              <a:spcAft>
                <a:spcPct val="0"/>
              </a:spcAft>
              <a:defRPr/>
            </a:pPr>
            <a:r>
              <a:rPr lang="de-DE" sz="1600" dirty="0">
                <a:solidFill>
                  <a:srgbClr val="FFFFFF"/>
                </a:solidFill>
                <a:latin typeface="EnBW DIN Pro"/>
              </a:rPr>
              <a:t>~80%</a:t>
            </a:r>
            <a:endParaRPr lang="de-DE" sz="1600" baseline="30000" dirty="0">
              <a:solidFill>
                <a:srgbClr val="FFFFFF"/>
              </a:solidFill>
              <a:latin typeface="EnBW DIN Pro"/>
            </a:endParaRP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CC182E09-1CF0-44E6-90F8-B7ED7473A56D}"/>
              </a:ext>
            </a:extLst>
          </p:cNvPr>
          <p:cNvSpPr/>
          <p:nvPr/>
        </p:nvSpPr>
        <p:spPr bwMode="gray">
          <a:xfrm>
            <a:off x="4530731" y="4606173"/>
            <a:ext cx="813030" cy="30754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14126" eaLnBrk="0" fontAlgn="base" hangingPunct="0">
              <a:spcAft>
                <a:spcPct val="0"/>
              </a:spcAft>
              <a:defRPr/>
            </a:pPr>
            <a:r>
              <a:rPr lang="de-DE" sz="1600" dirty="0">
                <a:solidFill>
                  <a:srgbClr val="FFFFFF"/>
                </a:solidFill>
                <a:latin typeface="EnBW DIN Pro"/>
              </a:rPr>
              <a:t>~20%</a:t>
            </a:r>
            <a:endParaRPr lang="de-DE" sz="1600" baseline="30000" dirty="0">
              <a:solidFill>
                <a:srgbClr val="FFFFFF"/>
              </a:solidFill>
              <a:latin typeface="EnBW DIN Pro"/>
            </a:endParaRPr>
          </a:p>
        </p:txBody>
      </p:sp>
      <p:sp>
        <p:nvSpPr>
          <p:cNvPr id="127" name="Rectangle 126">
            <a:extLst>
              <a:ext uri="{FF2B5EF4-FFF2-40B4-BE49-F238E27FC236}">
                <a16:creationId xmlns:a16="http://schemas.microsoft.com/office/drawing/2014/main" id="{586B0FEE-EF93-4295-8A12-62737314B1EC}"/>
              </a:ext>
            </a:extLst>
          </p:cNvPr>
          <p:cNvSpPr/>
          <p:nvPr/>
        </p:nvSpPr>
        <p:spPr bwMode="auto">
          <a:xfrm rot="10800000">
            <a:off x="7638828" y="4561532"/>
            <a:ext cx="844924" cy="1501985"/>
          </a:xfrm>
          <a:prstGeom prst="rect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7972" tIns="107972" rIns="107972" bIns="107972" numCol="1" rtlCol="0" anchor="ctr" anchorCtr="0" compatLnSpc="1">
            <a:prstTxWarp prst="textNoShape">
              <a:avLst/>
            </a:prstTxWarp>
          </a:bodyPr>
          <a:lstStyle/>
          <a:p>
            <a:pPr algn="ctr" defTabSz="914126" eaLnBrk="0" fontAlgn="base" hangingPunct="0">
              <a:spcAft>
                <a:spcPct val="0"/>
              </a:spcAft>
              <a:defRPr/>
            </a:pPr>
            <a:endParaRPr lang="de-DE" sz="1600" dirty="0">
              <a:solidFill>
                <a:srgbClr val="3B3B3B"/>
              </a:solidFill>
              <a:latin typeface="EnBW DIN Pro"/>
            </a:endParaRPr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C8A723F3-5596-407B-A2FE-CDC38E529B3A}"/>
              </a:ext>
            </a:extLst>
          </p:cNvPr>
          <p:cNvSpPr/>
          <p:nvPr/>
        </p:nvSpPr>
        <p:spPr bwMode="auto">
          <a:xfrm rot="10800000">
            <a:off x="7641958" y="4319008"/>
            <a:ext cx="841795" cy="202971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7972" tIns="107972" rIns="107972" bIns="107972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Aft>
                <a:spcPct val="0"/>
              </a:spcAft>
              <a:defRPr/>
            </a:pPr>
            <a:endParaRPr lang="de-DE" sz="1200" dirty="0">
              <a:solidFill>
                <a:srgbClr val="3B3B3B"/>
              </a:solidFill>
              <a:latin typeface="EnBW DIN Pro"/>
            </a:endParaRP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1ECA689E-9612-4A1A-8050-E80DA15C77F2}"/>
              </a:ext>
            </a:extLst>
          </p:cNvPr>
          <p:cNvSpPr/>
          <p:nvPr/>
        </p:nvSpPr>
        <p:spPr bwMode="gray">
          <a:xfrm>
            <a:off x="7656337" y="5158750"/>
            <a:ext cx="813030" cy="30754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14126" eaLnBrk="0" fontAlgn="base" hangingPunct="0">
              <a:spcAft>
                <a:spcPct val="0"/>
              </a:spcAft>
              <a:defRPr/>
            </a:pPr>
            <a:r>
              <a:rPr lang="de-DE" sz="1600" dirty="0">
                <a:solidFill>
                  <a:srgbClr val="FFFFFF"/>
                </a:solidFill>
                <a:latin typeface="EnBW DIN Pro"/>
              </a:rPr>
              <a:t>~90%</a:t>
            </a:r>
            <a:endParaRPr lang="de-DE" sz="1600" baseline="30000" dirty="0">
              <a:solidFill>
                <a:srgbClr val="FFFFFF"/>
              </a:solidFill>
              <a:latin typeface="EnBW DIN Pro"/>
            </a:endParaRPr>
          </a:p>
        </p:txBody>
      </p:sp>
      <p:sp>
        <p:nvSpPr>
          <p:cNvPr id="135" name="Rectangle 134">
            <a:extLst>
              <a:ext uri="{FF2B5EF4-FFF2-40B4-BE49-F238E27FC236}">
                <a16:creationId xmlns:a16="http://schemas.microsoft.com/office/drawing/2014/main" id="{470FA39C-34D6-42A0-8884-EA2F091FFACC}"/>
              </a:ext>
            </a:extLst>
          </p:cNvPr>
          <p:cNvSpPr/>
          <p:nvPr/>
        </p:nvSpPr>
        <p:spPr bwMode="gray">
          <a:xfrm>
            <a:off x="7656335" y="4264571"/>
            <a:ext cx="813030" cy="30754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14126" eaLnBrk="0" fontAlgn="base" hangingPunct="0">
              <a:spcAft>
                <a:spcPct val="0"/>
              </a:spcAft>
              <a:defRPr/>
            </a:pPr>
            <a:r>
              <a:rPr lang="de-DE" sz="1600" dirty="0">
                <a:solidFill>
                  <a:srgbClr val="FFFFFF"/>
                </a:solidFill>
                <a:latin typeface="EnBW DIN Pro"/>
              </a:rPr>
              <a:t>~10%</a:t>
            </a:r>
            <a:endParaRPr lang="de-DE" sz="1600" baseline="30000" dirty="0">
              <a:solidFill>
                <a:srgbClr val="FFFFFF"/>
              </a:solidFill>
              <a:latin typeface="EnBW DIN Pro"/>
            </a:endParaRPr>
          </a:p>
        </p:txBody>
      </p:sp>
      <p:sp>
        <p:nvSpPr>
          <p:cNvPr id="146" name="Freeform: Shape 145">
            <a:extLst>
              <a:ext uri="{FF2B5EF4-FFF2-40B4-BE49-F238E27FC236}">
                <a16:creationId xmlns:a16="http://schemas.microsoft.com/office/drawing/2014/main" id="{E1D60869-A7C9-4DE4-9D0A-A0B976F5D1A2}"/>
              </a:ext>
            </a:extLst>
          </p:cNvPr>
          <p:cNvSpPr/>
          <p:nvPr/>
        </p:nvSpPr>
        <p:spPr bwMode="auto">
          <a:xfrm>
            <a:off x="5357589" y="3161522"/>
            <a:ext cx="2287090" cy="2898945"/>
          </a:xfrm>
          <a:custGeom>
            <a:avLst/>
            <a:gdLst>
              <a:gd name="connsiteX0" fmla="*/ 1955 w 1642795"/>
              <a:gd name="connsiteY0" fmla="*/ 0 h 2052320"/>
              <a:gd name="connsiteX1" fmla="*/ 1642795 w 1642795"/>
              <a:gd name="connsiteY1" fmla="*/ 736600 h 2052320"/>
              <a:gd name="connsiteX2" fmla="*/ 1642795 w 1642795"/>
              <a:gd name="connsiteY2" fmla="*/ 2052320 h 2052320"/>
              <a:gd name="connsiteX3" fmla="*/ 1955 w 1642795"/>
              <a:gd name="connsiteY3" fmla="*/ 1346200 h 2052320"/>
              <a:gd name="connsiteX4" fmla="*/ 1955 w 1642795"/>
              <a:gd name="connsiteY4" fmla="*/ 0 h 2052320"/>
              <a:gd name="connsiteX0" fmla="*/ 1403 w 1642243"/>
              <a:gd name="connsiteY0" fmla="*/ 0 h 2052320"/>
              <a:gd name="connsiteX1" fmla="*/ 1642243 w 1642243"/>
              <a:gd name="connsiteY1" fmla="*/ 736600 h 2052320"/>
              <a:gd name="connsiteX2" fmla="*/ 1642243 w 1642243"/>
              <a:gd name="connsiteY2" fmla="*/ 2052320 h 2052320"/>
              <a:gd name="connsiteX3" fmla="*/ 3308 w 1642243"/>
              <a:gd name="connsiteY3" fmla="*/ 1338580 h 2052320"/>
              <a:gd name="connsiteX4" fmla="*/ 1403 w 1642243"/>
              <a:gd name="connsiteY4" fmla="*/ 0 h 2052320"/>
              <a:gd name="connsiteX0" fmla="*/ 1403 w 1642243"/>
              <a:gd name="connsiteY0" fmla="*/ 0 h 2040890"/>
              <a:gd name="connsiteX1" fmla="*/ 1642243 w 1642243"/>
              <a:gd name="connsiteY1" fmla="*/ 725170 h 2040890"/>
              <a:gd name="connsiteX2" fmla="*/ 1642243 w 1642243"/>
              <a:gd name="connsiteY2" fmla="*/ 2040890 h 2040890"/>
              <a:gd name="connsiteX3" fmla="*/ 3308 w 1642243"/>
              <a:gd name="connsiteY3" fmla="*/ 1327150 h 2040890"/>
              <a:gd name="connsiteX4" fmla="*/ 1403 w 1642243"/>
              <a:gd name="connsiteY4" fmla="*/ 0 h 2040890"/>
              <a:gd name="connsiteX0" fmla="*/ 1403 w 1642243"/>
              <a:gd name="connsiteY0" fmla="*/ 0 h 2040890"/>
              <a:gd name="connsiteX1" fmla="*/ 1634623 w 1642243"/>
              <a:gd name="connsiteY1" fmla="*/ 725170 h 2040890"/>
              <a:gd name="connsiteX2" fmla="*/ 1642243 w 1642243"/>
              <a:gd name="connsiteY2" fmla="*/ 2040890 h 2040890"/>
              <a:gd name="connsiteX3" fmla="*/ 3308 w 1642243"/>
              <a:gd name="connsiteY3" fmla="*/ 1327150 h 2040890"/>
              <a:gd name="connsiteX4" fmla="*/ 1403 w 1642243"/>
              <a:gd name="connsiteY4" fmla="*/ 0 h 2040890"/>
              <a:gd name="connsiteX0" fmla="*/ 1403 w 1634623"/>
              <a:gd name="connsiteY0" fmla="*/ 0 h 2040890"/>
              <a:gd name="connsiteX1" fmla="*/ 1634623 w 1634623"/>
              <a:gd name="connsiteY1" fmla="*/ 725170 h 2040890"/>
              <a:gd name="connsiteX2" fmla="*/ 1632718 w 1634623"/>
              <a:gd name="connsiteY2" fmla="*/ 2040890 h 2040890"/>
              <a:gd name="connsiteX3" fmla="*/ 3308 w 1634623"/>
              <a:gd name="connsiteY3" fmla="*/ 1327150 h 2040890"/>
              <a:gd name="connsiteX4" fmla="*/ 1403 w 1634623"/>
              <a:gd name="connsiteY4" fmla="*/ 0 h 2040890"/>
              <a:gd name="connsiteX0" fmla="*/ 1403 w 1634623"/>
              <a:gd name="connsiteY0" fmla="*/ 0 h 2040890"/>
              <a:gd name="connsiteX1" fmla="*/ 1634623 w 1634623"/>
              <a:gd name="connsiteY1" fmla="*/ 855699 h 2040890"/>
              <a:gd name="connsiteX2" fmla="*/ 1632718 w 1634623"/>
              <a:gd name="connsiteY2" fmla="*/ 2040890 h 2040890"/>
              <a:gd name="connsiteX3" fmla="*/ 3308 w 1634623"/>
              <a:gd name="connsiteY3" fmla="*/ 1327150 h 2040890"/>
              <a:gd name="connsiteX4" fmla="*/ 1403 w 1634623"/>
              <a:gd name="connsiteY4" fmla="*/ 0 h 2040890"/>
              <a:gd name="connsiteX0" fmla="*/ 1403 w 1639779"/>
              <a:gd name="connsiteY0" fmla="*/ 0 h 2148261"/>
              <a:gd name="connsiteX1" fmla="*/ 1634623 w 1639779"/>
              <a:gd name="connsiteY1" fmla="*/ 855699 h 2148261"/>
              <a:gd name="connsiteX2" fmla="*/ 1639779 w 1639779"/>
              <a:gd name="connsiteY2" fmla="*/ 2148261 h 2148261"/>
              <a:gd name="connsiteX3" fmla="*/ 3308 w 1639779"/>
              <a:gd name="connsiteY3" fmla="*/ 1327150 h 2148261"/>
              <a:gd name="connsiteX4" fmla="*/ 1403 w 1639779"/>
              <a:gd name="connsiteY4" fmla="*/ 0 h 2148261"/>
              <a:gd name="connsiteX0" fmla="*/ 1403 w 1640399"/>
              <a:gd name="connsiteY0" fmla="*/ 0 h 2148261"/>
              <a:gd name="connsiteX1" fmla="*/ 1639919 w 1640399"/>
              <a:gd name="connsiteY1" fmla="*/ 855699 h 2148261"/>
              <a:gd name="connsiteX2" fmla="*/ 1639779 w 1640399"/>
              <a:gd name="connsiteY2" fmla="*/ 2148261 h 2148261"/>
              <a:gd name="connsiteX3" fmla="*/ 3308 w 1640399"/>
              <a:gd name="connsiteY3" fmla="*/ 1327150 h 2148261"/>
              <a:gd name="connsiteX4" fmla="*/ 1403 w 1640399"/>
              <a:gd name="connsiteY4" fmla="*/ 0 h 2148261"/>
              <a:gd name="connsiteX0" fmla="*/ 1403 w 1640264"/>
              <a:gd name="connsiteY0" fmla="*/ 0 h 2130892"/>
              <a:gd name="connsiteX1" fmla="*/ 1639919 w 1640264"/>
              <a:gd name="connsiteY1" fmla="*/ 855699 h 2130892"/>
              <a:gd name="connsiteX2" fmla="*/ 1638014 w 1640264"/>
              <a:gd name="connsiteY2" fmla="*/ 2130892 h 2130892"/>
              <a:gd name="connsiteX3" fmla="*/ 3308 w 1640264"/>
              <a:gd name="connsiteY3" fmla="*/ 1327150 h 2130892"/>
              <a:gd name="connsiteX4" fmla="*/ 1403 w 1640264"/>
              <a:gd name="connsiteY4" fmla="*/ 0 h 2130892"/>
              <a:gd name="connsiteX0" fmla="*/ 1403 w 1640264"/>
              <a:gd name="connsiteY0" fmla="*/ 0 h 2130892"/>
              <a:gd name="connsiteX1" fmla="*/ 1639919 w 1640264"/>
              <a:gd name="connsiteY1" fmla="*/ 855699 h 2130892"/>
              <a:gd name="connsiteX2" fmla="*/ 1638014 w 1640264"/>
              <a:gd name="connsiteY2" fmla="*/ 2130892 h 2130892"/>
              <a:gd name="connsiteX3" fmla="*/ 3308 w 1640264"/>
              <a:gd name="connsiteY3" fmla="*/ 1311360 h 2130892"/>
              <a:gd name="connsiteX4" fmla="*/ 1403 w 1640264"/>
              <a:gd name="connsiteY4" fmla="*/ 0 h 2130892"/>
              <a:gd name="connsiteX0" fmla="*/ 2763 w 1641624"/>
              <a:gd name="connsiteY0" fmla="*/ 0 h 2130892"/>
              <a:gd name="connsiteX1" fmla="*/ 1641279 w 1641624"/>
              <a:gd name="connsiteY1" fmla="*/ 855699 h 2130892"/>
              <a:gd name="connsiteX2" fmla="*/ 1639374 w 1641624"/>
              <a:gd name="connsiteY2" fmla="*/ 2130892 h 2130892"/>
              <a:gd name="connsiteX3" fmla="*/ 1138 w 1641624"/>
              <a:gd name="connsiteY3" fmla="*/ 1311360 h 2130892"/>
              <a:gd name="connsiteX4" fmla="*/ 2763 w 1641624"/>
              <a:gd name="connsiteY4" fmla="*/ 0 h 21308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41624" h="2130892">
                <a:moveTo>
                  <a:pt x="2763" y="0"/>
                </a:moveTo>
                <a:lnTo>
                  <a:pt x="1641279" y="855699"/>
                </a:lnTo>
                <a:cubicBezTo>
                  <a:pt x="1642998" y="1286553"/>
                  <a:pt x="1637655" y="1700038"/>
                  <a:pt x="1639374" y="2130892"/>
                </a:cubicBezTo>
                <a:lnTo>
                  <a:pt x="1138" y="1311360"/>
                </a:lnTo>
                <a:cubicBezTo>
                  <a:pt x="-555" y="867707"/>
                  <a:pt x="-624" y="458893"/>
                  <a:pt x="2763" y="0"/>
                </a:cubicBezTo>
                <a:close/>
              </a:path>
            </a:pathLst>
          </a:custGeom>
          <a:solidFill>
            <a:schemeClr val="bg1">
              <a:alpha val="51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5991" tIns="0" rIns="35991" bIns="0" numCol="1" rtlCol="0" anchor="ctr" anchorCtr="0" compatLnSpc="1">
            <a:prstTxWarp prst="textNoShape">
              <a:avLst/>
            </a:prstTxWarp>
          </a:bodyPr>
          <a:lstStyle/>
          <a:p>
            <a:pPr algn="ctr" defTabSz="914126" eaLnBrk="0" fontAlgn="base" hangingPunct="0">
              <a:spcAft>
                <a:spcPct val="0"/>
              </a:spcAft>
              <a:defRPr/>
            </a:pPr>
            <a:endParaRPr lang="de-DE" sz="1600" dirty="0">
              <a:solidFill>
                <a:srgbClr val="3B3B3B"/>
              </a:solidFill>
              <a:latin typeface="EnBW DIN Pro"/>
              <a:ea typeface="DIN-Regular" panose="020B0500010101010101" pitchFamily="34" charset="0"/>
            </a:endParaRPr>
          </a:p>
        </p:txBody>
      </p:sp>
      <p:sp>
        <p:nvSpPr>
          <p:cNvPr id="153" name="Rectangle 152">
            <a:extLst>
              <a:ext uri="{FF2B5EF4-FFF2-40B4-BE49-F238E27FC236}">
                <a16:creationId xmlns:a16="http://schemas.microsoft.com/office/drawing/2014/main" id="{AD9F747E-957A-4C4A-90C6-9B64EFCF452A}"/>
              </a:ext>
            </a:extLst>
          </p:cNvPr>
          <p:cNvSpPr/>
          <p:nvPr/>
        </p:nvSpPr>
        <p:spPr bwMode="auto">
          <a:xfrm>
            <a:off x="3296917" y="3155691"/>
            <a:ext cx="1220446" cy="1366287"/>
          </a:xfrm>
          <a:prstGeom prst="rect">
            <a:avLst/>
          </a:prstGeom>
          <a:solidFill>
            <a:schemeClr val="bg1">
              <a:alpha val="51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7972" tIns="107972" rIns="107972" bIns="107972" numCol="1" rtlCol="0" anchor="ctr" anchorCtr="0" compatLnSpc="1">
            <a:prstTxWarp prst="textNoShape">
              <a:avLst/>
            </a:prstTxWarp>
          </a:bodyPr>
          <a:lstStyle/>
          <a:p>
            <a:pPr algn="ctr" defTabSz="914126" eaLnBrk="0" fontAlgn="base" hangingPunct="0">
              <a:spcAft>
                <a:spcPct val="0"/>
              </a:spcAft>
              <a:defRPr/>
            </a:pPr>
            <a:endParaRPr lang="de-DE" sz="1200" dirty="0">
              <a:solidFill>
                <a:srgbClr val="3B3B3B"/>
              </a:solidFill>
              <a:latin typeface="EnBW DIN Pro"/>
            </a:endParaRPr>
          </a:p>
        </p:txBody>
      </p:sp>
      <p:grpSp>
        <p:nvGrpSpPr>
          <p:cNvPr id="213" name="Group 212">
            <a:extLst>
              <a:ext uri="{FF2B5EF4-FFF2-40B4-BE49-F238E27FC236}">
                <a16:creationId xmlns:a16="http://schemas.microsoft.com/office/drawing/2014/main" id="{445CEF63-8079-4E11-AF0E-AE6BE279F171}"/>
              </a:ext>
            </a:extLst>
          </p:cNvPr>
          <p:cNvGrpSpPr/>
          <p:nvPr/>
        </p:nvGrpSpPr>
        <p:grpSpPr>
          <a:xfrm>
            <a:off x="3450899" y="3439411"/>
            <a:ext cx="962968" cy="638426"/>
            <a:chOff x="710986" y="2303068"/>
            <a:chExt cx="776204" cy="595054"/>
          </a:xfrm>
        </p:grpSpPr>
        <p:grpSp>
          <p:nvGrpSpPr>
            <p:cNvPr id="214" name="Group 213">
              <a:extLst>
                <a:ext uri="{FF2B5EF4-FFF2-40B4-BE49-F238E27FC236}">
                  <a16:creationId xmlns:a16="http://schemas.microsoft.com/office/drawing/2014/main" id="{12A057B2-F61E-4772-863C-DC9D3A2E9D90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1084387" y="2314773"/>
              <a:ext cx="302074" cy="303685"/>
              <a:chOff x="804589" y="2617751"/>
              <a:chExt cx="510886" cy="493569"/>
            </a:xfrm>
            <a:solidFill>
              <a:schemeClr val="accent4"/>
            </a:solidFill>
          </p:grpSpPr>
          <p:sp>
            <p:nvSpPr>
              <p:cNvPr id="233" name="Freeform 266">
                <a:extLst>
                  <a:ext uri="{FF2B5EF4-FFF2-40B4-BE49-F238E27FC236}">
                    <a16:creationId xmlns:a16="http://schemas.microsoft.com/office/drawing/2014/main" id="{D4293A24-8C94-48EC-B71D-401C57621C0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062918" y="2876081"/>
                <a:ext cx="196273" cy="213591"/>
              </a:xfrm>
              <a:custGeom>
                <a:avLst/>
                <a:gdLst>
                  <a:gd name="T0" fmla="*/ 14 w 1086"/>
                  <a:gd name="T1" fmla="*/ 0 h 1187"/>
                  <a:gd name="T2" fmla="*/ 162 w 1086"/>
                  <a:gd name="T3" fmla="*/ 9 h 1187"/>
                  <a:gd name="T4" fmla="*/ 306 w 1086"/>
                  <a:gd name="T5" fmla="*/ 14 h 1187"/>
                  <a:gd name="T6" fmla="*/ 450 w 1086"/>
                  <a:gd name="T7" fmla="*/ 17 h 1187"/>
                  <a:gd name="T8" fmla="*/ 593 w 1086"/>
                  <a:gd name="T9" fmla="*/ 14 h 1187"/>
                  <a:gd name="T10" fmla="*/ 738 w 1086"/>
                  <a:gd name="T11" fmla="*/ 9 h 1187"/>
                  <a:gd name="T12" fmla="*/ 886 w 1086"/>
                  <a:gd name="T13" fmla="*/ 0 h 1187"/>
                  <a:gd name="T14" fmla="*/ 891 w 1086"/>
                  <a:gd name="T15" fmla="*/ 1 h 1187"/>
                  <a:gd name="T16" fmla="*/ 895 w 1086"/>
                  <a:gd name="T17" fmla="*/ 3 h 1187"/>
                  <a:gd name="T18" fmla="*/ 899 w 1086"/>
                  <a:gd name="T19" fmla="*/ 6 h 1187"/>
                  <a:gd name="T20" fmla="*/ 901 w 1086"/>
                  <a:gd name="T21" fmla="*/ 10 h 1187"/>
                  <a:gd name="T22" fmla="*/ 901 w 1086"/>
                  <a:gd name="T23" fmla="*/ 14 h 1187"/>
                  <a:gd name="T24" fmla="*/ 904 w 1086"/>
                  <a:gd name="T25" fmla="*/ 152 h 1187"/>
                  <a:gd name="T26" fmla="*/ 913 w 1086"/>
                  <a:gd name="T27" fmla="*/ 288 h 1187"/>
                  <a:gd name="T28" fmla="*/ 927 w 1086"/>
                  <a:gd name="T29" fmla="*/ 425 h 1187"/>
                  <a:gd name="T30" fmla="*/ 946 w 1086"/>
                  <a:gd name="T31" fmla="*/ 560 h 1187"/>
                  <a:gd name="T32" fmla="*/ 971 w 1086"/>
                  <a:gd name="T33" fmla="*/ 695 h 1187"/>
                  <a:gd name="T34" fmla="*/ 1002 w 1086"/>
                  <a:gd name="T35" fmla="*/ 828 h 1187"/>
                  <a:gd name="T36" fmla="*/ 1086 w 1086"/>
                  <a:gd name="T37" fmla="*/ 1172 h 1187"/>
                  <a:gd name="T38" fmla="*/ 1086 w 1086"/>
                  <a:gd name="T39" fmla="*/ 1177 h 1187"/>
                  <a:gd name="T40" fmla="*/ 1085 w 1086"/>
                  <a:gd name="T41" fmla="*/ 1180 h 1187"/>
                  <a:gd name="T42" fmla="*/ 1083 w 1086"/>
                  <a:gd name="T43" fmla="*/ 1183 h 1187"/>
                  <a:gd name="T44" fmla="*/ 1080 w 1086"/>
                  <a:gd name="T45" fmla="*/ 1186 h 1187"/>
                  <a:gd name="T46" fmla="*/ 1075 w 1086"/>
                  <a:gd name="T47" fmla="*/ 1187 h 1187"/>
                  <a:gd name="T48" fmla="*/ 213 w 1086"/>
                  <a:gd name="T49" fmla="*/ 1187 h 1187"/>
                  <a:gd name="T50" fmla="*/ 205 w 1086"/>
                  <a:gd name="T51" fmla="*/ 1185 h 1187"/>
                  <a:gd name="T52" fmla="*/ 198 w 1086"/>
                  <a:gd name="T53" fmla="*/ 1180 h 1187"/>
                  <a:gd name="T54" fmla="*/ 194 w 1086"/>
                  <a:gd name="T55" fmla="*/ 1172 h 1187"/>
                  <a:gd name="T56" fmla="*/ 123 w 1086"/>
                  <a:gd name="T57" fmla="*/ 884 h 1187"/>
                  <a:gd name="T58" fmla="*/ 84 w 1086"/>
                  <a:gd name="T59" fmla="*/ 712 h 1187"/>
                  <a:gd name="T60" fmla="*/ 53 w 1086"/>
                  <a:gd name="T61" fmla="*/ 540 h 1187"/>
                  <a:gd name="T62" fmla="*/ 28 w 1086"/>
                  <a:gd name="T63" fmla="*/ 365 h 1187"/>
                  <a:gd name="T64" fmla="*/ 10 w 1086"/>
                  <a:gd name="T65" fmla="*/ 191 h 1187"/>
                  <a:gd name="T66" fmla="*/ 0 w 1086"/>
                  <a:gd name="T67" fmla="*/ 15 h 1187"/>
                  <a:gd name="T68" fmla="*/ 0 w 1086"/>
                  <a:gd name="T69" fmla="*/ 11 h 1187"/>
                  <a:gd name="T70" fmla="*/ 2 w 1086"/>
                  <a:gd name="T71" fmla="*/ 6 h 1187"/>
                  <a:gd name="T72" fmla="*/ 5 w 1086"/>
                  <a:gd name="T73" fmla="*/ 3 h 1187"/>
                  <a:gd name="T74" fmla="*/ 9 w 1086"/>
                  <a:gd name="T75" fmla="*/ 1 h 1187"/>
                  <a:gd name="T76" fmla="*/ 14 w 1086"/>
                  <a:gd name="T77" fmla="*/ 0 h 1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086" h="1187">
                    <a:moveTo>
                      <a:pt x="14" y="0"/>
                    </a:moveTo>
                    <a:lnTo>
                      <a:pt x="162" y="9"/>
                    </a:lnTo>
                    <a:lnTo>
                      <a:pt x="306" y="14"/>
                    </a:lnTo>
                    <a:lnTo>
                      <a:pt x="450" y="17"/>
                    </a:lnTo>
                    <a:lnTo>
                      <a:pt x="593" y="14"/>
                    </a:lnTo>
                    <a:lnTo>
                      <a:pt x="738" y="9"/>
                    </a:lnTo>
                    <a:lnTo>
                      <a:pt x="886" y="0"/>
                    </a:lnTo>
                    <a:lnTo>
                      <a:pt x="891" y="1"/>
                    </a:lnTo>
                    <a:lnTo>
                      <a:pt x="895" y="3"/>
                    </a:lnTo>
                    <a:lnTo>
                      <a:pt x="899" y="6"/>
                    </a:lnTo>
                    <a:lnTo>
                      <a:pt x="901" y="10"/>
                    </a:lnTo>
                    <a:lnTo>
                      <a:pt x="901" y="14"/>
                    </a:lnTo>
                    <a:lnTo>
                      <a:pt x="904" y="152"/>
                    </a:lnTo>
                    <a:lnTo>
                      <a:pt x="913" y="288"/>
                    </a:lnTo>
                    <a:lnTo>
                      <a:pt x="927" y="425"/>
                    </a:lnTo>
                    <a:lnTo>
                      <a:pt x="946" y="560"/>
                    </a:lnTo>
                    <a:lnTo>
                      <a:pt x="971" y="695"/>
                    </a:lnTo>
                    <a:lnTo>
                      <a:pt x="1002" y="828"/>
                    </a:lnTo>
                    <a:lnTo>
                      <a:pt x="1086" y="1172"/>
                    </a:lnTo>
                    <a:lnTo>
                      <a:pt x="1086" y="1177"/>
                    </a:lnTo>
                    <a:lnTo>
                      <a:pt x="1085" y="1180"/>
                    </a:lnTo>
                    <a:lnTo>
                      <a:pt x="1083" y="1183"/>
                    </a:lnTo>
                    <a:lnTo>
                      <a:pt x="1080" y="1186"/>
                    </a:lnTo>
                    <a:lnTo>
                      <a:pt x="1075" y="1187"/>
                    </a:lnTo>
                    <a:lnTo>
                      <a:pt x="213" y="1187"/>
                    </a:lnTo>
                    <a:lnTo>
                      <a:pt x="205" y="1185"/>
                    </a:lnTo>
                    <a:lnTo>
                      <a:pt x="198" y="1180"/>
                    </a:lnTo>
                    <a:lnTo>
                      <a:pt x="194" y="1172"/>
                    </a:lnTo>
                    <a:lnTo>
                      <a:pt x="123" y="884"/>
                    </a:lnTo>
                    <a:lnTo>
                      <a:pt x="84" y="712"/>
                    </a:lnTo>
                    <a:lnTo>
                      <a:pt x="53" y="540"/>
                    </a:lnTo>
                    <a:lnTo>
                      <a:pt x="28" y="365"/>
                    </a:lnTo>
                    <a:lnTo>
                      <a:pt x="10" y="191"/>
                    </a:lnTo>
                    <a:lnTo>
                      <a:pt x="0" y="15"/>
                    </a:lnTo>
                    <a:lnTo>
                      <a:pt x="0" y="11"/>
                    </a:lnTo>
                    <a:lnTo>
                      <a:pt x="2" y="6"/>
                    </a:lnTo>
                    <a:lnTo>
                      <a:pt x="5" y="3"/>
                    </a:lnTo>
                    <a:lnTo>
                      <a:pt x="9" y="1"/>
                    </a:lnTo>
                    <a:lnTo>
                      <a:pt x="14" y="0"/>
                    </a:lnTo>
                    <a:close/>
                  </a:path>
                </a:pathLst>
              </a:custGeom>
              <a:solidFill>
                <a:schemeClr val="tx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07972" tIns="107972" rIns="107972" bIns="107972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eaLnBrk="0" fontAlgn="base" hangingPunct="0">
                  <a:spcAft>
                    <a:spcPct val="0"/>
                  </a:spcAft>
                  <a:defRPr/>
                </a:pPr>
                <a:endParaRPr lang="de-DE" sz="1200" dirty="0">
                  <a:solidFill>
                    <a:srgbClr val="3B3B3B"/>
                  </a:solidFill>
                  <a:latin typeface="EnBW DIN Pro"/>
                </a:endParaRPr>
              </a:p>
            </p:txBody>
          </p:sp>
          <p:sp>
            <p:nvSpPr>
              <p:cNvPr id="234" name="Freeform 267">
                <a:extLst>
                  <a:ext uri="{FF2B5EF4-FFF2-40B4-BE49-F238E27FC236}">
                    <a16:creationId xmlns:a16="http://schemas.microsoft.com/office/drawing/2014/main" id="{5FEB6446-EC83-4BB9-BDBE-88E5DD14EC0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39225" y="2617751"/>
                <a:ext cx="476250" cy="246785"/>
              </a:xfrm>
              <a:custGeom>
                <a:avLst/>
                <a:gdLst>
                  <a:gd name="T0" fmla="*/ 1863 w 2640"/>
                  <a:gd name="T1" fmla="*/ 45 h 1362"/>
                  <a:gd name="T2" fmla="*/ 2005 w 2640"/>
                  <a:gd name="T3" fmla="*/ 145 h 1362"/>
                  <a:gd name="T4" fmla="*/ 2063 w 2640"/>
                  <a:gd name="T5" fmla="*/ 194 h 1362"/>
                  <a:gd name="T6" fmla="*/ 2217 w 2640"/>
                  <a:gd name="T7" fmla="*/ 211 h 1362"/>
                  <a:gd name="T8" fmla="*/ 2441 w 2640"/>
                  <a:gd name="T9" fmla="*/ 326 h 1362"/>
                  <a:gd name="T10" fmla="*/ 2602 w 2640"/>
                  <a:gd name="T11" fmla="*/ 560 h 1362"/>
                  <a:gd name="T12" fmla="*/ 2637 w 2640"/>
                  <a:gd name="T13" fmla="*/ 834 h 1362"/>
                  <a:gd name="T14" fmla="*/ 2550 w 2640"/>
                  <a:gd name="T15" fmla="*/ 1091 h 1362"/>
                  <a:gd name="T16" fmla="*/ 2356 w 2640"/>
                  <a:gd name="T17" fmla="*/ 1275 h 1362"/>
                  <a:gd name="T18" fmla="*/ 2098 w 2640"/>
                  <a:gd name="T19" fmla="*/ 1329 h 1362"/>
                  <a:gd name="T20" fmla="*/ 1926 w 2640"/>
                  <a:gd name="T21" fmla="*/ 1282 h 1362"/>
                  <a:gd name="T22" fmla="*/ 1775 w 2640"/>
                  <a:gd name="T23" fmla="*/ 1325 h 1362"/>
                  <a:gd name="T24" fmla="*/ 1628 w 2640"/>
                  <a:gd name="T25" fmla="*/ 1359 h 1362"/>
                  <a:gd name="T26" fmla="*/ 1723 w 2640"/>
                  <a:gd name="T27" fmla="*/ 1330 h 1362"/>
                  <a:gd name="T28" fmla="*/ 1899 w 2640"/>
                  <a:gd name="T29" fmla="*/ 1247 h 1362"/>
                  <a:gd name="T30" fmla="*/ 2007 w 2640"/>
                  <a:gd name="T31" fmla="*/ 1269 h 1362"/>
                  <a:gd name="T32" fmla="*/ 2238 w 2640"/>
                  <a:gd name="T33" fmla="*/ 1255 h 1362"/>
                  <a:gd name="T34" fmla="*/ 2421 w 2640"/>
                  <a:gd name="T35" fmla="*/ 1120 h 1362"/>
                  <a:gd name="T36" fmla="*/ 2513 w 2640"/>
                  <a:gd name="T37" fmla="*/ 915 h 1362"/>
                  <a:gd name="T38" fmla="*/ 2499 w 2640"/>
                  <a:gd name="T39" fmla="*/ 675 h 1362"/>
                  <a:gd name="T40" fmla="*/ 2376 w 2640"/>
                  <a:gd name="T41" fmla="*/ 479 h 1362"/>
                  <a:gd name="T42" fmla="*/ 2193 w 2640"/>
                  <a:gd name="T43" fmla="*/ 389 h 1362"/>
                  <a:gd name="T44" fmla="*/ 2078 w 2640"/>
                  <a:gd name="T45" fmla="*/ 386 h 1362"/>
                  <a:gd name="T46" fmla="*/ 1959 w 2640"/>
                  <a:gd name="T47" fmla="*/ 362 h 1362"/>
                  <a:gd name="T48" fmla="*/ 1858 w 2640"/>
                  <a:gd name="T49" fmla="*/ 288 h 1362"/>
                  <a:gd name="T50" fmla="*/ 1765 w 2640"/>
                  <a:gd name="T51" fmla="*/ 235 h 1362"/>
                  <a:gd name="T52" fmla="*/ 1548 w 2640"/>
                  <a:gd name="T53" fmla="*/ 217 h 1362"/>
                  <a:gd name="T54" fmla="*/ 1399 w 2640"/>
                  <a:gd name="T55" fmla="*/ 294 h 1362"/>
                  <a:gd name="T56" fmla="*/ 1364 w 2640"/>
                  <a:gd name="T57" fmla="*/ 327 h 1362"/>
                  <a:gd name="T58" fmla="*/ 1242 w 2640"/>
                  <a:gd name="T59" fmla="*/ 373 h 1362"/>
                  <a:gd name="T60" fmla="*/ 1159 w 2640"/>
                  <a:gd name="T61" fmla="*/ 348 h 1362"/>
                  <a:gd name="T62" fmla="*/ 1010 w 2640"/>
                  <a:gd name="T63" fmla="*/ 288 h 1362"/>
                  <a:gd name="T64" fmla="*/ 805 w 2640"/>
                  <a:gd name="T65" fmla="*/ 318 h 1362"/>
                  <a:gd name="T66" fmla="*/ 639 w 2640"/>
                  <a:gd name="T67" fmla="*/ 459 h 1362"/>
                  <a:gd name="T68" fmla="*/ 575 w 2640"/>
                  <a:gd name="T69" fmla="*/ 586 h 1362"/>
                  <a:gd name="T70" fmla="*/ 507 w 2640"/>
                  <a:gd name="T71" fmla="*/ 666 h 1362"/>
                  <a:gd name="T72" fmla="*/ 421 w 2640"/>
                  <a:gd name="T73" fmla="*/ 646 h 1362"/>
                  <a:gd name="T74" fmla="*/ 358 w 2640"/>
                  <a:gd name="T75" fmla="*/ 618 h 1362"/>
                  <a:gd name="T76" fmla="*/ 196 w 2640"/>
                  <a:gd name="T77" fmla="*/ 630 h 1362"/>
                  <a:gd name="T78" fmla="*/ 58 w 2640"/>
                  <a:gd name="T79" fmla="*/ 764 h 1362"/>
                  <a:gd name="T80" fmla="*/ 23 w 2640"/>
                  <a:gd name="T81" fmla="*/ 961 h 1362"/>
                  <a:gd name="T82" fmla="*/ 59 w 2640"/>
                  <a:gd name="T83" fmla="*/ 1081 h 1362"/>
                  <a:gd name="T84" fmla="*/ 20 w 2640"/>
                  <a:gd name="T85" fmla="*/ 1010 h 1362"/>
                  <a:gd name="T86" fmla="*/ 8 w 2640"/>
                  <a:gd name="T87" fmla="*/ 811 h 1362"/>
                  <a:gd name="T88" fmla="*/ 102 w 2640"/>
                  <a:gd name="T89" fmla="*/ 634 h 1362"/>
                  <a:gd name="T90" fmla="*/ 263 w 2640"/>
                  <a:gd name="T91" fmla="*/ 549 h 1362"/>
                  <a:gd name="T92" fmla="*/ 425 w 2640"/>
                  <a:gd name="T93" fmla="*/ 563 h 1362"/>
                  <a:gd name="T94" fmla="*/ 486 w 2640"/>
                  <a:gd name="T95" fmla="*/ 570 h 1362"/>
                  <a:gd name="T96" fmla="*/ 526 w 2640"/>
                  <a:gd name="T97" fmla="*/ 456 h 1362"/>
                  <a:gd name="T98" fmla="*/ 685 w 2640"/>
                  <a:gd name="T99" fmla="*/ 249 h 1362"/>
                  <a:gd name="T100" fmla="*/ 926 w 2640"/>
                  <a:gd name="T101" fmla="*/ 147 h 1362"/>
                  <a:gd name="T102" fmla="*/ 1190 w 2640"/>
                  <a:gd name="T103" fmla="*/ 181 h 1362"/>
                  <a:gd name="T104" fmla="*/ 1243 w 2640"/>
                  <a:gd name="T105" fmla="*/ 205 h 1362"/>
                  <a:gd name="T106" fmla="*/ 1242 w 2640"/>
                  <a:gd name="T107" fmla="*/ 203 h 1362"/>
                  <a:gd name="T108" fmla="*/ 1263 w 2640"/>
                  <a:gd name="T109" fmla="*/ 180 h 1362"/>
                  <a:gd name="T110" fmla="*/ 1357 w 2640"/>
                  <a:gd name="T111" fmla="*/ 97 h 1362"/>
                  <a:gd name="T112" fmla="*/ 1598 w 2640"/>
                  <a:gd name="T113" fmla="*/ 4 h 13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2640" h="1362">
                    <a:moveTo>
                      <a:pt x="1652" y="0"/>
                    </a:moveTo>
                    <a:lnTo>
                      <a:pt x="1704" y="1"/>
                    </a:lnTo>
                    <a:lnTo>
                      <a:pt x="1759" y="10"/>
                    </a:lnTo>
                    <a:lnTo>
                      <a:pt x="1811" y="25"/>
                    </a:lnTo>
                    <a:lnTo>
                      <a:pt x="1863" y="45"/>
                    </a:lnTo>
                    <a:lnTo>
                      <a:pt x="1910" y="70"/>
                    </a:lnTo>
                    <a:lnTo>
                      <a:pt x="1929" y="81"/>
                    </a:lnTo>
                    <a:lnTo>
                      <a:pt x="1946" y="94"/>
                    </a:lnTo>
                    <a:lnTo>
                      <a:pt x="1976" y="119"/>
                    </a:lnTo>
                    <a:lnTo>
                      <a:pt x="2005" y="145"/>
                    </a:lnTo>
                    <a:lnTo>
                      <a:pt x="2028" y="168"/>
                    </a:lnTo>
                    <a:lnTo>
                      <a:pt x="2035" y="174"/>
                    </a:lnTo>
                    <a:lnTo>
                      <a:pt x="2043" y="182"/>
                    </a:lnTo>
                    <a:lnTo>
                      <a:pt x="2050" y="188"/>
                    </a:lnTo>
                    <a:lnTo>
                      <a:pt x="2063" y="194"/>
                    </a:lnTo>
                    <a:lnTo>
                      <a:pt x="2076" y="197"/>
                    </a:lnTo>
                    <a:lnTo>
                      <a:pt x="2095" y="198"/>
                    </a:lnTo>
                    <a:lnTo>
                      <a:pt x="2113" y="197"/>
                    </a:lnTo>
                    <a:lnTo>
                      <a:pt x="2165" y="202"/>
                    </a:lnTo>
                    <a:lnTo>
                      <a:pt x="2217" y="211"/>
                    </a:lnTo>
                    <a:lnTo>
                      <a:pt x="2266" y="226"/>
                    </a:lnTo>
                    <a:lnTo>
                      <a:pt x="2313" y="244"/>
                    </a:lnTo>
                    <a:lnTo>
                      <a:pt x="2359" y="268"/>
                    </a:lnTo>
                    <a:lnTo>
                      <a:pt x="2401" y="295"/>
                    </a:lnTo>
                    <a:lnTo>
                      <a:pt x="2441" y="326"/>
                    </a:lnTo>
                    <a:lnTo>
                      <a:pt x="2483" y="367"/>
                    </a:lnTo>
                    <a:lnTo>
                      <a:pt x="2520" y="411"/>
                    </a:lnTo>
                    <a:lnTo>
                      <a:pt x="2553" y="458"/>
                    </a:lnTo>
                    <a:lnTo>
                      <a:pt x="2580" y="508"/>
                    </a:lnTo>
                    <a:lnTo>
                      <a:pt x="2602" y="560"/>
                    </a:lnTo>
                    <a:lnTo>
                      <a:pt x="2619" y="613"/>
                    </a:lnTo>
                    <a:lnTo>
                      <a:pt x="2631" y="668"/>
                    </a:lnTo>
                    <a:lnTo>
                      <a:pt x="2638" y="724"/>
                    </a:lnTo>
                    <a:lnTo>
                      <a:pt x="2640" y="778"/>
                    </a:lnTo>
                    <a:lnTo>
                      <a:pt x="2637" y="834"/>
                    </a:lnTo>
                    <a:lnTo>
                      <a:pt x="2629" y="888"/>
                    </a:lnTo>
                    <a:lnTo>
                      <a:pt x="2616" y="941"/>
                    </a:lnTo>
                    <a:lnTo>
                      <a:pt x="2599" y="994"/>
                    </a:lnTo>
                    <a:lnTo>
                      <a:pt x="2578" y="1043"/>
                    </a:lnTo>
                    <a:lnTo>
                      <a:pt x="2550" y="1091"/>
                    </a:lnTo>
                    <a:lnTo>
                      <a:pt x="2518" y="1135"/>
                    </a:lnTo>
                    <a:lnTo>
                      <a:pt x="2483" y="1176"/>
                    </a:lnTo>
                    <a:lnTo>
                      <a:pt x="2444" y="1214"/>
                    </a:lnTo>
                    <a:lnTo>
                      <a:pt x="2401" y="1247"/>
                    </a:lnTo>
                    <a:lnTo>
                      <a:pt x="2356" y="1275"/>
                    </a:lnTo>
                    <a:lnTo>
                      <a:pt x="2308" y="1298"/>
                    </a:lnTo>
                    <a:lnTo>
                      <a:pt x="2258" y="1315"/>
                    </a:lnTo>
                    <a:lnTo>
                      <a:pt x="2205" y="1325"/>
                    </a:lnTo>
                    <a:lnTo>
                      <a:pt x="2151" y="1330"/>
                    </a:lnTo>
                    <a:lnTo>
                      <a:pt x="2098" y="1329"/>
                    </a:lnTo>
                    <a:lnTo>
                      <a:pt x="2046" y="1321"/>
                    </a:lnTo>
                    <a:lnTo>
                      <a:pt x="1996" y="1307"/>
                    </a:lnTo>
                    <a:lnTo>
                      <a:pt x="1971" y="1298"/>
                    </a:lnTo>
                    <a:lnTo>
                      <a:pt x="1948" y="1289"/>
                    </a:lnTo>
                    <a:lnTo>
                      <a:pt x="1926" y="1282"/>
                    </a:lnTo>
                    <a:lnTo>
                      <a:pt x="1905" y="1277"/>
                    </a:lnTo>
                    <a:lnTo>
                      <a:pt x="1884" y="1277"/>
                    </a:lnTo>
                    <a:lnTo>
                      <a:pt x="1861" y="1282"/>
                    </a:lnTo>
                    <a:lnTo>
                      <a:pt x="1820" y="1305"/>
                    </a:lnTo>
                    <a:lnTo>
                      <a:pt x="1775" y="1325"/>
                    </a:lnTo>
                    <a:lnTo>
                      <a:pt x="1728" y="1342"/>
                    </a:lnTo>
                    <a:lnTo>
                      <a:pt x="1680" y="1355"/>
                    </a:lnTo>
                    <a:lnTo>
                      <a:pt x="1631" y="1362"/>
                    </a:lnTo>
                    <a:lnTo>
                      <a:pt x="1629" y="1361"/>
                    </a:lnTo>
                    <a:lnTo>
                      <a:pt x="1628" y="1359"/>
                    </a:lnTo>
                    <a:lnTo>
                      <a:pt x="1628" y="1358"/>
                    </a:lnTo>
                    <a:lnTo>
                      <a:pt x="1628" y="1357"/>
                    </a:lnTo>
                    <a:lnTo>
                      <a:pt x="1629" y="1357"/>
                    </a:lnTo>
                    <a:lnTo>
                      <a:pt x="1676" y="1346"/>
                    </a:lnTo>
                    <a:lnTo>
                      <a:pt x="1723" y="1330"/>
                    </a:lnTo>
                    <a:lnTo>
                      <a:pt x="1767" y="1309"/>
                    </a:lnTo>
                    <a:lnTo>
                      <a:pt x="1810" y="1285"/>
                    </a:lnTo>
                    <a:lnTo>
                      <a:pt x="1852" y="1257"/>
                    </a:lnTo>
                    <a:lnTo>
                      <a:pt x="1875" y="1249"/>
                    </a:lnTo>
                    <a:lnTo>
                      <a:pt x="1899" y="1247"/>
                    </a:lnTo>
                    <a:lnTo>
                      <a:pt x="1922" y="1248"/>
                    </a:lnTo>
                    <a:lnTo>
                      <a:pt x="1946" y="1251"/>
                    </a:lnTo>
                    <a:lnTo>
                      <a:pt x="1967" y="1257"/>
                    </a:lnTo>
                    <a:lnTo>
                      <a:pt x="1988" y="1264"/>
                    </a:lnTo>
                    <a:lnTo>
                      <a:pt x="2007" y="1269"/>
                    </a:lnTo>
                    <a:lnTo>
                      <a:pt x="2054" y="1277"/>
                    </a:lnTo>
                    <a:lnTo>
                      <a:pt x="2101" y="1280"/>
                    </a:lnTo>
                    <a:lnTo>
                      <a:pt x="2147" y="1276"/>
                    </a:lnTo>
                    <a:lnTo>
                      <a:pt x="2194" y="1268"/>
                    </a:lnTo>
                    <a:lnTo>
                      <a:pt x="2238" y="1255"/>
                    </a:lnTo>
                    <a:lnTo>
                      <a:pt x="2280" y="1236"/>
                    </a:lnTo>
                    <a:lnTo>
                      <a:pt x="2320" y="1214"/>
                    </a:lnTo>
                    <a:lnTo>
                      <a:pt x="2357" y="1186"/>
                    </a:lnTo>
                    <a:lnTo>
                      <a:pt x="2390" y="1154"/>
                    </a:lnTo>
                    <a:lnTo>
                      <a:pt x="2421" y="1120"/>
                    </a:lnTo>
                    <a:lnTo>
                      <a:pt x="2447" y="1083"/>
                    </a:lnTo>
                    <a:lnTo>
                      <a:pt x="2469" y="1044"/>
                    </a:lnTo>
                    <a:lnTo>
                      <a:pt x="2489" y="1002"/>
                    </a:lnTo>
                    <a:lnTo>
                      <a:pt x="2504" y="960"/>
                    </a:lnTo>
                    <a:lnTo>
                      <a:pt x="2513" y="915"/>
                    </a:lnTo>
                    <a:lnTo>
                      <a:pt x="2520" y="867"/>
                    </a:lnTo>
                    <a:lnTo>
                      <a:pt x="2522" y="818"/>
                    </a:lnTo>
                    <a:lnTo>
                      <a:pt x="2520" y="769"/>
                    </a:lnTo>
                    <a:lnTo>
                      <a:pt x="2512" y="721"/>
                    </a:lnTo>
                    <a:lnTo>
                      <a:pt x="2499" y="675"/>
                    </a:lnTo>
                    <a:lnTo>
                      <a:pt x="2483" y="630"/>
                    </a:lnTo>
                    <a:lnTo>
                      <a:pt x="2462" y="588"/>
                    </a:lnTo>
                    <a:lnTo>
                      <a:pt x="2436" y="548"/>
                    </a:lnTo>
                    <a:lnTo>
                      <a:pt x="2408" y="512"/>
                    </a:lnTo>
                    <a:lnTo>
                      <a:pt x="2376" y="479"/>
                    </a:lnTo>
                    <a:lnTo>
                      <a:pt x="2341" y="450"/>
                    </a:lnTo>
                    <a:lnTo>
                      <a:pt x="2306" y="429"/>
                    </a:lnTo>
                    <a:lnTo>
                      <a:pt x="2269" y="410"/>
                    </a:lnTo>
                    <a:lnTo>
                      <a:pt x="2232" y="397"/>
                    </a:lnTo>
                    <a:lnTo>
                      <a:pt x="2193" y="389"/>
                    </a:lnTo>
                    <a:lnTo>
                      <a:pt x="2153" y="384"/>
                    </a:lnTo>
                    <a:lnTo>
                      <a:pt x="2114" y="384"/>
                    </a:lnTo>
                    <a:lnTo>
                      <a:pt x="2106" y="385"/>
                    </a:lnTo>
                    <a:lnTo>
                      <a:pt x="2094" y="386"/>
                    </a:lnTo>
                    <a:lnTo>
                      <a:pt x="2078" y="386"/>
                    </a:lnTo>
                    <a:lnTo>
                      <a:pt x="2058" y="386"/>
                    </a:lnTo>
                    <a:lnTo>
                      <a:pt x="2038" y="385"/>
                    </a:lnTo>
                    <a:lnTo>
                      <a:pt x="2017" y="382"/>
                    </a:lnTo>
                    <a:lnTo>
                      <a:pt x="1988" y="374"/>
                    </a:lnTo>
                    <a:lnTo>
                      <a:pt x="1959" y="362"/>
                    </a:lnTo>
                    <a:lnTo>
                      <a:pt x="1932" y="348"/>
                    </a:lnTo>
                    <a:lnTo>
                      <a:pt x="1908" y="331"/>
                    </a:lnTo>
                    <a:lnTo>
                      <a:pt x="1889" y="313"/>
                    </a:lnTo>
                    <a:lnTo>
                      <a:pt x="1872" y="300"/>
                    </a:lnTo>
                    <a:lnTo>
                      <a:pt x="1858" y="288"/>
                    </a:lnTo>
                    <a:lnTo>
                      <a:pt x="1846" y="279"/>
                    </a:lnTo>
                    <a:lnTo>
                      <a:pt x="1832" y="270"/>
                    </a:lnTo>
                    <a:lnTo>
                      <a:pt x="1818" y="262"/>
                    </a:lnTo>
                    <a:lnTo>
                      <a:pt x="1803" y="254"/>
                    </a:lnTo>
                    <a:lnTo>
                      <a:pt x="1765" y="235"/>
                    </a:lnTo>
                    <a:lnTo>
                      <a:pt x="1725" y="222"/>
                    </a:lnTo>
                    <a:lnTo>
                      <a:pt x="1684" y="214"/>
                    </a:lnTo>
                    <a:lnTo>
                      <a:pt x="1639" y="209"/>
                    </a:lnTo>
                    <a:lnTo>
                      <a:pt x="1594" y="210"/>
                    </a:lnTo>
                    <a:lnTo>
                      <a:pt x="1548" y="217"/>
                    </a:lnTo>
                    <a:lnTo>
                      <a:pt x="1504" y="230"/>
                    </a:lnTo>
                    <a:lnTo>
                      <a:pt x="1461" y="251"/>
                    </a:lnTo>
                    <a:lnTo>
                      <a:pt x="1436" y="267"/>
                    </a:lnTo>
                    <a:lnTo>
                      <a:pt x="1412" y="285"/>
                    </a:lnTo>
                    <a:lnTo>
                      <a:pt x="1399" y="294"/>
                    </a:lnTo>
                    <a:lnTo>
                      <a:pt x="1388" y="304"/>
                    </a:lnTo>
                    <a:lnTo>
                      <a:pt x="1384" y="308"/>
                    </a:lnTo>
                    <a:lnTo>
                      <a:pt x="1380" y="312"/>
                    </a:lnTo>
                    <a:lnTo>
                      <a:pt x="1373" y="319"/>
                    </a:lnTo>
                    <a:lnTo>
                      <a:pt x="1364" y="327"/>
                    </a:lnTo>
                    <a:lnTo>
                      <a:pt x="1353" y="337"/>
                    </a:lnTo>
                    <a:lnTo>
                      <a:pt x="1327" y="353"/>
                    </a:lnTo>
                    <a:lnTo>
                      <a:pt x="1300" y="365"/>
                    </a:lnTo>
                    <a:lnTo>
                      <a:pt x="1272" y="372"/>
                    </a:lnTo>
                    <a:lnTo>
                      <a:pt x="1242" y="373"/>
                    </a:lnTo>
                    <a:lnTo>
                      <a:pt x="1212" y="369"/>
                    </a:lnTo>
                    <a:lnTo>
                      <a:pt x="1198" y="366"/>
                    </a:lnTo>
                    <a:lnTo>
                      <a:pt x="1184" y="360"/>
                    </a:lnTo>
                    <a:lnTo>
                      <a:pt x="1170" y="353"/>
                    </a:lnTo>
                    <a:lnTo>
                      <a:pt x="1159" y="348"/>
                    </a:lnTo>
                    <a:lnTo>
                      <a:pt x="1152" y="343"/>
                    </a:lnTo>
                    <a:lnTo>
                      <a:pt x="1126" y="328"/>
                    </a:lnTo>
                    <a:lnTo>
                      <a:pt x="1088" y="310"/>
                    </a:lnTo>
                    <a:lnTo>
                      <a:pt x="1050" y="296"/>
                    </a:lnTo>
                    <a:lnTo>
                      <a:pt x="1010" y="288"/>
                    </a:lnTo>
                    <a:lnTo>
                      <a:pt x="969" y="285"/>
                    </a:lnTo>
                    <a:lnTo>
                      <a:pt x="927" y="286"/>
                    </a:lnTo>
                    <a:lnTo>
                      <a:pt x="886" y="292"/>
                    </a:lnTo>
                    <a:lnTo>
                      <a:pt x="845" y="303"/>
                    </a:lnTo>
                    <a:lnTo>
                      <a:pt x="805" y="318"/>
                    </a:lnTo>
                    <a:lnTo>
                      <a:pt x="766" y="337"/>
                    </a:lnTo>
                    <a:lnTo>
                      <a:pt x="730" y="362"/>
                    </a:lnTo>
                    <a:lnTo>
                      <a:pt x="697" y="391"/>
                    </a:lnTo>
                    <a:lnTo>
                      <a:pt x="666" y="424"/>
                    </a:lnTo>
                    <a:lnTo>
                      <a:pt x="639" y="459"/>
                    </a:lnTo>
                    <a:lnTo>
                      <a:pt x="615" y="497"/>
                    </a:lnTo>
                    <a:lnTo>
                      <a:pt x="594" y="538"/>
                    </a:lnTo>
                    <a:lnTo>
                      <a:pt x="587" y="554"/>
                    </a:lnTo>
                    <a:lnTo>
                      <a:pt x="581" y="570"/>
                    </a:lnTo>
                    <a:lnTo>
                      <a:pt x="575" y="586"/>
                    </a:lnTo>
                    <a:lnTo>
                      <a:pt x="569" y="605"/>
                    </a:lnTo>
                    <a:lnTo>
                      <a:pt x="560" y="626"/>
                    </a:lnTo>
                    <a:lnTo>
                      <a:pt x="545" y="643"/>
                    </a:lnTo>
                    <a:lnTo>
                      <a:pt x="527" y="656"/>
                    </a:lnTo>
                    <a:lnTo>
                      <a:pt x="507" y="666"/>
                    </a:lnTo>
                    <a:lnTo>
                      <a:pt x="483" y="669"/>
                    </a:lnTo>
                    <a:lnTo>
                      <a:pt x="459" y="666"/>
                    </a:lnTo>
                    <a:lnTo>
                      <a:pt x="443" y="658"/>
                    </a:lnTo>
                    <a:lnTo>
                      <a:pt x="430" y="652"/>
                    </a:lnTo>
                    <a:lnTo>
                      <a:pt x="421" y="646"/>
                    </a:lnTo>
                    <a:lnTo>
                      <a:pt x="413" y="642"/>
                    </a:lnTo>
                    <a:lnTo>
                      <a:pt x="406" y="637"/>
                    </a:lnTo>
                    <a:lnTo>
                      <a:pt x="399" y="634"/>
                    </a:lnTo>
                    <a:lnTo>
                      <a:pt x="389" y="629"/>
                    </a:lnTo>
                    <a:lnTo>
                      <a:pt x="358" y="618"/>
                    </a:lnTo>
                    <a:lnTo>
                      <a:pt x="327" y="612"/>
                    </a:lnTo>
                    <a:lnTo>
                      <a:pt x="294" y="610"/>
                    </a:lnTo>
                    <a:lnTo>
                      <a:pt x="261" y="612"/>
                    </a:lnTo>
                    <a:lnTo>
                      <a:pt x="228" y="619"/>
                    </a:lnTo>
                    <a:lnTo>
                      <a:pt x="196" y="630"/>
                    </a:lnTo>
                    <a:lnTo>
                      <a:pt x="162" y="648"/>
                    </a:lnTo>
                    <a:lnTo>
                      <a:pt x="130" y="671"/>
                    </a:lnTo>
                    <a:lnTo>
                      <a:pt x="101" y="699"/>
                    </a:lnTo>
                    <a:lnTo>
                      <a:pt x="77" y="729"/>
                    </a:lnTo>
                    <a:lnTo>
                      <a:pt x="58" y="764"/>
                    </a:lnTo>
                    <a:lnTo>
                      <a:pt x="42" y="800"/>
                    </a:lnTo>
                    <a:lnTo>
                      <a:pt x="31" y="839"/>
                    </a:lnTo>
                    <a:lnTo>
                      <a:pt x="23" y="879"/>
                    </a:lnTo>
                    <a:lnTo>
                      <a:pt x="20" y="920"/>
                    </a:lnTo>
                    <a:lnTo>
                      <a:pt x="23" y="961"/>
                    </a:lnTo>
                    <a:lnTo>
                      <a:pt x="29" y="1002"/>
                    </a:lnTo>
                    <a:lnTo>
                      <a:pt x="42" y="1040"/>
                    </a:lnTo>
                    <a:lnTo>
                      <a:pt x="59" y="1079"/>
                    </a:lnTo>
                    <a:lnTo>
                      <a:pt x="59" y="1080"/>
                    </a:lnTo>
                    <a:lnTo>
                      <a:pt x="59" y="1081"/>
                    </a:lnTo>
                    <a:lnTo>
                      <a:pt x="58" y="1081"/>
                    </a:lnTo>
                    <a:lnTo>
                      <a:pt x="56" y="1081"/>
                    </a:lnTo>
                    <a:lnTo>
                      <a:pt x="54" y="1080"/>
                    </a:lnTo>
                    <a:lnTo>
                      <a:pt x="35" y="1046"/>
                    </a:lnTo>
                    <a:lnTo>
                      <a:pt x="20" y="1010"/>
                    </a:lnTo>
                    <a:lnTo>
                      <a:pt x="9" y="972"/>
                    </a:lnTo>
                    <a:lnTo>
                      <a:pt x="2" y="932"/>
                    </a:lnTo>
                    <a:lnTo>
                      <a:pt x="0" y="892"/>
                    </a:lnTo>
                    <a:lnTo>
                      <a:pt x="1" y="852"/>
                    </a:lnTo>
                    <a:lnTo>
                      <a:pt x="8" y="811"/>
                    </a:lnTo>
                    <a:lnTo>
                      <a:pt x="18" y="773"/>
                    </a:lnTo>
                    <a:lnTo>
                      <a:pt x="32" y="735"/>
                    </a:lnTo>
                    <a:lnTo>
                      <a:pt x="51" y="699"/>
                    </a:lnTo>
                    <a:lnTo>
                      <a:pt x="75" y="664"/>
                    </a:lnTo>
                    <a:lnTo>
                      <a:pt x="102" y="634"/>
                    </a:lnTo>
                    <a:lnTo>
                      <a:pt x="134" y="606"/>
                    </a:lnTo>
                    <a:lnTo>
                      <a:pt x="171" y="584"/>
                    </a:lnTo>
                    <a:lnTo>
                      <a:pt x="199" y="568"/>
                    </a:lnTo>
                    <a:lnTo>
                      <a:pt x="230" y="557"/>
                    </a:lnTo>
                    <a:lnTo>
                      <a:pt x="263" y="549"/>
                    </a:lnTo>
                    <a:lnTo>
                      <a:pt x="296" y="546"/>
                    </a:lnTo>
                    <a:lnTo>
                      <a:pt x="329" y="546"/>
                    </a:lnTo>
                    <a:lnTo>
                      <a:pt x="362" y="549"/>
                    </a:lnTo>
                    <a:lnTo>
                      <a:pt x="395" y="555"/>
                    </a:lnTo>
                    <a:lnTo>
                      <a:pt x="425" y="563"/>
                    </a:lnTo>
                    <a:lnTo>
                      <a:pt x="453" y="574"/>
                    </a:lnTo>
                    <a:lnTo>
                      <a:pt x="462" y="577"/>
                    </a:lnTo>
                    <a:lnTo>
                      <a:pt x="471" y="578"/>
                    </a:lnTo>
                    <a:lnTo>
                      <a:pt x="479" y="576"/>
                    </a:lnTo>
                    <a:lnTo>
                      <a:pt x="486" y="570"/>
                    </a:lnTo>
                    <a:lnTo>
                      <a:pt x="491" y="563"/>
                    </a:lnTo>
                    <a:lnTo>
                      <a:pt x="495" y="544"/>
                    </a:lnTo>
                    <a:lnTo>
                      <a:pt x="500" y="524"/>
                    </a:lnTo>
                    <a:lnTo>
                      <a:pt x="507" y="506"/>
                    </a:lnTo>
                    <a:lnTo>
                      <a:pt x="526" y="456"/>
                    </a:lnTo>
                    <a:lnTo>
                      <a:pt x="551" y="407"/>
                    </a:lnTo>
                    <a:lnTo>
                      <a:pt x="581" y="360"/>
                    </a:lnTo>
                    <a:lnTo>
                      <a:pt x="610" y="319"/>
                    </a:lnTo>
                    <a:lnTo>
                      <a:pt x="645" y="282"/>
                    </a:lnTo>
                    <a:lnTo>
                      <a:pt x="685" y="249"/>
                    </a:lnTo>
                    <a:lnTo>
                      <a:pt x="729" y="219"/>
                    </a:lnTo>
                    <a:lnTo>
                      <a:pt x="774" y="194"/>
                    </a:lnTo>
                    <a:lnTo>
                      <a:pt x="823" y="173"/>
                    </a:lnTo>
                    <a:lnTo>
                      <a:pt x="873" y="157"/>
                    </a:lnTo>
                    <a:lnTo>
                      <a:pt x="926" y="147"/>
                    </a:lnTo>
                    <a:lnTo>
                      <a:pt x="979" y="141"/>
                    </a:lnTo>
                    <a:lnTo>
                      <a:pt x="1033" y="143"/>
                    </a:lnTo>
                    <a:lnTo>
                      <a:pt x="1086" y="149"/>
                    </a:lnTo>
                    <a:lnTo>
                      <a:pt x="1138" y="162"/>
                    </a:lnTo>
                    <a:lnTo>
                      <a:pt x="1190" y="181"/>
                    </a:lnTo>
                    <a:lnTo>
                      <a:pt x="1209" y="190"/>
                    </a:lnTo>
                    <a:lnTo>
                      <a:pt x="1224" y="197"/>
                    </a:lnTo>
                    <a:lnTo>
                      <a:pt x="1233" y="202"/>
                    </a:lnTo>
                    <a:lnTo>
                      <a:pt x="1240" y="204"/>
                    </a:lnTo>
                    <a:lnTo>
                      <a:pt x="1243" y="205"/>
                    </a:lnTo>
                    <a:lnTo>
                      <a:pt x="1244" y="205"/>
                    </a:lnTo>
                    <a:lnTo>
                      <a:pt x="1244" y="205"/>
                    </a:lnTo>
                    <a:lnTo>
                      <a:pt x="1243" y="204"/>
                    </a:lnTo>
                    <a:lnTo>
                      <a:pt x="1243" y="203"/>
                    </a:lnTo>
                    <a:lnTo>
                      <a:pt x="1242" y="203"/>
                    </a:lnTo>
                    <a:lnTo>
                      <a:pt x="1243" y="202"/>
                    </a:lnTo>
                    <a:lnTo>
                      <a:pt x="1243" y="202"/>
                    </a:lnTo>
                    <a:lnTo>
                      <a:pt x="1247" y="197"/>
                    </a:lnTo>
                    <a:lnTo>
                      <a:pt x="1253" y="189"/>
                    </a:lnTo>
                    <a:lnTo>
                      <a:pt x="1263" y="180"/>
                    </a:lnTo>
                    <a:lnTo>
                      <a:pt x="1272" y="171"/>
                    </a:lnTo>
                    <a:lnTo>
                      <a:pt x="1281" y="161"/>
                    </a:lnTo>
                    <a:lnTo>
                      <a:pt x="1288" y="154"/>
                    </a:lnTo>
                    <a:lnTo>
                      <a:pt x="1321" y="123"/>
                    </a:lnTo>
                    <a:lnTo>
                      <a:pt x="1357" y="97"/>
                    </a:lnTo>
                    <a:lnTo>
                      <a:pt x="1400" y="69"/>
                    </a:lnTo>
                    <a:lnTo>
                      <a:pt x="1447" y="46"/>
                    </a:lnTo>
                    <a:lnTo>
                      <a:pt x="1496" y="26"/>
                    </a:lnTo>
                    <a:lnTo>
                      <a:pt x="1546" y="13"/>
                    </a:lnTo>
                    <a:lnTo>
                      <a:pt x="1598" y="4"/>
                    </a:lnTo>
                    <a:lnTo>
                      <a:pt x="1652" y="0"/>
                    </a:lnTo>
                    <a:close/>
                  </a:path>
                </a:pathLst>
              </a:custGeom>
              <a:solidFill>
                <a:schemeClr val="tx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07972" tIns="107972" rIns="107972" bIns="107972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eaLnBrk="0" fontAlgn="base" hangingPunct="0">
                  <a:spcAft>
                    <a:spcPct val="0"/>
                  </a:spcAft>
                  <a:defRPr/>
                </a:pPr>
                <a:endParaRPr lang="de-DE" sz="1200" dirty="0">
                  <a:solidFill>
                    <a:srgbClr val="3B3B3B"/>
                  </a:solidFill>
                  <a:latin typeface="EnBW DIN Pro"/>
                </a:endParaRPr>
              </a:p>
            </p:txBody>
          </p:sp>
          <p:sp>
            <p:nvSpPr>
              <p:cNvPr id="235" name="Freeform 268">
                <a:extLst>
                  <a:ext uri="{FF2B5EF4-FFF2-40B4-BE49-F238E27FC236}">
                    <a16:creationId xmlns:a16="http://schemas.microsoft.com/office/drawing/2014/main" id="{6F685B78-8B0E-43A4-A52D-1917FA2CD95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33032" y="2782274"/>
                <a:ext cx="184727" cy="33194"/>
              </a:xfrm>
              <a:custGeom>
                <a:avLst/>
                <a:gdLst>
                  <a:gd name="T0" fmla="*/ 1011 w 1024"/>
                  <a:gd name="T1" fmla="*/ 0 h 180"/>
                  <a:gd name="T2" fmla="*/ 1017 w 1024"/>
                  <a:gd name="T3" fmla="*/ 2 h 180"/>
                  <a:gd name="T4" fmla="*/ 1023 w 1024"/>
                  <a:gd name="T5" fmla="*/ 8 h 180"/>
                  <a:gd name="T6" fmla="*/ 1024 w 1024"/>
                  <a:gd name="T7" fmla="*/ 14 h 180"/>
                  <a:gd name="T8" fmla="*/ 1022 w 1024"/>
                  <a:gd name="T9" fmla="*/ 21 h 180"/>
                  <a:gd name="T10" fmla="*/ 994 w 1024"/>
                  <a:gd name="T11" fmla="*/ 53 h 180"/>
                  <a:gd name="T12" fmla="*/ 964 w 1024"/>
                  <a:gd name="T13" fmla="*/ 82 h 180"/>
                  <a:gd name="T14" fmla="*/ 931 w 1024"/>
                  <a:gd name="T15" fmla="*/ 105 h 180"/>
                  <a:gd name="T16" fmla="*/ 895 w 1024"/>
                  <a:gd name="T17" fmla="*/ 126 h 180"/>
                  <a:gd name="T18" fmla="*/ 858 w 1024"/>
                  <a:gd name="T19" fmla="*/ 143 h 180"/>
                  <a:gd name="T20" fmla="*/ 819 w 1024"/>
                  <a:gd name="T21" fmla="*/ 156 h 180"/>
                  <a:gd name="T22" fmla="*/ 780 w 1024"/>
                  <a:gd name="T23" fmla="*/ 164 h 180"/>
                  <a:gd name="T24" fmla="*/ 739 w 1024"/>
                  <a:gd name="T25" fmla="*/ 169 h 180"/>
                  <a:gd name="T26" fmla="*/ 698 w 1024"/>
                  <a:gd name="T27" fmla="*/ 169 h 180"/>
                  <a:gd name="T28" fmla="*/ 657 w 1024"/>
                  <a:gd name="T29" fmla="*/ 165 h 180"/>
                  <a:gd name="T30" fmla="*/ 617 w 1024"/>
                  <a:gd name="T31" fmla="*/ 156 h 180"/>
                  <a:gd name="T32" fmla="*/ 580 w 1024"/>
                  <a:gd name="T33" fmla="*/ 145 h 180"/>
                  <a:gd name="T34" fmla="*/ 545 w 1024"/>
                  <a:gd name="T35" fmla="*/ 133 h 180"/>
                  <a:gd name="T36" fmla="*/ 514 w 1024"/>
                  <a:gd name="T37" fmla="*/ 121 h 180"/>
                  <a:gd name="T38" fmla="*/ 486 w 1024"/>
                  <a:gd name="T39" fmla="*/ 111 h 180"/>
                  <a:gd name="T40" fmla="*/ 442 w 1024"/>
                  <a:gd name="T41" fmla="*/ 101 h 180"/>
                  <a:gd name="T42" fmla="*/ 395 w 1024"/>
                  <a:gd name="T43" fmla="*/ 92 h 180"/>
                  <a:gd name="T44" fmla="*/ 348 w 1024"/>
                  <a:gd name="T45" fmla="*/ 87 h 180"/>
                  <a:gd name="T46" fmla="*/ 299 w 1024"/>
                  <a:gd name="T47" fmla="*/ 86 h 180"/>
                  <a:gd name="T48" fmla="*/ 249 w 1024"/>
                  <a:gd name="T49" fmla="*/ 88 h 180"/>
                  <a:gd name="T50" fmla="*/ 198 w 1024"/>
                  <a:gd name="T51" fmla="*/ 96 h 180"/>
                  <a:gd name="T52" fmla="*/ 148 w 1024"/>
                  <a:gd name="T53" fmla="*/ 109 h 180"/>
                  <a:gd name="T54" fmla="*/ 99 w 1024"/>
                  <a:gd name="T55" fmla="*/ 126 h 180"/>
                  <a:gd name="T56" fmla="*/ 52 w 1024"/>
                  <a:gd name="T57" fmla="*/ 150 h 180"/>
                  <a:gd name="T58" fmla="*/ 4 w 1024"/>
                  <a:gd name="T59" fmla="*/ 180 h 180"/>
                  <a:gd name="T60" fmla="*/ 3 w 1024"/>
                  <a:gd name="T61" fmla="*/ 180 h 180"/>
                  <a:gd name="T62" fmla="*/ 1 w 1024"/>
                  <a:gd name="T63" fmla="*/ 180 h 180"/>
                  <a:gd name="T64" fmla="*/ 0 w 1024"/>
                  <a:gd name="T65" fmla="*/ 178 h 180"/>
                  <a:gd name="T66" fmla="*/ 0 w 1024"/>
                  <a:gd name="T67" fmla="*/ 176 h 180"/>
                  <a:gd name="T68" fmla="*/ 1 w 1024"/>
                  <a:gd name="T69" fmla="*/ 175 h 180"/>
                  <a:gd name="T70" fmla="*/ 49 w 1024"/>
                  <a:gd name="T71" fmla="*/ 134 h 180"/>
                  <a:gd name="T72" fmla="*/ 99 w 1024"/>
                  <a:gd name="T73" fmla="*/ 99 h 180"/>
                  <a:gd name="T74" fmla="*/ 153 w 1024"/>
                  <a:gd name="T75" fmla="*/ 69 h 180"/>
                  <a:gd name="T76" fmla="*/ 209 w 1024"/>
                  <a:gd name="T77" fmla="*/ 44 h 180"/>
                  <a:gd name="T78" fmla="*/ 267 w 1024"/>
                  <a:gd name="T79" fmla="*/ 25 h 180"/>
                  <a:gd name="T80" fmla="*/ 325 w 1024"/>
                  <a:gd name="T81" fmla="*/ 11 h 180"/>
                  <a:gd name="T82" fmla="*/ 385 w 1024"/>
                  <a:gd name="T83" fmla="*/ 3 h 180"/>
                  <a:gd name="T84" fmla="*/ 447 w 1024"/>
                  <a:gd name="T85" fmla="*/ 1 h 180"/>
                  <a:gd name="T86" fmla="*/ 508 w 1024"/>
                  <a:gd name="T87" fmla="*/ 5 h 180"/>
                  <a:gd name="T88" fmla="*/ 553 w 1024"/>
                  <a:gd name="T89" fmla="*/ 15 h 180"/>
                  <a:gd name="T90" fmla="*/ 592 w 1024"/>
                  <a:gd name="T91" fmla="*/ 26 h 180"/>
                  <a:gd name="T92" fmla="*/ 629 w 1024"/>
                  <a:gd name="T93" fmla="*/ 35 h 180"/>
                  <a:gd name="T94" fmla="*/ 663 w 1024"/>
                  <a:gd name="T95" fmla="*/ 43 h 180"/>
                  <a:gd name="T96" fmla="*/ 697 w 1024"/>
                  <a:gd name="T97" fmla="*/ 50 h 180"/>
                  <a:gd name="T98" fmla="*/ 731 w 1024"/>
                  <a:gd name="T99" fmla="*/ 53 h 180"/>
                  <a:gd name="T100" fmla="*/ 769 w 1024"/>
                  <a:gd name="T101" fmla="*/ 53 h 180"/>
                  <a:gd name="T102" fmla="*/ 813 w 1024"/>
                  <a:gd name="T103" fmla="*/ 51 h 180"/>
                  <a:gd name="T104" fmla="*/ 859 w 1024"/>
                  <a:gd name="T105" fmla="*/ 45 h 180"/>
                  <a:gd name="T106" fmla="*/ 906 w 1024"/>
                  <a:gd name="T107" fmla="*/ 36 h 180"/>
                  <a:gd name="T108" fmla="*/ 954 w 1024"/>
                  <a:gd name="T109" fmla="*/ 21 h 180"/>
                  <a:gd name="T110" fmla="*/ 1003 w 1024"/>
                  <a:gd name="T111" fmla="*/ 1 h 180"/>
                  <a:gd name="T112" fmla="*/ 1011 w 1024"/>
                  <a:gd name="T113" fmla="*/ 0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024" h="180">
                    <a:moveTo>
                      <a:pt x="1011" y="0"/>
                    </a:moveTo>
                    <a:lnTo>
                      <a:pt x="1017" y="2"/>
                    </a:lnTo>
                    <a:lnTo>
                      <a:pt x="1023" y="8"/>
                    </a:lnTo>
                    <a:lnTo>
                      <a:pt x="1024" y="14"/>
                    </a:lnTo>
                    <a:lnTo>
                      <a:pt x="1022" y="21"/>
                    </a:lnTo>
                    <a:lnTo>
                      <a:pt x="994" y="53"/>
                    </a:lnTo>
                    <a:lnTo>
                      <a:pt x="964" y="82"/>
                    </a:lnTo>
                    <a:lnTo>
                      <a:pt x="931" y="105"/>
                    </a:lnTo>
                    <a:lnTo>
                      <a:pt x="895" y="126"/>
                    </a:lnTo>
                    <a:lnTo>
                      <a:pt x="858" y="143"/>
                    </a:lnTo>
                    <a:lnTo>
                      <a:pt x="819" y="156"/>
                    </a:lnTo>
                    <a:lnTo>
                      <a:pt x="780" y="164"/>
                    </a:lnTo>
                    <a:lnTo>
                      <a:pt x="739" y="169"/>
                    </a:lnTo>
                    <a:lnTo>
                      <a:pt x="698" y="169"/>
                    </a:lnTo>
                    <a:lnTo>
                      <a:pt x="657" y="165"/>
                    </a:lnTo>
                    <a:lnTo>
                      <a:pt x="617" y="156"/>
                    </a:lnTo>
                    <a:lnTo>
                      <a:pt x="580" y="145"/>
                    </a:lnTo>
                    <a:lnTo>
                      <a:pt x="545" y="133"/>
                    </a:lnTo>
                    <a:lnTo>
                      <a:pt x="514" y="121"/>
                    </a:lnTo>
                    <a:lnTo>
                      <a:pt x="486" y="111"/>
                    </a:lnTo>
                    <a:lnTo>
                      <a:pt x="442" y="101"/>
                    </a:lnTo>
                    <a:lnTo>
                      <a:pt x="395" y="92"/>
                    </a:lnTo>
                    <a:lnTo>
                      <a:pt x="348" y="87"/>
                    </a:lnTo>
                    <a:lnTo>
                      <a:pt x="299" y="86"/>
                    </a:lnTo>
                    <a:lnTo>
                      <a:pt x="249" y="88"/>
                    </a:lnTo>
                    <a:lnTo>
                      <a:pt x="198" y="96"/>
                    </a:lnTo>
                    <a:lnTo>
                      <a:pt x="148" y="109"/>
                    </a:lnTo>
                    <a:lnTo>
                      <a:pt x="99" y="126"/>
                    </a:lnTo>
                    <a:lnTo>
                      <a:pt x="52" y="150"/>
                    </a:lnTo>
                    <a:lnTo>
                      <a:pt x="4" y="180"/>
                    </a:lnTo>
                    <a:lnTo>
                      <a:pt x="3" y="180"/>
                    </a:lnTo>
                    <a:lnTo>
                      <a:pt x="1" y="180"/>
                    </a:lnTo>
                    <a:lnTo>
                      <a:pt x="0" y="178"/>
                    </a:lnTo>
                    <a:lnTo>
                      <a:pt x="0" y="176"/>
                    </a:lnTo>
                    <a:lnTo>
                      <a:pt x="1" y="175"/>
                    </a:lnTo>
                    <a:lnTo>
                      <a:pt x="49" y="134"/>
                    </a:lnTo>
                    <a:lnTo>
                      <a:pt x="99" y="99"/>
                    </a:lnTo>
                    <a:lnTo>
                      <a:pt x="153" y="69"/>
                    </a:lnTo>
                    <a:lnTo>
                      <a:pt x="209" y="44"/>
                    </a:lnTo>
                    <a:lnTo>
                      <a:pt x="267" y="25"/>
                    </a:lnTo>
                    <a:lnTo>
                      <a:pt x="325" y="11"/>
                    </a:lnTo>
                    <a:lnTo>
                      <a:pt x="385" y="3"/>
                    </a:lnTo>
                    <a:lnTo>
                      <a:pt x="447" y="1"/>
                    </a:lnTo>
                    <a:lnTo>
                      <a:pt x="508" y="5"/>
                    </a:lnTo>
                    <a:lnTo>
                      <a:pt x="553" y="15"/>
                    </a:lnTo>
                    <a:lnTo>
                      <a:pt x="592" y="26"/>
                    </a:lnTo>
                    <a:lnTo>
                      <a:pt x="629" y="35"/>
                    </a:lnTo>
                    <a:lnTo>
                      <a:pt x="663" y="43"/>
                    </a:lnTo>
                    <a:lnTo>
                      <a:pt x="697" y="50"/>
                    </a:lnTo>
                    <a:lnTo>
                      <a:pt x="731" y="53"/>
                    </a:lnTo>
                    <a:lnTo>
                      <a:pt x="769" y="53"/>
                    </a:lnTo>
                    <a:lnTo>
                      <a:pt x="813" y="51"/>
                    </a:lnTo>
                    <a:lnTo>
                      <a:pt x="859" y="45"/>
                    </a:lnTo>
                    <a:lnTo>
                      <a:pt x="906" y="36"/>
                    </a:lnTo>
                    <a:lnTo>
                      <a:pt x="954" y="21"/>
                    </a:lnTo>
                    <a:lnTo>
                      <a:pt x="1003" y="1"/>
                    </a:lnTo>
                    <a:lnTo>
                      <a:pt x="1011" y="0"/>
                    </a:lnTo>
                    <a:close/>
                  </a:path>
                </a:pathLst>
              </a:custGeom>
              <a:solidFill>
                <a:schemeClr val="tx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07972" tIns="107972" rIns="107972" bIns="107972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eaLnBrk="0" fontAlgn="base" hangingPunct="0">
                  <a:spcAft>
                    <a:spcPct val="0"/>
                  </a:spcAft>
                  <a:defRPr/>
                </a:pPr>
                <a:endParaRPr lang="de-DE" sz="1200" dirty="0">
                  <a:solidFill>
                    <a:srgbClr val="3B3B3B"/>
                  </a:solidFill>
                  <a:latin typeface="EnBW DIN Pro"/>
                </a:endParaRPr>
              </a:p>
            </p:txBody>
          </p:sp>
          <p:sp>
            <p:nvSpPr>
              <p:cNvPr id="236" name="Freeform 269">
                <a:extLst>
                  <a:ext uri="{FF2B5EF4-FFF2-40B4-BE49-F238E27FC236}">
                    <a16:creationId xmlns:a16="http://schemas.microsoft.com/office/drawing/2014/main" id="{239F707E-1CF7-4CA5-927C-2E805B25431E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804589" y="2852990"/>
                <a:ext cx="285750" cy="258330"/>
              </a:xfrm>
              <a:custGeom>
                <a:avLst/>
                <a:gdLst>
                  <a:gd name="T0" fmla="*/ 741 w 1580"/>
                  <a:gd name="T1" fmla="*/ 366 h 1436"/>
                  <a:gd name="T2" fmla="*/ 651 w 1580"/>
                  <a:gd name="T3" fmla="*/ 390 h 1436"/>
                  <a:gd name="T4" fmla="*/ 573 w 1580"/>
                  <a:gd name="T5" fmla="*/ 437 h 1436"/>
                  <a:gd name="T6" fmla="*/ 508 w 1580"/>
                  <a:gd name="T7" fmla="*/ 501 h 1436"/>
                  <a:gd name="T8" fmla="*/ 462 w 1580"/>
                  <a:gd name="T9" fmla="*/ 580 h 1436"/>
                  <a:gd name="T10" fmla="*/ 437 w 1580"/>
                  <a:gd name="T11" fmla="*/ 670 h 1436"/>
                  <a:gd name="T12" fmla="*/ 437 w 1580"/>
                  <a:gd name="T13" fmla="*/ 767 h 1436"/>
                  <a:gd name="T14" fmla="*/ 462 w 1580"/>
                  <a:gd name="T15" fmla="*/ 857 h 1436"/>
                  <a:gd name="T16" fmla="*/ 508 w 1580"/>
                  <a:gd name="T17" fmla="*/ 936 h 1436"/>
                  <a:gd name="T18" fmla="*/ 573 w 1580"/>
                  <a:gd name="T19" fmla="*/ 1000 h 1436"/>
                  <a:gd name="T20" fmla="*/ 651 w 1580"/>
                  <a:gd name="T21" fmla="*/ 1046 h 1436"/>
                  <a:gd name="T22" fmla="*/ 741 w 1580"/>
                  <a:gd name="T23" fmla="*/ 1071 h 1436"/>
                  <a:gd name="T24" fmla="*/ 838 w 1580"/>
                  <a:gd name="T25" fmla="*/ 1071 h 1436"/>
                  <a:gd name="T26" fmla="*/ 928 w 1580"/>
                  <a:gd name="T27" fmla="*/ 1046 h 1436"/>
                  <a:gd name="T28" fmla="*/ 1008 w 1580"/>
                  <a:gd name="T29" fmla="*/ 1000 h 1436"/>
                  <a:gd name="T30" fmla="*/ 1071 w 1580"/>
                  <a:gd name="T31" fmla="*/ 936 h 1436"/>
                  <a:gd name="T32" fmla="*/ 1118 w 1580"/>
                  <a:gd name="T33" fmla="*/ 857 h 1436"/>
                  <a:gd name="T34" fmla="*/ 1142 w 1580"/>
                  <a:gd name="T35" fmla="*/ 767 h 1436"/>
                  <a:gd name="T36" fmla="*/ 1142 w 1580"/>
                  <a:gd name="T37" fmla="*/ 670 h 1436"/>
                  <a:gd name="T38" fmla="*/ 1118 w 1580"/>
                  <a:gd name="T39" fmla="*/ 580 h 1436"/>
                  <a:gd name="T40" fmla="*/ 1071 w 1580"/>
                  <a:gd name="T41" fmla="*/ 501 h 1436"/>
                  <a:gd name="T42" fmla="*/ 1008 w 1580"/>
                  <a:gd name="T43" fmla="*/ 437 h 1436"/>
                  <a:gd name="T44" fmla="*/ 928 w 1580"/>
                  <a:gd name="T45" fmla="*/ 390 h 1436"/>
                  <a:gd name="T46" fmla="*/ 838 w 1580"/>
                  <a:gd name="T47" fmla="*/ 366 h 1436"/>
                  <a:gd name="T48" fmla="*/ 241 w 1580"/>
                  <a:gd name="T49" fmla="*/ 0 h 1436"/>
                  <a:gd name="T50" fmla="*/ 790 w 1580"/>
                  <a:gd name="T51" fmla="*/ 12 h 1436"/>
                  <a:gd name="T52" fmla="*/ 1338 w 1580"/>
                  <a:gd name="T53" fmla="*/ 0 h 1436"/>
                  <a:gd name="T54" fmla="*/ 1347 w 1580"/>
                  <a:gd name="T55" fmla="*/ 4 h 1436"/>
                  <a:gd name="T56" fmla="*/ 1353 w 1580"/>
                  <a:gd name="T57" fmla="*/ 11 h 1436"/>
                  <a:gd name="T58" fmla="*/ 1358 w 1580"/>
                  <a:gd name="T59" fmla="*/ 185 h 1436"/>
                  <a:gd name="T60" fmla="*/ 1388 w 1580"/>
                  <a:gd name="T61" fmla="*/ 524 h 1436"/>
                  <a:gd name="T62" fmla="*/ 1444 w 1580"/>
                  <a:gd name="T63" fmla="*/ 859 h 1436"/>
                  <a:gd name="T64" fmla="*/ 1579 w 1580"/>
                  <a:gd name="T65" fmla="*/ 1421 h 1436"/>
                  <a:gd name="T66" fmla="*/ 1578 w 1580"/>
                  <a:gd name="T67" fmla="*/ 1430 h 1436"/>
                  <a:gd name="T68" fmla="*/ 1572 w 1580"/>
                  <a:gd name="T69" fmla="*/ 1436 h 1436"/>
                  <a:gd name="T70" fmla="*/ 11 w 1580"/>
                  <a:gd name="T71" fmla="*/ 1436 h 1436"/>
                  <a:gd name="T72" fmla="*/ 3 w 1580"/>
                  <a:gd name="T73" fmla="*/ 1434 h 1436"/>
                  <a:gd name="T74" fmla="*/ 0 w 1580"/>
                  <a:gd name="T75" fmla="*/ 1426 h 1436"/>
                  <a:gd name="T76" fmla="*/ 98 w 1580"/>
                  <a:gd name="T77" fmla="*/ 1026 h 1436"/>
                  <a:gd name="T78" fmla="*/ 166 w 1580"/>
                  <a:gd name="T79" fmla="*/ 693 h 1436"/>
                  <a:gd name="T80" fmla="*/ 209 w 1580"/>
                  <a:gd name="T81" fmla="*/ 355 h 1436"/>
                  <a:gd name="T82" fmla="*/ 227 w 1580"/>
                  <a:gd name="T83" fmla="*/ 15 h 1436"/>
                  <a:gd name="T84" fmla="*/ 230 w 1580"/>
                  <a:gd name="T85" fmla="*/ 6 h 1436"/>
                  <a:gd name="T86" fmla="*/ 237 w 1580"/>
                  <a:gd name="T87" fmla="*/ 1 h 14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580" h="1436">
                    <a:moveTo>
                      <a:pt x="790" y="363"/>
                    </a:moveTo>
                    <a:lnTo>
                      <a:pt x="741" y="366"/>
                    </a:lnTo>
                    <a:lnTo>
                      <a:pt x="696" y="375"/>
                    </a:lnTo>
                    <a:lnTo>
                      <a:pt x="651" y="390"/>
                    </a:lnTo>
                    <a:lnTo>
                      <a:pt x="610" y="412"/>
                    </a:lnTo>
                    <a:lnTo>
                      <a:pt x="573" y="437"/>
                    </a:lnTo>
                    <a:lnTo>
                      <a:pt x="539" y="466"/>
                    </a:lnTo>
                    <a:lnTo>
                      <a:pt x="508" y="501"/>
                    </a:lnTo>
                    <a:lnTo>
                      <a:pt x="483" y="539"/>
                    </a:lnTo>
                    <a:lnTo>
                      <a:pt x="462" y="580"/>
                    </a:lnTo>
                    <a:lnTo>
                      <a:pt x="446" y="624"/>
                    </a:lnTo>
                    <a:lnTo>
                      <a:pt x="437" y="670"/>
                    </a:lnTo>
                    <a:lnTo>
                      <a:pt x="434" y="718"/>
                    </a:lnTo>
                    <a:lnTo>
                      <a:pt x="437" y="767"/>
                    </a:lnTo>
                    <a:lnTo>
                      <a:pt x="446" y="813"/>
                    </a:lnTo>
                    <a:lnTo>
                      <a:pt x="462" y="857"/>
                    </a:lnTo>
                    <a:lnTo>
                      <a:pt x="483" y="898"/>
                    </a:lnTo>
                    <a:lnTo>
                      <a:pt x="508" y="936"/>
                    </a:lnTo>
                    <a:lnTo>
                      <a:pt x="539" y="970"/>
                    </a:lnTo>
                    <a:lnTo>
                      <a:pt x="573" y="1000"/>
                    </a:lnTo>
                    <a:lnTo>
                      <a:pt x="610" y="1026"/>
                    </a:lnTo>
                    <a:lnTo>
                      <a:pt x="651" y="1046"/>
                    </a:lnTo>
                    <a:lnTo>
                      <a:pt x="696" y="1061"/>
                    </a:lnTo>
                    <a:lnTo>
                      <a:pt x="741" y="1071"/>
                    </a:lnTo>
                    <a:lnTo>
                      <a:pt x="790" y="1075"/>
                    </a:lnTo>
                    <a:lnTo>
                      <a:pt x="838" y="1071"/>
                    </a:lnTo>
                    <a:lnTo>
                      <a:pt x="885" y="1061"/>
                    </a:lnTo>
                    <a:lnTo>
                      <a:pt x="928" y="1046"/>
                    </a:lnTo>
                    <a:lnTo>
                      <a:pt x="969" y="1026"/>
                    </a:lnTo>
                    <a:lnTo>
                      <a:pt x="1008" y="1000"/>
                    </a:lnTo>
                    <a:lnTo>
                      <a:pt x="1042" y="970"/>
                    </a:lnTo>
                    <a:lnTo>
                      <a:pt x="1071" y="936"/>
                    </a:lnTo>
                    <a:lnTo>
                      <a:pt x="1096" y="898"/>
                    </a:lnTo>
                    <a:lnTo>
                      <a:pt x="1118" y="857"/>
                    </a:lnTo>
                    <a:lnTo>
                      <a:pt x="1133" y="813"/>
                    </a:lnTo>
                    <a:lnTo>
                      <a:pt x="1142" y="767"/>
                    </a:lnTo>
                    <a:lnTo>
                      <a:pt x="1145" y="718"/>
                    </a:lnTo>
                    <a:lnTo>
                      <a:pt x="1142" y="670"/>
                    </a:lnTo>
                    <a:lnTo>
                      <a:pt x="1133" y="624"/>
                    </a:lnTo>
                    <a:lnTo>
                      <a:pt x="1118" y="580"/>
                    </a:lnTo>
                    <a:lnTo>
                      <a:pt x="1096" y="539"/>
                    </a:lnTo>
                    <a:lnTo>
                      <a:pt x="1071" y="501"/>
                    </a:lnTo>
                    <a:lnTo>
                      <a:pt x="1042" y="466"/>
                    </a:lnTo>
                    <a:lnTo>
                      <a:pt x="1008" y="437"/>
                    </a:lnTo>
                    <a:lnTo>
                      <a:pt x="969" y="412"/>
                    </a:lnTo>
                    <a:lnTo>
                      <a:pt x="928" y="390"/>
                    </a:lnTo>
                    <a:lnTo>
                      <a:pt x="885" y="375"/>
                    </a:lnTo>
                    <a:lnTo>
                      <a:pt x="838" y="366"/>
                    </a:lnTo>
                    <a:lnTo>
                      <a:pt x="790" y="363"/>
                    </a:lnTo>
                    <a:close/>
                    <a:moveTo>
                      <a:pt x="241" y="0"/>
                    </a:moveTo>
                    <a:lnTo>
                      <a:pt x="516" y="9"/>
                    </a:lnTo>
                    <a:lnTo>
                      <a:pt x="790" y="12"/>
                    </a:lnTo>
                    <a:lnTo>
                      <a:pt x="1063" y="9"/>
                    </a:lnTo>
                    <a:lnTo>
                      <a:pt x="1338" y="0"/>
                    </a:lnTo>
                    <a:lnTo>
                      <a:pt x="1342" y="1"/>
                    </a:lnTo>
                    <a:lnTo>
                      <a:pt x="1347" y="4"/>
                    </a:lnTo>
                    <a:lnTo>
                      <a:pt x="1350" y="6"/>
                    </a:lnTo>
                    <a:lnTo>
                      <a:pt x="1353" y="11"/>
                    </a:lnTo>
                    <a:lnTo>
                      <a:pt x="1353" y="15"/>
                    </a:lnTo>
                    <a:lnTo>
                      <a:pt x="1358" y="185"/>
                    </a:lnTo>
                    <a:lnTo>
                      <a:pt x="1370" y="355"/>
                    </a:lnTo>
                    <a:lnTo>
                      <a:pt x="1388" y="524"/>
                    </a:lnTo>
                    <a:lnTo>
                      <a:pt x="1413" y="693"/>
                    </a:lnTo>
                    <a:lnTo>
                      <a:pt x="1444" y="859"/>
                    </a:lnTo>
                    <a:lnTo>
                      <a:pt x="1481" y="1026"/>
                    </a:lnTo>
                    <a:lnTo>
                      <a:pt x="1579" y="1421"/>
                    </a:lnTo>
                    <a:lnTo>
                      <a:pt x="1580" y="1426"/>
                    </a:lnTo>
                    <a:lnTo>
                      <a:pt x="1578" y="1430"/>
                    </a:lnTo>
                    <a:lnTo>
                      <a:pt x="1576" y="1434"/>
                    </a:lnTo>
                    <a:lnTo>
                      <a:pt x="1572" y="1436"/>
                    </a:lnTo>
                    <a:lnTo>
                      <a:pt x="1568" y="1436"/>
                    </a:lnTo>
                    <a:lnTo>
                      <a:pt x="11" y="1436"/>
                    </a:lnTo>
                    <a:lnTo>
                      <a:pt x="7" y="1436"/>
                    </a:lnTo>
                    <a:lnTo>
                      <a:pt x="3" y="1434"/>
                    </a:lnTo>
                    <a:lnTo>
                      <a:pt x="1" y="1430"/>
                    </a:lnTo>
                    <a:lnTo>
                      <a:pt x="0" y="1426"/>
                    </a:lnTo>
                    <a:lnTo>
                      <a:pt x="0" y="1421"/>
                    </a:lnTo>
                    <a:lnTo>
                      <a:pt x="98" y="1026"/>
                    </a:lnTo>
                    <a:lnTo>
                      <a:pt x="135" y="859"/>
                    </a:lnTo>
                    <a:lnTo>
                      <a:pt x="166" y="693"/>
                    </a:lnTo>
                    <a:lnTo>
                      <a:pt x="191" y="524"/>
                    </a:lnTo>
                    <a:lnTo>
                      <a:pt x="209" y="355"/>
                    </a:lnTo>
                    <a:lnTo>
                      <a:pt x="221" y="185"/>
                    </a:lnTo>
                    <a:lnTo>
                      <a:pt x="227" y="15"/>
                    </a:lnTo>
                    <a:lnTo>
                      <a:pt x="228" y="11"/>
                    </a:lnTo>
                    <a:lnTo>
                      <a:pt x="230" y="6"/>
                    </a:lnTo>
                    <a:lnTo>
                      <a:pt x="233" y="4"/>
                    </a:lnTo>
                    <a:lnTo>
                      <a:pt x="237" y="1"/>
                    </a:lnTo>
                    <a:lnTo>
                      <a:pt x="241" y="0"/>
                    </a:lnTo>
                    <a:close/>
                  </a:path>
                </a:pathLst>
              </a:custGeom>
              <a:solidFill>
                <a:schemeClr val="tx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07972" tIns="107972" rIns="107972" bIns="107972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eaLnBrk="0" fontAlgn="base" hangingPunct="0">
                  <a:spcAft>
                    <a:spcPct val="0"/>
                  </a:spcAft>
                  <a:defRPr/>
                </a:pPr>
                <a:endParaRPr lang="de-DE" sz="1200" dirty="0">
                  <a:solidFill>
                    <a:srgbClr val="3B3B3B"/>
                  </a:solidFill>
                  <a:latin typeface="EnBW DIN Pro"/>
                </a:endParaRPr>
              </a:p>
            </p:txBody>
          </p:sp>
          <p:sp>
            <p:nvSpPr>
              <p:cNvPr id="237" name="Oval 236">
                <a:extLst>
                  <a:ext uri="{FF2B5EF4-FFF2-40B4-BE49-F238E27FC236}">
                    <a16:creationId xmlns:a16="http://schemas.microsoft.com/office/drawing/2014/main" id="{691F6213-64BF-487A-9A8F-026AB769A567}"/>
                  </a:ext>
                </a:extLst>
              </p:cNvPr>
              <p:cNvSpPr/>
              <p:nvPr/>
            </p:nvSpPr>
            <p:spPr bwMode="gray">
              <a:xfrm>
                <a:off x="856369" y="2908031"/>
                <a:ext cx="180000" cy="154387"/>
              </a:xfrm>
              <a:prstGeom prst="ellipse">
                <a:avLst/>
              </a:prstGeom>
              <a:solidFill>
                <a:schemeClr val="tx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07972" tIns="107972" rIns="107972" bIns="107972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eaLnBrk="0" fontAlgn="base" hangingPunct="0">
                  <a:spcAft>
                    <a:spcPct val="0"/>
                  </a:spcAft>
                  <a:defRPr/>
                </a:pPr>
                <a:endParaRPr lang="de-DE" sz="1200" dirty="0">
                  <a:solidFill>
                    <a:srgbClr val="3B3B3B"/>
                  </a:solidFill>
                  <a:latin typeface="EnBW DIN Pro"/>
                </a:endParaRPr>
              </a:p>
            </p:txBody>
          </p:sp>
        </p:grpSp>
        <p:grpSp>
          <p:nvGrpSpPr>
            <p:cNvPr id="215" name="Group 214">
              <a:extLst>
                <a:ext uri="{FF2B5EF4-FFF2-40B4-BE49-F238E27FC236}">
                  <a16:creationId xmlns:a16="http://schemas.microsoft.com/office/drawing/2014/main" id="{1F61250F-0698-46E6-975D-3F0CBB4093FC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742158" y="2525051"/>
              <a:ext cx="357748" cy="359656"/>
              <a:chOff x="804589" y="2617751"/>
              <a:chExt cx="510886" cy="493569"/>
            </a:xfrm>
            <a:solidFill>
              <a:schemeClr val="accent4"/>
            </a:solidFill>
          </p:grpSpPr>
          <p:sp>
            <p:nvSpPr>
              <p:cNvPr id="228" name="Freeform 266">
                <a:extLst>
                  <a:ext uri="{FF2B5EF4-FFF2-40B4-BE49-F238E27FC236}">
                    <a16:creationId xmlns:a16="http://schemas.microsoft.com/office/drawing/2014/main" id="{F26AB217-ADC1-4976-86D2-5E0A1EF3C09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062918" y="2876081"/>
                <a:ext cx="196273" cy="213591"/>
              </a:xfrm>
              <a:custGeom>
                <a:avLst/>
                <a:gdLst>
                  <a:gd name="T0" fmla="*/ 14 w 1086"/>
                  <a:gd name="T1" fmla="*/ 0 h 1187"/>
                  <a:gd name="T2" fmla="*/ 162 w 1086"/>
                  <a:gd name="T3" fmla="*/ 9 h 1187"/>
                  <a:gd name="T4" fmla="*/ 306 w 1086"/>
                  <a:gd name="T5" fmla="*/ 14 h 1187"/>
                  <a:gd name="T6" fmla="*/ 450 w 1086"/>
                  <a:gd name="T7" fmla="*/ 17 h 1187"/>
                  <a:gd name="T8" fmla="*/ 593 w 1086"/>
                  <a:gd name="T9" fmla="*/ 14 h 1187"/>
                  <a:gd name="T10" fmla="*/ 738 w 1086"/>
                  <a:gd name="T11" fmla="*/ 9 h 1187"/>
                  <a:gd name="T12" fmla="*/ 886 w 1086"/>
                  <a:gd name="T13" fmla="*/ 0 h 1187"/>
                  <a:gd name="T14" fmla="*/ 891 w 1086"/>
                  <a:gd name="T15" fmla="*/ 1 h 1187"/>
                  <a:gd name="T16" fmla="*/ 895 w 1086"/>
                  <a:gd name="T17" fmla="*/ 3 h 1187"/>
                  <a:gd name="T18" fmla="*/ 899 w 1086"/>
                  <a:gd name="T19" fmla="*/ 6 h 1187"/>
                  <a:gd name="T20" fmla="*/ 901 w 1086"/>
                  <a:gd name="T21" fmla="*/ 10 h 1187"/>
                  <a:gd name="T22" fmla="*/ 901 w 1086"/>
                  <a:gd name="T23" fmla="*/ 14 h 1187"/>
                  <a:gd name="T24" fmla="*/ 904 w 1086"/>
                  <a:gd name="T25" fmla="*/ 152 h 1187"/>
                  <a:gd name="T26" fmla="*/ 913 w 1086"/>
                  <a:gd name="T27" fmla="*/ 288 h 1187"/>
                  <a:gd name="T28" fmla="*/ 927 w 1086"/>
                  <a:gd name="T29" fmla="*/ 425 h 1187"/>
                  <a:gd name="T30" fmla="*/ 946 w 1086"/>
                  <a:gd name="T31" fmla="*/ 560 h 1187"/>
                  <a:gd name="T32" fmla="*/ 971 w 1086"/>
                  <a:gd name="T33" fmla="*/ 695 h 1187"/>
                  <a:gd name="T34" fmla="*/ 1002 w 1086"/>
                  <a:gd name="T35" fmla="*/ 828 h 1187"/>
                  <a:gd name="T36" fmla="*/ 1086 w 1086"/>
                  <a:gd name="T37" fmla="*/ 1172 h 1187"/>
                  <a:gd name="T38" fmla="*/ 1086 w 1086"/>
                  <a:gd name="T39" fmla="*/ 1177 h 1187"/>
                  <a:gd name="T40" fmla="*/ 1085 w 1086"/>
                  <a:gd name="T41" fmla="*/ 1180 h 1187"/>
                  <a:gd name="T42" fmla="*/ 1083 w 1086"/>
                  <a:gd name="T43" fmla="*/ 1183 h 1187"/>
                  <a:gd name="T44" fmla="*/ 1080 w 1086"/>
                  <a:gd name="T45" fmla="*/ 1186 h 1187"/>
                  <a:gd name="T46" fmla="*/ 1075 w 1086"/>
                  <a:gd name="T47" fmla="*/ 1187 h 1187"/>
                  <a:gd name="T48" fmla="*/ 213 w 1086"/>
                  <a:gd name="T49" fmla="*/ 1187 h 1187"/>
                  <a:gd name="T50" fmla="*/ 205 w 1086"/>
                  <a:gd name="T51" fmla="*/ 1185 h 1187"/>
                  <a:gd name="T52" fmla="*/ 198 w 1086"/>
                  <a:gd name="T53" fmla="*/ 1180 h 1187"/>
                  <a:gd name="T54" fmla="*/ 194 w 1086"/>
                  <a:gd name="T55" fmla="*/ 1172 h 1187"/>
                  <a:gd name="T56" fmla="*/ 123 w 1086"/>
                  <a:gd name="T57" fmla="*/ 884 h 1187"/>
                  <a:gd name="T58" fmla="*/ 84 w 1086"/>
                  <a:gd name="T59" fmla="*/ 712 h 1187"/>
                  <a:gd name="T60" fmla="*/ 53 w 1086"/>
                  <a:gd name="T61" fmla="*/ 540 h 1187"/>
                  <a:gd name="T62" fmla="*/ 28 w 1086"/>
                  <a:gd name="T63" fmla="*/ 365 h 1187"/>
                  <a:gd name="T64" fmla="*/ 10 w 1086"/>
                  <a:gd name="T65" fmla="*/ 191 h 1187"/>
                  <a:gd name="T66" fmla="*/ 0 w 1086"/>
                  <a:gd name="T67" fmla="*/ 15 h 1187"/>
                  <a:gd name="T68" fmla="*/ 0 w 1086"/>
                  <a:gd name="T69" fmla="*/ 11 h 1187"/>
                  <a:gd name="T70" fmla="*/ 2 w 1086"/>
                  <a:gd name="T71" fmla="*/ 6 h 1187"/>
                  <a:gd name="T72" fmla="*/ 5 w 1086"/>
                  <a:gd name="T73" fmla="*/ 3 h 1187"/>
                  <a:gd name="T74" fmla="*/ 9 w 1086"/>
                  <a:gd name="T75" fmla="*/ 1 h 1187"/>
                  <a:gd name="T76" fmla="*/ 14 w 1086"/>
                  <a:gd name="T77" fmla="*/ 0 h 1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086" h="1187">
                    <a:moveTo>
                      <a:pt x="14" y="0"/>
                    </a:moveTo>
                    <a:lnTo>
                      <a:pt x="162" y="9"/>
                    </a:lnTo>
                    <a:lnTo>
                      <a:pt x="306" y="14"/>
                    </a:lnTo>
                    <a:lnTo>
                      <a:pt x="450" y="17"/>
                    </a:lnTo>
                    <a:lnTo>
                      <a:pt x="593" y="14"/>
                    </a:lnTo>
                    <a:lnTo>
                      <a:pt x="738" y="9"/>
                    </a:lnTo>
                    <a:lnTo>
                      <a:pt x="886" y="0"/>
                    </a:lnTo>
                    <a:lnTo>
                      <a:pt x="891" y="1"/>
                    </a:lnTo>
                    <a:lnTo>
                      <a:pt x="895" y="3"/>
                    </a:lnTo>
                    <a:lnTo>
                      <a:pt x="899" y="6"/>
                    </a:lnTo>
                    <a:lnTo>
                      <a:pt x="901" y="10"/>
                    </a:lnTo>
                    <a:lnTo>
                      <a:pt x="901" y="14"/>
                    </a:lnTo>
                    <a:lnTo>
                      <a:pt x="904" y="152"/>
                    </a:lnTo>
                    <a:lnTo>
                      <a:pt x="913" y="288"/>
                    </a:lnTo>
                    <a:lnTo>
                      <a:pt x="927" y="425"/>
                    </a:lnTo>
                    <a:lnTo>
                      <a:pt x="946" y="560"/>
                    </a:lnTo>
                    <a:lnTo>
                      <a:pt x="971" y="695"/>
                    </a:lnTo>
                    <a:lnTo>
                      <a:pt x="1002" y="828"/>
                    </a:lnTo>
                    <a:lnTo>
                      <a:pt x="1086" y="1172"/>
                    </a:lnTo>
                    <a:lnTo>
                      <a:pt x="1086" y="1177"/>
                    </a:lnTo>
                    <a:lnTo>
                      <a:pt x="1085" y="1180"/>
                    </a:lnTo>
                    <a:lnTo>
                      <a:pt x="1083" y="1183"/>
                    </a:lnTo>
                    <a:lnTo>
                      <a:pt x="1080" y="1186"/>
                    </a:lnTo>
                    <a:lnTo>
                      <a:pt x="1075" y="1187"/>
                    </a:lnTo>
                    <a:lnTo>
                      <a:pt x="213" y="1187"/>
                    </a:lnTo>
                    <a:lnTo>
                      <a:pt x="205" y="1185"/>
                    </a:lnTo>
                    <a:lnTo>
                      <a:pt x="198" y="1180"/>
                    </a:lnTo>
                    <a:lnTo>
                      <a:pt x="194" y="1172"/>
                    </a:lnTo>
                    <a:lnTo>
                      <a:pt x="123" y="884"/>
                    </a:lnTo>
                    <a:lnTo>
                      <a:pt x="84" y="712"/>
                    </a:lnTo>
                    <a:lnTo>
                      <a:pt x="53" y="540"/>
                    </a:lnTo>
                    <a:lnTo>
                      <a:pt x="28" y="365"/>
                    </a:lnTo>
                    <a:lnTo>
                      <a:pt x="10" y="191"/>
                    </a:lnTo>
                    <a:lnTo>
                      <a:pt x="0" y="15"/>
                    </a:lnTo>
                    <a:lnTo>
                      <a:pt x="0" y="11"/>
                    </a:lnTo>
                    <a:lnTo>
                      <a:pt x="2" y="6"/>
                    </a:lnTo>
                    <a:lnTo>
                      <a:pt x="5" y="3"/>
                    </a:lnTo>
                    <a:lnTo>
                      <a:pt x="9" y="1"/>
                    </a:lnTo>
                    <a:lnTo>
                      <a:pt x="14" y="0"/>
                    </a:lnTo>
                    <a:close/>
                  </a:path>
                </a:pathLst>
              </a:custGeom>
              <a:solidFill>
                <a:schemeClr val="tx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07972" tIns="107972" rIns="107972" bIns="107972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eaLnBrk="0" fontAlgn="base" hangingPunct="0">
                  <a:spcAft>
                    <a:spcPct val="0"/>
                  </a:spcAft>
                  <a:defRPr/>
                </a:pPr>
                <a:endParaRPr lang="de-DE" sz="1200" dirty="0">
                  <a:solidFill>
                    <a:srgbClr val="3B3B3B"/>
                  </a:solidFill>
                  <a:latin typeface="EnBW DIN Pro"/>
                </a:endParaRPr>
              </a:p>
            </p:txBody>
          </p:sp>
          <p:sp>
            <p:nvSpPr>
              <p:cNvPr id="229" name="Freeform 267">
                <a:extLst>
                  <a:ext uri="{FF2B5EF4-FFF2-40B4-BE49-F238E27FC236}">
                    <a16:creationId xmlns:a16="http://schemas.microsoft.com/office/drawing/2014/main" id="{1AE43A61-0C38-47CC-B60C-1E89045EE06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39225" y="2617751"/>
                <a:ext cx="476250" cy="246785"/>
              </a:xfrm>
              <a:custGeom>
                <a:avLst/>
                <a:gdLst>
                  <a:gd name="T0" fmla="*/ 1863 w 2640"/>
                  <a:gd name="T1" fmla="*/ 45 h 1362"/>
                  <a:gd name="T2" fmla="*/ 2005 w 2640"/>
                  <a:gd name="T3" fmla="*/ 145 h 1362"/>
                  <a:gd name="T4" fmla="*/ 2063 w 2640"/>
                  <a:gd name="T5" fmla="*/ 194 h 1362"/>
                  <a:gd name="T6" fmla="*/ 2217 w 2640"/>
                  <a:gd name="T7" fmla="*/ 211 h 1362"/>
                  <a:gd name="T8" fmla="*/ 2441 w 2640"/>
                  <a:gd name="T9" fmla="*/ 326 h 1362"/>
                  <a:gd name="T10" fmla="*/ 2602 w 2640"/>
                  <a:gd name="T11" fmla="*/ 560 h 1362"/>
                  <a:gd name="T12" fmla="*/ 2637 w 2640"/>
                  <a:gd name="T13" fmla="*/ 834 h 1362"/>
                  <a:gd name="T14" fmla="*/ 2550 w 2640"/>
                  <a:gd name="T15" fmla="*/ 1091 h 1362"/>
                  <a:gd name="T16" fmla="*/ 2356 w 2640"/>
                  <a:gd name="T17" fmla="*/ 1275 h 1362"/>
                  <a:gd name="T18" fmla="*/ 2098 w 2640"/>
                  <a:gd name="T19" fmla="*/ 1329 h 1362"/>
                  <a:gd name="T20" fmla="*/ 1926 w 2640"/>
                  <a:gd name="T21" fmla="*/ 1282 h 1362"/>
                  <a:gd name="T22" fmla="*/ 1775 w 2640"/>
                  <a:gd name="T23" fmla="*/ 1325 h 1362"/>
                  <a:gd name="T24" fmla="*/ 1628 w 2640"/>
                  <a:gd name="T25" fmla="*/ 1359 h 1362"/>
                  <a:gd name="T26" fmla="*/ 1723 w 2640"/>
                  <a:gd name="T27" fmla="*/ 1330 h 1362"/>
                  <a:gd name="T28" fmla="*/ 1899 w 2640"/>
                  <a:gd name="T29" fmla="*/ 1247 h 1362"/>
                  <a:gd name="T30" fmla="*/ 2007 w 2640"/>
                  <a:gd name="T31" fmla="*/ 1269 h 1362"/>
                  <a:gd name="T32" fmla="*/ 2238 w 2640"/>
                  <a:gd name="T33" fmla="*/ 1255 h 1362"/>
                  <a:gd name="T34" fmla="*/ 2421 w 2640"/>
                  <a:gd name="T35" fmla="*/ 1120 h 1362"/>
                  <a:gd name="T36" fmla="*/ 2513 w 2640"/>
                  <a:gd name="T37" fmla="*/ 915 h 1362"/>
                  <a:gd name="T38" fmla="*/ 2499 w 2640"/>
                  <a:gd name="T39" fmla="*/ 675 h 1362"/>
                  <a:gd name="T40" fmla="*/ 2376 w 2640"/>
                  <a:gd name="T41" fmla="*/ 479 h 1362"/>
                  <a:gd name="T42" fmla="*/ 2193 w 2640"/>
                  <a:gd name="T43" fmla="*/ 389 h 1362"/>
                  <a:gd name="T44" fmla="*/ 2078 w 2640"/>
                  <a:gd name="T45" fmla="*/ 386 h 1362"/>
                  <a:gd name="T46" fmla="*/ 1959 w 2640"/>
                  <a:gd name="T47" fmla="*/ 362 h 1362"/>
                  <a:gd name="T48" fmla="*/ 1858 w 2640"/>
                  <a:gd name="T49" fmla="*/ 288 h 1362"/>
                  <a:gd name="T50" fmla="*/ 1765 w 2640"/>
                  <a:gd name="T51" fmla="*/ 235 h 1362"/>
                  <a:gd name="T52" fmla="*/ 1548 w 2640"/>
                  <a:gd name="T53" fmla="*/ 217 h 1362"/>
                  <a:gd name="T54" fmla="*/ 1399 w 2640"/>
                  <a:gd name="T55" fmla="*/ 294 h 1362"/>
                  <a:gd name="T56" fmla="*/ 1364 w 2640"/>
                  <a:gd name="T57" fmla="*/ 327 h 1362"/>
                  <a:gd name="T58" fmla="*/ 1242 w 2640"/>
                  <a:gd name="T59" fmla="*/ 373 h 1362"/>
                  <a:gd name="T60" fmla="*/ 1159 w 2640"/>
                  <a:gd name="T61" fmla="*/ 348 h 1362"/>
                  <a:gd name="T62" fmla="*/ 1010 w 2640"/>
                  <a:gd name="T63" fmla="*/ 288 h 1362"/>
                  <a:gd name="T64" fmla="*/ 805 w 2640"/>
                  <a:gd name="T65" fmla="*/ 318 h 1362"/>
                  <a:gd name="T66" fmla="*/ 639 w 2640"/>
                  <a:gd name="T67" fmla="*/ 459 h 1362"/>
                  <a:gd name="T68" fmla="*/ 575 w 2640"/>
                  <a:gd name="T69" fmla="*/ 586 h 1362"/>
                  <a:gd name="T70" fmla="*/ 507 w 2640"/>
                  <a:gd name="T71" fmla="*/ 666 h 1362"/>
                  <a:gd name="T72" fmla="*/ 421 w 2640"/>
                  <a:gd name="T73" fmla="*/ 646 h 1362"/>
                  <a:gd name="T74" fmla="*/ 358 w 2640"/>
                  <a:gd name="T75" fmla="*/ 618 h 1362"/>
                  <a:gd name="T76" fmla="*/ 196 w 2640"/>
                  <a:gd name="T77" fmla="*/ 630 h 1362"/>
                  <a:gd name="T78" fmla="*/ 58 w 2640"/>
                  <a:gd name="T79" fmla="*/ 764 h 1362"/>
                  <a:gd name="T80" fmla="*/ 23 w 2640"/>
                  <a:gd name="T81" fmla="*/ 961 h 1362"/>
                  <a:gd name="T82" fmla="*/ 59 w 2640"/>
                  <a:gd name="T83" fmla="*/ 1081 h 1362"/>
                  <a:gd name="T84" fmla="*/ 20 w 2640"/>
                  <a:gd name="T85" fmla="*/ 1010 h 1362"/>
                  <a:gd name="T86" fmla="*/ 8 w 2640"/>
                  <a:gd name="T87" fmla="*/ 811 h 1362"/>
                  <a:gd name="T88" fmla="*/ 102 w 2640"/>
                  <a:gd name="T89" fmla="*/ 634 h 1362"/>
                  <a:gd name="T90" fmla="*/ 263 w 2640"/>
                  <a:gd name="T91" fmla="*/ 549 h 1362"/>
                  <a:gd name="T92" fmla="*/ 425 w 2640"/>
                  <a:gd name="T93" fmla="*/ 563 h 1362"/>
                  <a:gd name="T94" fmla="*/ 486 w 2640"/>
                  <a:gd name="T95" fmla="*/ 570 h 1362"/>
                  <a:gd name="T96" fmla="*/ 526 w 2640"/>
                  <a:gd name="T97" fmla="*/ 456 h 1362"/>
                  <a:gd name="T98" fmla="*/ 685 w 2640"/>
                  <a:gd name="T99" fmla="*/ 249 h 1362"/>
                  <a:gd name="T100" fmla="*/ 926 w 2640"/>
                  <a:gd name="T101" fmla="*/ 147 h 1362"/>
                  <a:gd name="T102" fmla="*/ 1190 w 2640"/>
                  <a:gd name="T103" fmla="*/ 181 h 1362"/>
                  <a:gd name="T104" fmla="*/ 1243 w 2640"/>
                  <a:gd name="T105" fmla="*/ 205 h 1362"/>
                  <a:gd name="T106" fmla="*/ 1242 w 2640"/>
                  <a:gd name="T107" fmla="*/ 203 h 1362"/>
                  <a:gd name="T108" fmla="*/ 1263 w 2640"/>
                  <a:gd name="T109" fmla="*/ 180 h 1362"/>
                  <a:gd name="T110" fmla="*/ 1357 w 2640"/>
                  <a:gd name="T111" fmla="*/ 97 h 1362"/>
                  <a:gd name="T112" fmla="*/ 1598 w 2640"/>
                  <a:gd name="T113" fmla="*/ 4 h 13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2640" h="1362">
                    <a:moveTo>
                      <a:pt x="1652" y="0"/>
                    </a:moveTo>
                    <a:lnTo>
                      <a:pt x="1704" y="1"/>
                    </a:lnTo>
                    <a:lnTo>
                      <a:pt x="1759" y="10"/>
                    </a:lnTo>
                    <a:lnTo>
                      <a:pt x="1811" y="25"/>
                    </a:lnTo>
                    <a:lnTo>
                      <a:pt x="1863" y="45"/>
                    </a:lnTo>
                    <a:lnTo>
                      <a:pt x="1910" y="70"/>
                    </a:lnTo>
                    <a:lnTo>
                      <a:pt x="1929" y="81"/>
                    </a:lnTo>
                    <a:lnTo>
                      <a:pt x="1946" y="94"/>
                    </a:lnTo>
                    <a:lnTo>
                      <a:pt x="1976" y="119"/>
                    </a:lnTo>
                    <a:lnTo>
                      <a:pt x="2005" y="145"/>
                    </a:lnTo>
                    <a:lnTo>
                      <a:pt x="2028" y="168"/>
                    </a:lnTo>
                    <a:lnTo>
                      <a:pt x="2035" y="174"/>
                    </a:lnTo>
                    <a:lnTo>
                      <a:pt x="2043" y="182"/>
                    </a:lnTo>
                    <a:lnTo>
                      <a:pt x="2050" y="188"/>
                    </a:lnTo>
                    <a:lnTo>
                      <a:pt x="2063" y="194"/>
                    </a:lnTo>
                    <a:lnTo>
                      <a:pt x="2076" y="197"/>
                    </a:lnTo>
                    <a:lnTo>
                      <a:pt x="2095" y="198"/>
                    </a:lnTo>
                    <a:lnTo>
                      <a:pt x="2113" y="197"/>
                    </a:lnTo>
                    <a:lnTo>
                      <a:pt x="2165" y="202"/>
                    </a:lnTo>
                    <a:lnTo>
                      <a:pt x="2217" y="211"/>
                    </a:lnTo>
                    <a:lnTo>
                      <a:pt x="2266" y="226"/>
                    </a:lnTo>
                    <a:lnTo>
                      <a:pt x="2313" y="244"/>
                    </a:lnTo>
                    <a:lnTo>
                      <a:pt x="2359" y="268"/>
                    </a:lnTo>
                    <a:lnTo>
                      <a:pt x="2401" y="295"/>
                    </a:lnTo>
                    <a:lnTo>
                      <a:pt x="2441" y="326"/>
                    </a:lnTo>
                    <a:lnTo>
                      <a:pt x="2483" y="367"/>
                    </a:lnTo>
                    <a:lnTo>
                      <a:pt x="2520" y="411"/>
                    </a:lnTo>
                    <a:lnTo>
                      <a:pt x="2553" y="458"/>
                    </a:lnTo>
                    <a:lnTo>
                      <a:pt x="2580" y="508"/>
                    </a:lnTo>
                    <a:lnTo>
                      <a:pt x="2602" y="560"/>
                    </a:lnTo>
                    <a:lnTo>
                      <a:pt x="2619" y="613"/>
                    </a:lnTo>
                    <a:lnTo>
                      <a:pt x="2631" y="668"/>
                    </a:lnTo>
                    <a:lnTo>
                      <a:pt x="2638" y="724"/>
                    </a:lnTo>
                    <a:lnTo>
                      <a:pt x="2640" y="778"/>
                    </a:lnTo>
                    <a:lnTo>
                      <a:pt x="2637" y="834"/>
                    </a:lnTo>
                    <a:lnTo>
                      <a:pt x="2629" y="888"/>
                    </a:lnTo>
                    <a:lnTo>
                      <a:pt x="2616" y="941"/>
                    </a:lnTo>
                    <a:lnTo>
                      <a:pt x="2599" y="994"/>
                    </a:lnTo>
                    <a:lnTo>
                      <a:pt x="2578" y="1043"/>
                    </a:lnTo>
                    <a:lnTo>
                      <a:pt x="2550" y="1091"/>
                    </a:lnTo>
                    <a:lnTo>
                      <a:pt x="2518" y="1135"/>
                    </a:lnTo>
                    <a:lnTo>
                      <a:pt x="2483" y="1176"/>
                    </a:lnTo>
                    <a:lnTo>
                      <a:pt x="2444" y="1214"/>
                    </a:lnTo>
                    <a:lnTo>
                      <a:pt x="2401" y="1247"/>
                    </a:lnTo>
                    <a:lnTo>
                      <a:pt x="2356" y="1275"/>
                    </a:lnTo>
                    <a:lnTo>
                      <a:pt x="2308" y="1298"/>
                    </a:lnTo>
                    <a:lnTo>
                      <a:pt x="2258" y="1315"/>
                    </a:lnTo>
                    <a:lnTo>
                      <a:pt x="2205" y="1325"/>
                    </a:lnTo>
                    <a:lnTo>
                      <a:pt x="2151" y="1330"/>
                    </a:lnTo>
                    <a:lnTo>
                      <a:pt x="2098" y="1329"/>
                    </a:lnTo>
                    <a:lnTo>
                      <a:pt x="2046" y="1321"/>
                    </a:lnTo>
                    <a:lnTo>
                      <a:pt x="1996" y="1307"/>
                    </a:lnTo>
                    <a:lnTo>
                      <a:pt x="1971" y="1298"/>
                    </a:lnTo>
                    <a:lnTo>
                      <a:pt x="1948" y="1289"/>
                    </a:lnTo>
                    <a:lnTo>
                      <a:pt x="1926" y="1282"/>
                    </a:lnTo>
                    <a:lnTo>
                      <a:pt x="1905" y="1277"/>
                    </a:lnTo>
                    <a:lnTo>
                      <a:pt x="1884" y="1277"/>
                    </a:lnTo>
                    <a:lnTo>
                      <a:pt x="1861" y="1282"/>
                    </a:lnTo>
                    <a:lnTo>
                      <a:pt x="1820" y="1305"/>
                    </a:lnTo>
                    <a:lnTo>
                      <a:pt x="1775" y="1325"/>
                    </a:lnTo>
                    <a:lnTo>
                      <a:pt x="1728" y="1342"/>
                    </a:lnTo>
                    <a:lnTo>
                      <a:pt x="1680" y="1355"/>
                    </a:lnTo>
                    <a:lnTo>
                      <a:pt x="1631" y="1362"/>
                    </a:lnTo>
                    <a:lnTo>
                      <a:pt x="1629" y="1361"/>
                    </a:lnTo>
                    <a:lnTo>
                      <a:pt x="1628" y="1359"/>
                    </a:lnTo>
                    <a:lnTo>
                      <a:pt x="1628" y="1358"/>
                    </a:lnTo>
                    <a:lnTo>
                      <a:pt x="1628" y="1357"/>
                    </a:lnTo>
                    <a:lnTo>
                      <a:pt x="1629" y="1357"/>
                    </a:lnTo>
                    <a:lnTo>
                      <a:pt x="1676" y="1346"/>
                    </a:lnTo>
                    <a:lnTo>
                      <a:pt x="1723" y="1330"/>
                    </a:lnTo>
                    <a:lnTo>
                      <a:pt x="1767" y="1309"/>
                    </a:lnTo>
                    <a:lnTo>
                      <a:pt x="1810" y="1285"/>
                    </a:lnTo>
                    <a:lnTo>
                      <a:pt x="1852" y="1257"/>
                    </a:lnTo>
                    <a:lnTo>
                      <a:pt x="1875" y="1249"/>
                    </a:lnTo>
                    <a:lnTo>
                      <a:pt x="1899" y="1247"/>
                    </a:lnTo>
                    <a:lnTo>
                      <a:pt x="1922" y="1248"/>
                    </a:lnTo>
                    <a:lnTo>
                      <a:pt x="1946" y="1251"/>
                    </a:lnTo>
                    <a:lnTo>
                      <a:pt x="1967" y="1257"/>
                    </a:lnTo>
                    <a:lnTo>
                      <a:pt x="1988" y="1264"/>
                    </a:lnTo>
                    <a:lnTo>
                      <a:pt x="2007" y="1269"/>
                    </a:lnTo>
                    <a:lnTo>
                      <a:pt x="2054" y="1277"/>
                    </a:lnTo>
                    <a:lnTo>
                      <a:pt x="2101" y="1280"/>
                    </a:lnTo>
                    <a:lnTo>
                      <a:pt x="2147" y="1276"/>
                    </a:lnTo>
                    <a:lnTo>
                      <a:pt x="2194" y="1268"/>
                    </a:lnTo>
                    <a:lnTo>
                      <a:pt x="2238" y="1255"/>
                    </a:lnTo>
                    <a:lnTo>
                      <a:pt x="2280" y="1236"/>
                    </a:lnTo>
                    <a:lnTo>
                      <a:pt x="2320" y="1214"/>
                    </a:lnTo>
                    <a:lnTo>
                      <a:pt x="2357" y="1186"/>
                    </a:lnTo>
                    <a:lnTo>
                      <a:pt x="2390" y="1154"/>
                    </a:lnTo>
                    <a:lnTo>
                      <a:pt x="2421" y="1120"/>
                    </a:lnTo>
                    <a:lnTo>
                      <a:pt x="2447" y="1083"/>
                    </a:lnTo>
                    <a:lnTo>
                      <a:pt x="2469" y="1044"/>
                    </a:lnTo>
                    <a:lnTo>
                      <a:pt x="2489" y="1002"/>
                    </a:lnTo>
                    <a:lnTo>
                      <a:pt x="2504" y="960"/>
                    </a:lnTo>
                    <a:lnTo>
                      <a:pt x="2513" y="915"/>
                    </a:lnTo>
                    <a:lnTo>
                      <a:pt x="2520" y="867"/>
                    </a:lnTo>
                    <a:lnTo>
                      <a:pt x="2522" y="818"/>
                    </a:lnTo>
                    <a:lnTo>
                      <a:pt x="2520" y="769"/>
                    </a:lnTo>
                    <a:lnTo>
                      <a:pt x="2512" y="721"/>
                    </a:lnTo>
                    <a:lnTo>
                      <a:pt x="2499" y="675"/>
                    </a:lnTo>
                    <a:lnTo>
                      <a:pt x="2483" y="630"/>
                    </a:lnTo>
                    <a:lnTo>
                      <a:pt x="2462" y="588"/>
                    </a:lnTo>
                    <a:lnTo>
                      <a:pt x="2436" y="548"/>
                    </a:lnTo>
                    <a:lnTo>
                      <a:pt x="2408" y="512"/>
                    </a:lnTo>
                    <a:lnTo>
                      <a:pt x="2376" y="479"/>
                    </a:lnTo>
                    <a:lnTo>
                      <a:pt x="2341" y="450"/>
                    </a:lnTo>
                    <a:lnTo>
                      <a:pt x="2306" y="429"/>
                    </a:lnTo>
                    <a:lnTo>
                      <a:pt x="2269" y="410"/>
                    </a:lnTo>
                    <a:lnTo>
                      <a:pt x="2232" y="397"/>
                    </a:lnTo>
                    <a:lnTo>
                      <a:pt x="2193" y="389"/>
                    </a:lnTo>
                    <a:lnTo>
                      <a:pt x="2153" y="384"/>
                    </a:lnTo>
                    <a:lnTo>
                      <a:pt x="2114" y="384"/>
                    </a:lnTo>
                    <a:lnTo>
                      <a:pt x="2106" y="385"/>
                    </a:lnTo>
                    <a:lnTo>
                      <a:pt x="2094" y="386"/>
                    </a:lnTo>
                    <a:lnTo>
                      <a:pt x="2078" y="386"/>
                    </a:lnTo>
                    <a:lnTo>
                      <a:pt x="2058" y="386"/>
                    </a:lnTo>
                    <a:lnTo>
                      <a:pt x="2038" y="385"/>
                    </a:lnTo>
                    <a:lnTo>
                      <a:pt x="2017" y="382"/>
                    </a:lnTo>
                    <a:lnTo>
                      <a:pt x="1988" y="374"/>
                    </a:lnTo>
                    <a:lnTo>
                      <a:pt x="1959" y="362"/>
                    </a:lnTo>
                    <a:lnTo>
                      <a:pt x="1932" y="348"/>
                    </a:lnTo>
                    <a:lnTo>
                      <a:pt x="1908" y="331"/>
                    </a:lnTo>
                    <a:lnTo>
                      <a:pt x="1889" y="313"/>
                    </a:lnTo>
                    <a:lnTo>
                      <a:pt x="1872" y="300"/>
                    </a:lnTo>
                    <a:lnTo>
                      <a:pt x="1858" y="288"/>
                    </a:lnTo>
                    <a:lnTo>
                      <a:pt x="1846" y="279"/>
                    </a:lnTo>
                    <a:lnTo>
                      <a:pt x="1832" y="270"/>
                    </a:lnTo>
                    <a:lnTo>
                      <a:pt x="1818" y="262"/>
                    </a:lnTo>
                    <a:lnTo>
                      <a:pt x="1803" y="254"/>
                    </a:lnTo>
                    <a:lnTo>
                      <a:pt x="1765" y="235"/>
                    </a:lnTo>
                    <a:lnTo>
                      <a:pt x="1725" y="222"/>
                    </a:lnTo>
                    <a:lnTo>
                      <a:pt x="1684" y="214"/>
                    </a:lnTo>
                    <a:lnTo>
                      <a:pt x="1639" y="209"/>
                    </a:lnTo>
                    <a:lnTo>
                      <a:pt x="1594" y="210"/>
                    </a:lnTo>
                    <a:lnTo>
                      <a:pt x="1548" y="217"/>
                    </a:lnTo>
                    <a:lnTo>
                      <a:pt x="1504" y="230"/>
                    </a:lnTo>
                    <a:lnTo>
                      <a:pt x="1461" y="251"/>
                    </a:lnTo>
                    <a:lnTo>
                      <a:pt x="1436" y="267"/>
                    </a:lnTo>
                    <a:lnTo>
                      <a:pt x="1412" y="285"/>
                    </a:lnTo>
                    <a:lnTo>
                      <a:pt x="1399" y="294"/>
                    </a:lnTo>
                    <a:lnTo>
                      <a:pt x="1388" y="304"/>
                    </a:lnTo>
                    <a:lnTo>
                      <a:pt x="1384" y="308"/>
                    </a:lnTo>
                    <a:lnTo>
                      <a:pt x="1380" y="312"/>
                    </a:lnTo>
                    <a:lnTo>
                      <a:pt x="1373" y="319"/>
                    </a:lnTo>
                    <a:lnTo>
                      <a:pt x="1364" y="327"/>
                    </a:lnTo>
                    <a:lnTo>
                      <a:pt x="1353" y="337"/>
                    </a:lnTo>
                    <a:lnTo>
                      <a:pt x="1327" y="353"/>
                    </a:lnTo>
                    <a:lnTo>
                      <a:pt x="1300" y="365"/>
                    </a:lnTo>
                    <a:lnTo>
                      <a:pt x="1272" y="372"/>
                    </a:lnTo>
                    <a:lnTo>
                      <a:pt x="1242" y="373"/>
                    </a:lnTo>
                    <a:lnTo>
                      <a:pt x="1212" y="369"/>
                    </a:lnTo>
                    <a:lnTo>
                      <a:pt x="1198" y="366"/>
                    </a:lnTo>
                    <a:lnTo>
                      <a:pt x="1184" y="360"/>
                    </a:lnTo>
                    <a:lnTo>
                      <a:pt x="1170" y="353"/>
                    </a:lnTo>
                    <a:lnTo>
                      <a:pt x="1159" y="348"/>
                    </a:lnTo>
                    <a:lnTo>
                      <a:pt x="1152" y="343"/>
                    </a:lnTo>
                    <a:lnTo>
                      <a:pt x="1126" y="328"/>
                    </a:lnTo>
                    <a:lnTo>
                      <a:pt x="1088" y="310"/>
                    </a:lnTo>
                    <a:lnTo>
                      <a:pt x="1050" y="296"/>
                    </a:lnTo>
                    <a:lnTo>
                      <a:pt x="1010" y="288"/>
                    </a:lnTo>
                    <a:lnTo>
                      <a:pt x="969" y="285"/>
                    </a:lnTo>
                    <a:lnTo>
                      <a:pt x="927" y="286"/>
                    </a:lnTo>
                    <a:lnTo>
                      <a:pt x="886" y="292"/>
                    </a:lnTo>
                    <a:lnTo>
                      <a:pt x="845" y="303"/>
                    </a:lnTo>
                    <a:lnTo>
                      <a:pt x="805" y="318"/>
                    </a:lnTo>
                    <a:lnTo>
                      <a:pt x="766" y="337"/>
                    </a:lnTo>
                    <a:lnTo>
                      <a:pt x="730" y="362"/>
                    </a:lnTo>
                    <a:lnTo>
                      <a:pt x="697" y="391"/>
                    </a:lnTo>
                    <a:lnTo>
                      <a:pt x="666" y="424"/>
                    </a:lnTo>
                    <a:lnTo>
                      <a:pt x="639" y="459"/>
                    </a:lnTo>
                    <a:lnTo>
                      <a:pt x="615" y="497"/>
                    </a:lnTo>
                    <a:lnTo>
                      <a:pt x="594" y="538"/>
                    </a:lnTo>
                    <a:lnTo>
                      <a:pt x="587" y="554"/>
                    </a:lnTo>
                    <a:lnTo>
                      <a:pt x="581" y="570"/>
                    </a:lnTo>
                    <a:lnTo>
                      <a:pt x="575" y="586"/>
                    </a:lnTo>
                    <a:lnTo>
                      <a:pt x="569" y="605"/>
                    </a:lnTo>
                    <a:lnTo>
                      <a:pt x="560" y="626"/>
                    </a:lnTo>
                    <a:lnTo>
                      <a:pt x="545" y="643"/>
                    </a:lnTo>
                    <a:lnTo>
                      <a:pt x="527" y="656"/>
                    </a:lnTo>
                    <a:lnTo>
                      <a:pt x="507" y="666"/>
                    </a:lnTo>
                    <a:lnTo>
                      <a:pt x="483" y="669"/>
                    </a:lnTo>
                    <a:lnTo>
                      <a:pt x="459" y="666"/>
                    </a:lnTo>
                    <a:lnTo>
                      <a:pt x="443" y="658"/>
                    </a:lnTo>
                    <a:lnTo>
                      <a:pt x="430" y="652"/>
                    </a:lnTo>
                    <a:lnTo>
                      <a:pt x="421" y="646"/>
                    </a:lnTo>
                    <a:lnTo>
                      <a:pt x="413" y="642"/>
                    </a:lnTo>
                    <a:lnTo>
                      <a:pt x="406" y="637"/>
                    </a:lnTo>
                    <a:lnTo>
                      <a:pt x="399" y="634"/>
                    </a:lnTo>
                    <a:lnTo>
                      <a:pt x="389" y="629"/>
                    </a:lnTo>
                    <a:lnTo>
                      <a:pt x="358" y="618"/>
                    </a:lnTo>
                    <a:lnTo>
                      <a:pt x="327" y="612"/>
                    </a:lnTo>
                    <a:lnTo>
                      <a:pt x="294" y="610"/>
                    </a:lnTo>
                    <a:lnTo>
                      <a:pt x="261" y="612"/>
                    </a:lnTo>
                    <a:lnTo>
                      <a:pt x="228" y="619"/>
                    </a:lnTo>
                    <a:lnTo>
                      <a:pt x="196" y="630"/>
                    </a:lnTo>
                    <a:lnTo>
                      <a:pt x="162" y="648"/>
                    </a:lnTo>
                    <a:lnTo>
                      <a:pt x="130" y="671"/>
                    </a:lnTo>
                    <a:lnTo>
                      <a:pt x="101" y="699"/>
                    </a:lnTo>
                    <a:lnTo>
                      <a:pt x="77" y="729"/>
                    </a:lnTo>
                    <a:lnTo>
                      <a:pt x="58" y="764"/>
                    </a:lnTo>
                    <a:lnTo>
                      <a:pt x="42" y="800"/>
                    </a:lnTo>
                    <a:lnTo>
                      <a:pt x="31" y="839"/>
                    </a:lnTo>
                    <a:lnTo>
                      <a:pt x="23" y="879"/>
                    </a:lnTo>
                    <a:lnTo>
                      <a:pt x="20" y="920"/>
                    </a:lnTo>
                    <a:lnTo>
                      <a:pt x="23" y="961"/>
                    </a:lnTo>
                    <a:lnTo>
                      <a:pt x="29" y="1002"/>
                    </a:lnTo>
                    <a:lnTo>
                      <a:pt x="42" y="1040"/>
                    </a:lnTo>
                    <a:lnTo>
                      <a:pt x="59" y="1079"/>
                    </a:lnTo>
                    <a:lnTo>
                      <a:pt x="59" y="1080"/>
                    </a:lnTo>
                    <a:lnTo>
                      <a:pt x="59" y="1081"/>
                    </a:lnTo>
                    <a:lnTo>
                      <a:pt x="58" y="1081"/>
                    </a:lnTo>
                    <a:lnTo>
                      <a:pt x="56" y="1081"/>
                    </a:lnTo>
                    <a:lnTo>
                      <a:pt x="54" y="1080"/>
                    </a:lnTo>
                    <a:lnTo>
                      <a:pt x="35" y="1046"/>
                    </a:lnTo>
                    <a:lnTo>
                      <a:pt x="20" y="1010"/>
                    </a:lnTo>
                    <a:lnTo>
                      <a:pt x="9" y="972"/>
                    </a:lnTo>
                    <a:lnTo>
                      <a:pt x="2" y="932"/>
                    </a:lnTo>
                    <a:lnTo>
                      <a:pt x="0" y="892"/>
                    </a:lnTo>
                    <a:lnTo>
                      <a:pt x="1" y="852"/>
                    </a:lnTo>
                    <a:lnTo>
                      <a:pt x="8" y="811"/>
                    </a:lnTo>
                    <a:lnTo>
                      <a:pt x="18" y="773"/>
                    </a:lnTo>
                    <a:lnTo>
                      <a:pt x="32" y="735"/>
                    </a:lnTo>
                    <a:lnTo>
                      <a:pt x="51" y="699"/>
                    </a:lnTo>
                    <a:lnTo>
                      <a:pt x="75" y="664"/>
                    </a:lnTo>
                    <a:lnTo>
                      <a:pt x="102" y="634"/>
                    </a:lnTo>
                    <a:lnTo>
                      <a:pt x="134" y="606"/>
                    </a:lnTo>
                    <a:lnTo>
                      <a:pt x="171" y="584"/>
                    </a:lnTo>
                    <a:lnTo>
                      <a:pt x="199" y="568"/>
                    </a:lnTo>
                    <a:lnTo>
                      <a:pt x="230" y="557"/>
                    </a:lnTo>
                    <a:lnTo>
                      <a:pt x="263" y="549"/>
                    </a:lnTo>
                    <a:lnTo>
                      <a:pt x="296" y="546"/>
                    </a:lnTo>
                    <a:lnTo>
                      <a:pt x="329" y="546"/>
                    </a:lnTo>
                    <a:lnTo>
                      <a:pt x="362" y="549"/>
                    </a:lnTo>
                    <a:lnTo>
                      <a:pt x="395" y="555"/>
                    </a:lnTo>
                    <a:lnTo>
                      <a:pt x="425" y="563"/>
                    </a:lnTo>
                    <a:lnTo>
                      <a:pt x="453" y="574"/>
                    </a:lnTo>
                    <a:lnTo>
                      <a:pt x="462" y="577"/>
                    </a:lnTo>
                    <a:lnTo>
                      <a:pt x="471" y="578"/>
                    </a:lnTo>
                    <a:lnTo>
                      <a:pt x="479" y="576"/>
                    </a:lnTo>
                    <a:lnTo>
                      <a:pt x="486" y="570"/>
                    </a:lnTo>
                    <a:lnTo>
                      <a:pt x="491" y="563"/>
                    </a:lnTo>
                    <a:lnTo>
                      <a:pt x="495" y="544"/>
                    </a:lnTo>
                    <a:lnTo>
                      <a:pt x="500" y="524"/>
                    </a:lnTo>
                    <a:lnTo>
                      <a:pt x="507" y="506"/>
                    </a:lnTo>
                    <a:lnTo>
                      <a:pt x="526" y="456"/>
                    </a:lnTo>
                    <a:lnTo>
                      <a:pt x="551" y="407"/>
                    </a:lnTo>
                    <a:lnTo>
                      <a:pt x="581" y="360"/>
                    </a:lnTo>
                    <a:lnTo>
                      <a:pt x="610" y="319"/>
                    </a:lnTo>
                    <a:lnTo>
                      <a:pt x="645" y="282"/>
                    </a:lnTo>
                    <a:lnTo>
                      <a:pt x="685" y="249"/>
                    </a:lnTo>
                    <a:lnTo>
                      <a:pt x="729" y="219"/>
                    </a:lnTo>
                    <a:lnTo>
                      <a:pt x="774" y="194"/>
                    </a:lnTo>
                    <a:lnTo>
                      <a:pt x="823" y="173"/>
                    </a:lnTo>
                    <a:lnTo>
                      <a:pt x="873" y="157"/>
                    </a:lnTo>
                    <a:lnTo>
                      <a:pt x="926" y="147"/>
                    </a:lnTo>
                    <a:lnTo>
                      <a:pt x="979" y="141"/>
                    </a:lnTo>
                    <a:lnTo>
                      <a:pt x="1033" y="143"/>
                    </a:lnTo>
                    <a:lnTo>
                      <a:pt x="1086" y="149"/>
                    </a:lnTo>
                    <a:lnTo>
                      <a:pt x="1138" y="162"/>
                    </a:lnTo>
                    <a:lnTo>
                      <a:pt x="1190" y="181"/>
                    </a:lnTo>
                    <a:lnTo>
                      <a:pt x="1209" y="190"/>
                    </a:lnTo>
                    <a:lnTo>
                      <a:pt x="1224" y="197"/>
                    </a:lnTo>
                    <a:lnTo>
                      <a:pt x="1233" y="202"/>
                    </a:lnTo>
                    <a:lnTo>
                      <a:pt x="1240" y="204"/>
                    </a:lnTo>
                    <a:lnTo>
                      <a:pt x="1243" y="205"/>
                    </a:lnTo>
                    <a:lnTo>
                      <a:pt x="1244" y="205"/>
                    </a:lnTo>
                    <a:lnTo>
                      <a:pt x="1244" y="205"/>
                    </a:lnTo>
                    <a:lnTo>
                      <a:pt x="1243" y="204"/>
                    </a:lnTo>
                    <a:lnTo>
                      <a:pt x="1243" y="203"/>
                    </a:lnTo>
                    <a:lnTo>
                      <a:pt x="1242" y="203"/>
                    </a:lnTo>
                    <a:lnTo>
                      <a:pt x="1243" y="202"/>
                    </a:lnTo>
                    <a:lnTo>
                      <a:pt x="1243" y="202"/>
                    </a:lnTo>
                    <a:lnTo>
                      <a:pt x="1247" y="197"/>
                    </a:lnTo>
                    <a:lnTo>
                      <a:pt x="1253" y="189"/>
                    </a:lnTo>
                    <a:lnTo>
                      <a:pt x="1263" y="180"/>
                    </a:lnTo>
                    <a:lnTo>
                      <a:pt x="1272" y="171"/>
                    </a:lnTo>
                    <a:lnTo>
                      <a:pt x="1281" y="161"/>
                    </a:lnTo>
                    <a:lnTo>
                      <a:pt x="1288" y="154"/>
                    </a:lnTo>
                    <a:lnTo>
                      <a:pt x="1321" y="123"/>
                    </a:lnTo>
                    <a:lnTo>
                      <a:pt x="1357" y="97"/>
                    </a:lnTo>
                    <a:lnTo>
                      <a:pt x="1400" y="69"/>
                    </a:lnTo>
                    <a:lnTo>
                      <a:pt x="1447" y="46"/>
                    </a:lnTo>
                    <a:lnTo>
                      <a:pt x="1496" y="26"/>
                    </a:lnTo>
                    <a:lnTo>
                      <a:pt x="1546" y="13"/>
                    </a:lnTo>
                    <a:lnTo>
                      <a:pt x="1598" y="4"/>
                    </a:lnTo>
                    <a:lnTo>
                      <a:pt x="1652" y="0"/>
                    </a:lnTo>
                    <a:close/>
                  </a:path>
                </a:pathLst>
              </a:custGeom>
              <a:solidFill>
                <a:schemeClr val="tx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07972" tIns="107972" rIns="107972" bIns="107972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eaLnBrk="0" fontAlgn="base" hangingPunct="0">
                  <a:spcAft>
                    <a:spcPct val="0"/>
                  </a:spcAft>
                  <a:defRPr/>
                </a:pPr>
                <a:endParaRPr lang="de-DE" sz="1200" dirty="0">
                  <a:solidFill>
                    <a:srgbClr val="3B3B3B"/>
                  </a:solidFill>
                  <a:latin typeface="EnBW DIN Pro"/>
                </a:endParaRPr>
              </a:p>
            </p:txBody>
          </p:sp>
          <p:sp>
            <p:nvSpPr>
              <p:cNvPr id="230" name="Freeform 268">
                <a:extLst>
                  <a:ext uri="{FF2B5EF4-FFF2-40B4-BE49-F238E27FC236}">
                    <a16:creationId xmlns:a16="http://schemas.microsoft.com/office/drawing/2014/main" id="{10938810-C81A-40D2-B749-D8CF1FFA09B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33032" y="2782274"/>
                <a:ext cx="184727" cy="33194"/>
              </a:xfrm>
              <a:custGeom>
                <a:avLst/>
                <a:gdLst>
                  <a:gd name="T0" fmla="*/ 1011 w 1024"/>
                  <a:gd name="T1" fmla="*/ 0 h 180"/>
                  <a:gd name="T2" fmla="*/ 1017 w 1024"/>
                  <a:gd name="T3" fmla="*/ 2 h 180"/>
                  <a:gd name="T4" fmla="*/ 1023 w 1024"/>
                  <a:gd name="T5" fmla="*/ 8 h 180"/>
                  <a:gd name="T6" fmla="*/ 1024 w 1024"/>
                  <a:gd name="T7" fmla="*/ 14 h 180"/>
                  <a:gd name="T8" fmla="*/ 1022 w 1024"/>
                  <a:gd name="T9" fmla="*/ 21 h 180"/>
                  <a:gd name="T10" fmla="*/ 994 w 1024"/>
                  <a:gd name="T11" fmla="*/ 53 h 180"/>
                  <a:gd name="T12" fmla="*/ 964 w 1024"/>
                  <a:gd name="T13" fmla="*/ 82 h 180"/>
                  <a:gd name="T14" fmla="*/ 931 w 1024"/>
                  <a:gd name="T15" fmla="*/ 105 h 180"/>
                  <a:gd name="T16" fmla="*/ 895 w 1024"/>
                  <a:gd name="T17" fmla="*/ 126 h 180"/>
                  <a:gd name="T18" fmla="*/ 858 w 1024"/>
                  <a:gd name="T19" fmla="*/ 143 h 180"/>
                  <a:gd name="T20" fmla="*/ 819 w 1024"/>
                  <a:gd name="T21" fmla="*/ 156 h 180"/>
                  <a:gd name="T22" fmla="*/ 780 w 1024"/>
                  <a:gd name="T23" fmla="*/ 164 h 180"/>
                  <a:gd name="T24" fmla="*/ 739 w 1024"/>
                  <a:gd name="T25" fmla="*/ 169 h 180"/>
                  <a:gd name="T26" fmla="*/ 698 w 1024"/>
                  <a:gd name="T27" fmla="*/ 169 h 180"/>
                  <a:gd name="T28" fmla="*/ 657 w 1024"/>
                  <a:gd name="T29" fmla="*/ 165 h 180"/>
                  <a:gd name="T30" fmla="*/ 617 w 1024"/>
                  <a:gd name="T31" fmla="*/ 156 h 180"/>
                  <a:gd name="T32" fmla="*/ 580 w 1024"/>
                  <a:gd name="T33" fmla="*/ 145 h 180"/>
                  <a:gd name="T34" fmla="*/ 545 w 1024"/>
                  <a:gd name="T35" fmla="*/ 133 h 180"/>
                  <a:gd name="T36" fmla="*/ 514 w 1024"/>
                  <a:gd name="T37" fmla="*/ 121 h 180"/>
                  <a:gd name="T38" fmla="*/ 486 w 1024"/>
                  <a:gd name="T39" fmla="*/ 111 h 180"/>
                  <a:gd name="T40" fmla="*/ 442 w 1024"/>
                  <a:gd name="T41" fmla="*/ 101 h 180"/>
                  <a:gd name="T42" fmla="*/ 395 w 1024"/>
                  <a:gd name="T43" fmla="*/ 92 h 180"/>
                  <a:gd name="T44" fmla="*/ 348 w 1024"/>
                  <a:gd name="T45" fmla="*/ 87 h 180"/>
                  <a:gd name="T46" fmla="*/ 299 w 1024"/>
                  <a:gd name="T47" fmla="*/ 86 h 180"/>
                  <a:gd name="T48" fmla="*/ 249 w 1024"/>
                  <a:gd name="T49" fmla="*/ 88 h 180"/>
                  <a:gd name="T50" fmla="*/ 198 w 1024"/>
                  <a:gd name="T51" fmla="*/ 96 h 180"/>
                  <a:gd name="T52" fmla="*/ 148 w 1024"/>
                  <a:gd name="T53" fmla="*/ 109 h 180"/>
                  <a:gd name="T54" fmla="*/ 99 w 1024"/>
                  <a:gd name="T55" fmla="*/ 126 h 180"/>
                  <a:gd name="T56" fmla="*/ 52 w 1024"/>
                  <a:gd name="T57" fmla="*/ 150 h 180"/>
                  <a:gd name="T58" fmla="*/ 4 w 1024"/>
                  <a:gd name="T59" fmla="*/ 180 h 180"/>
                  <a:gd name="T60" fmla="*/ 3 w 1024"/>
                  <a:gd name="T61" fmla="*/ 180 h 180"/>
                  <a:gd name="T62" fmla="*/ 1 w 1024"/>
                  <a:gd name="T63" fmla="*/ 180 h 180"/>
                  <a:gd name="T64" fmla="*/ 0 w 1024"/>
                  <a:gd name="T65" fmla="*/ 178 h 180"/>
                  <a:gd name="T66" fmla="*/ 0 w 1024"/>
                  <a:gd name="T67" fmla="*/ 176 h 180"/>
                  <a:gd name="T68" fmla="*/ 1 w 1024"/>
                  <a:gd name="T69" fmla="*/ 175 h 180"/>
                  <a:gd name="T70" fmla="*/ 49 w 1024"/>
                  <a:gd name="T71" fmla="*/ 134 h 180"/>
                  <a:gd name="T72" fmla="*/ 99 w 1024"/>
                  <a:gd name="T73" fmla="*/ 99 h 180"/>
                  <a:gd name="T74" fmla="*/ 153 w 1024"/>
                  <a:gd name="T75" fmla="*/ 69 h 180"/>
                  <a:gd name="T76" fmla="*/ 209 w 1024"/>
                  <a:gd name="T77" fmla="*/ 44 h 180"/>
                  <a:gd name="T78" fmla="*/ 267 w 1024"/>
                  <a:gd name="T79" fmla="*/ 25 h 180"/>
                  <a:gd name="T80" fmla="*/ 325 w 1024"/>
                  <a:gd name="T81" fmla="*/ 11 h 180"/>
                  <a:gd name="T82" fmla="*/ 385 w 1024"/>
                  <a:gd name="T83" fmla="*/ 3 h 180"/>
                  <a:gd name="T84" fmla="*/ 447 w 1024"/>
                  <a:gd name="T85" fmla="*/ 1 h 180"/>
                  <a:gd name="T86" fmla="*/ 508 w 1024"/>
                  <a:gd name="T87" fmla="*/ 5 h 180"/>
                  <a:gd name="T88" fmla="*/ 553 w 1024"/>
                  <a:gd name="T89" fmla="*/ 15 h 180"/>
                  <a:gd name="T90" fmla="*/ 592 w 1024"/>
                  <a:gd name="T91" fmla="*/ 26 h 180"/>
                  <a:gd name="T92" fmla="*/ 629 w 1024"/>
                  <a:gd name="T93" fmla="*/ 35 h 180"/>
                  <a:gd name="T94" fmla="*/ 663 w 1024"/>
                  <a:gd name="T95" fmla="*/ 43 h 180"/>
                  <a:gd name="T96" fmla="*/ 697 w 1024"/>
                  <a:gd name="T97" fmla="*/ 50 h 180"/>
                  <a:gd name="T98" fmla="*/ 731 w 1024"/>
                  <a:gd name="T99" fmla="*/ 53 h 180"/>
                  <a:gd name="T100" fmla="*/ 769 w 1024"/>
                  <a:gd name="T101" fmla="*/ 53 h 180"/>
                  <a:gd name="T102" fmla="*/ 813 w 1024"/>
                  <a:gd name="T103" fmla="*/ 51 h 180"/>
                  <a:gd name="T104" fmla="*/ 859 w 1024"/>
                  <a:gd name="T105" fmla="*/ 45 h 180"/>
                  <a:gd name="T106" fmla="*/ 906 w 1024"/>
                  <a:gd name="T107" fmla="*/ 36 h 180"/>
                  <a:gd name="T108" fmla="*/ 954 w 1024"/>
                  <a:gd name="T109" fmla="*/ 21 h 180"/>
                  <a:gd name="T110" fmla="*/ 1003 w 1024"/>
                  <a:gd name="T111" fmla="*/ 1 h 180"/>
                  <a:gd name="T112" fmla="*/ 1011 w 1024"/>
                  <a:gd name="T113" fmla="*/ 0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024" h="180">
                    <a:moveTo>
                      <a:pt x="1011" y="0"/>
                    </a:moveTo>
                    <a:lnTo>
                      <a:pt x="1017" y="2"/>
                    </a:lnTo>
                    <a:lnTo>
                      <a:pt x="1023" y="8"/>
                    </a:lnTo>
                    <a:lnTo>
                      <a:pt x="1024" y="14"/>
                    </a:lnTo>
                    <a:lnTo>
                      <a:pt x="1022" y="21"/>
                    </a:lnTo>
                    <a:lnTo>
                      <a:pt x="994" y="53"/>
                    </a:lnTo>
                    <a:lnTo>
                      <a:pt x="964" y="82"/>
                    </a:lnTo>
                    <a:lnTo>
                      <a:pt x="931" y="105"/>
                    </a:lnTo>
                    <a:lnTo>
                      <a:pt x="895" y="126"/>
                    </a:lnTo>
                    <a:lnTo>
                      <a:pt x="858" y="143"/>
                    </a:lnTo>
                    <a:lnTo>
                      <a:pt x="819" y="156"/>
                    </a:lnTo>
                    <a:lnTo>
                      <a:pt x="780" y="164"/>
                    </a:lnTo>
                    <a:lnTo>
                      <a:pt x="739" y="169"/>
                    </a:lnTo>
                    <a:lnTo>
                      <a:pt x="698" y="169"/>
                    </a:lnTo>
                    <a:lnTo>
                      <a:pt x="657" y="165"/>
                    </a:lnTo>
                    <a:lnTo>
                      <a:pt x="617" y="156"/>
                    </a:lnTo>
                    <a:lnTo>
                      <a:pt x="580" y="145"/>
                    </a:lnTo>
                    <a:lnTo>
                      <a:pt x="545" y="133"/>
                    </a:lnTo>
                    <a:lnTo>
                      <a:pt x="514" y="121"/>
                    </a:lnTo>
                    <a:lnTo>
                      <a:pt x="486" y="111"/>
                    </a:lnTo>
                    <a:lnTo>
                      <a:pt x="442" y="101"/>
                    </a:lnTo>
                    <a:lnTo>
                      <a:pt x="395" y="92"/>
                    </a:lnTo>
                    <a:lnTo>
                      <a:pt x="348" y="87"/>
                    </a:lnTo>
                    <a:lnTo>
                      <a:pt x="299" y="86"/>
                    </a:lnTo>
                    <a:lnTo>
                      <a:pt x="249" y="88"/>
                    </a:lnTo>
                    <a:lnTo>
                      <a:pt x="198" y="96"/>
                    </a:lnTo>
                    <a:lnTo>
                      <a:pt x="148" y="109"/>
                    </a:lnTo>
                    <a:lnTo>
                      <a:pt x="99" y="126"/>
                    </a:lnTo>
                    <a:lnTo>
                      <a:pt x="52" y="150"/>
                    </a:lnTo>
                    <a:lnTo>
                      <a:pt x="4" y="180"/>
                    </a:lnTo>
                    <a:lnTo>
                      <a:pt x="3" y="180"/>
                    </a:lnTo>
                    <a:lnTo>
                      <a:pt x="1" y="180"/>
                    </a:lnTo>
                    <a:lnTo>
                      <a:pt x="0" y="178"/>
                    </a:lnTo>
                    <a:lnTo>
                      <a:pt x="0" y="176"/>
                    </a:lnTo>
                    <a:lnTo>
                      <a:pt x="1" y="175"/>
                    </a:lnTo>
                    <a:lnTo>
                      <a:pt x="49" y="134"/>
                    </a:lnTo>
                    <a:lnTo>
                      <a:pt x="99" y="99"/>
                    </a:lnTo>
                    <a:lnTo>
                      <a:pt x="153" y="69"/>
                    </a:lnTo>
                    <a:lnTo>
                      <a:pt x="209" y="44"/>
                    </a:lnTo>
                    <a:lnTo>
                      <a:pt x="267" y="25"/>
                    </a:lnTo>
                    <a:lnTo>
                      <a:pt x="325" y="11"/>
                    </a:lnTo>
                    <a:lnTo>
                      <a:pt x="385" y="3"/>
                    </a:lnTo>
                    <a:lnTo>
                      <a:pt x="447" y="1"/>
                    </a:lnTo>
                    <a:lnTo>
                      <a:pt x="508" y="5"/>
                    </a:lnTo>
                    <a:lnTo>
                      <a:pt x="553" y="15"/>
                    </a:lnTo>
                    <a:lnTo>
                      <a:pt x="592" y="26"/>
                    </a:lnTo>
                    <a:lnTo>
                      <a:pt x="629" y="35"/>
                    </a:lnTo>
                    <a:lnTo>
                      <a:pt x="663" y="43"/>
                    </a:lnTo>
                    <a:lnTo>
                      <a:pt x="697" y="50"/>
                    </a:lnTo>
                    <a:lnTo>
                      <a:pt x="731" y="53"/>
                    </a:lnTo>
                    <a:lnTo>
                      <a:pt x="769" y="53"/>
                    </a:lnTo>
                    <a:lnTo>
                      <a:pt x="813" y="51"/>
                    </a:lnTo>
                    <a:lnTo>
                      <a:pt x="859" y="45"/>
                    </a:lnTo>
                    <a:lnTo>
                      <a:pt x="906" y="36"/>
                    </a:lnTo>
                    <a:lnTo>
                      <a:pt x="954" y="21"/>
                    </a:lnTo>
                    <a:lnTo>
                      <a:pt x="1003" y="1"/>
                    </a:lnTo>
                    <a:lnTo>
                      <a:pt x="1011" y="0"/>
                    </a:lnTo>
                    <a:close/>
                  </a:path>
                </a:pathLst>
              </a:custGeom>
              <a:solidFill>
                <a:schemeClr val="tx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07972" tIns="107972" rIns="107972" bIns="107972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eaLnBrk="0" fontAlgn="base" hangingPunct="0">
                  <a:spcAft>
                    <a:spcPct val="0"/>
                  </a:spcAft>
                  <a:defRPr/>
                </a:pPr>
                <a:endParaRPr lang="de-DE" sz="1200" dirty="0">
                  <a:solidFill>
                    <a:srgbClr val="3B3B3B"/>
                  </a:solidFill>
                  <a:latin typeface="EnBW DIN Pro"/>
                </a:endParaRPr>
              </a:p>
            </p:txBody>
          </p:sp>
          <p:sp>
            <p:nvSpPr>
              <p:cNvPr id="231" name="Freeform 269">
                <a:extLst>
                  <a:ext uri="{FF2B5EF4-FFF2-40B4-BE49-F238E27FC236}">
                    <a16:creationId xmlns:a16="http://schemas.microsoft.com/office/drawing/2014/main" id="{43FD16BD-1C72-4D46-B491-EE63910865EF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804589" y="2852990"/>
                <a:ext cx="285750" cy="258330"/>
              </a:xfrm>
              <a:custGeom>
                <a:avLst/>
                <a:gdLst>
                  <a:gd name="T0" fmla="*/ 741 w 1580"/>
                  <a:gd name="T1" fmla="*/ 366 h 1436"/>
                  <a:gd name="T2" fmla="*/ 651 w 1580"/>
                  <a:gd name="T3" fmla="*/ 390 h 1436"/>
                  <a:gd name="T4" fmla="*/ 573 w 1580"/>
                  <a:gd name="T5" fmla="*/ 437 h 1436"/>
                  <a:gd name="T6" fmla="*/ 508 w 1580"/>
                  <a:gd name="T7" fmla="*/ 501 h 1436"/>
                  <a:gd name="T8" fmla="*/ 462 w 1580"/>
                  <a:gd name="T9" fmla="*/ 580 h 1436"/>
                  <a:gd name="T10" fmla="*/ 437 w 1580"/>
                  <a:gd name="T11" fmla="*/ 670 h 1436"/>
                  <a:gd name="T12" fmla="*/ 437 w 1580"/>
                  <a:gd name="T13" fmla="*/ 767 h 1436"/>
                  <a:gd name="T14" fmla="*/ 462 w 1580"/>
                  <a:gd name="T15" fmla="*/ 857 h 1436"/>
                  <a:gd name="T16" fmla="*/ 508 w 1580"/>
                  <a:gd name="T17" fmla="*/ 936 h 1436"/>
                  <a:gd name="T18" fmla="*/ 573 w 1580"/>
                  <a:gd name="T19" fmla="*/ 1000 h 1436"/>
                  <a:gd name="T20" fmla="*/ 651 w 1580"/>
                  <a:gd name="T21" fmla="*/ 1046 h 1436"/>
                  <a:gd name="T22" fmla="*/ 741 w 1580"/>
                  <a:gd name="T23" fmla="*/ 1071 h 1436"/>
                  <a:gd name="T24" fmla="*/ 838 w 1580"/>
                  <a:gd name="T25" fmla="*/ 1071 h 1436"/>
                  <a:gd name="T26" fmla="*/ 928 w 1580"/>
                  <a:gd name="T27" fmla="*/ 1046 h 1436"/>
                  <a:gd name="T28" fmla="*/ 1008 w 1580"/>
                  <a:gd name="T29" fmla="*/ 1000 h 1436"/>
                  <a:gd name="T30" fmla="*/ 1071 w 1580"/>
                  <a:gd name="T31" fmla="*/ 936 h 1436"/>
                  <a:gd name="T32" fmla="*/ 1118 w 1580"/>
                  <a:gd name="T33" fmla="*/ 857 h 1436"/>
                  <a:gd name="T34" fmla="*/ 1142 w 1580"/>
                  <a:gd name="T35" fmla="*/ 767 h 1436"/>
                  <a:gd name="T36" fmla="*/ 1142 w 1580"/>
                  <a:gd name="T37" fmla="*/ 670 h 1436"/>
                  <a:gd name="T38" fmla="*/ 1118 w 1580"/>
                  <a:gd name="T39" fmla="*/ 580 h 1436"/>
                  <a:gd name="T40" fmla="*/ 1071 w 1580"/>
                  <a:gd name="T41" fmla="*/ 501 h 1436"/>
                  <a:gd name="T42" fmla="*/ 1008 w 1580"/>
                  <a:gd name="T43" fmla="*/ 437 h 1436"/>
                  <a:gd name="T44" fmla="*/ 928 w 1580"/>
                  <a:gd name="T45" fmla="*/ 390 h 1436"/>
                  <a:gd name="T46" fmla="*/ 838 w 1580"/>
                  <a:gd name="T47" fmla="*/ 366 h 1436"/>
                  <a:gd name="T48" fmla="*/ 241 w 1580"/>
                  <a:gd name="T49" fmla="*/ 0 h 1436"/>
                  <a:gd name="T50" fmla="*/ 790 w 1580"/>
                  <a:gd name="T51" fmla="*/ 12 h 1436"/>
                  <a:gd name="T52" fmla="*/ 1338 w 1580"/>
                  <a:gd name="T53" fmla="*/ 0 h 1436"/>
                  <a:gd name="T54" fmla="*/ 1347 w 1580"/>
                  <a:gd name="T55" fmla="*/ 4 h 1436"/>
                  <a:gd name="T56" fmla="*/ 1353 w 1580"/>
                  <a:gd name="T57" fmla="*/ 11 h 1436"/>
                  <a:gd name="T58" fmla="*/ 1358 w 1580"/>
                  <a:gd name="T59" fmla="*/ 185 h 1436"/>
                  <a:gd name="T60" fmla="*/ 1388 w 1580"/>
                  <a:gd name="T61" fmla="*/ 524 h 1436"/>
                  <a:gd name="T62" fmla="*/ 1444 w 1580"/>
                  <a:gd name="T63" fmla="*/ 859 h 1436"/>
                  <a:gd name="T64" fmla="*/ 1579 w 1580"/>
                  <a:gd name="T65" fmla="*/ 1421 h 1436"/>
                  <a:gd name="T66" fmla="*/ 1578 w 1580"/>
                  <a:gd name="T67" fmla="*/ 1430 h 1436"/>
                  <a:gd name="T68" fmla="*/ 1572 w 1580"/>
                  <a:gd name="T69" fmla="*/ 1436 h 1436"/>
                  <a:gd name="T70" fmla="*/ 11 w 1580"/>
                  <a:gd name="T71" fmla="*/ 1436 h 1436"/>
                  <a:gd name="T72" fmla="*/ 3 w 1580"/>
                  <a:gd name="T73" fmla="*/ 1434 h 1436"/>
                  <a:gd name="T74" fmla="*/ 0 w 1580"/>
                  <a:gd name="T75" fmla="*/ 1426 h 1436"/>
                  <a:gd name="T76" fmla="*/ 98 w 1580"/>
                  <a:gd name="T77" fmla="*/ 1026 h 1436"/>
                  <a:gd name="T78" fmla="*/ 166 w 1580"/>
                  <a:gd name="T79" fmla="*/ 693 h 1436"/>
                  <a:gd name="T80" fmla="*/ 209 w 1580"/>
                  <a:gd name="T81" fmla="*/ 355 h 1436"/>
                  <a:gd name="T82" fmla="*/ 227 w 1580"/>
                  <a:gd name="T83" fmla="*/ 15 h 1436"/>
                  <a:gd name="T84" fmla="*/ 230 w 1580"/>
                  <a:gd name="T85" fmla="*/ 6 h 1436"/>
                  <a:gd name="T86" fmla="*/ 237 w 1580"/>
                  <a:gd name="T87" fmla="*/ 1 h 14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580" h="1436">
                    <a:moveTo>
                      <a:pt x="790" y="363"/>
                    </a:moveTo>
                    <a:lnTo>
                      <a:pt x="741" y="366"/>
                    </a:lnTo>
                    <a:lnTo>
                      <a:pt x="696" y="375"/>
                    </a:lnTo>
                    <a:lnTo>
                      <a:pt x="651" y="390"/>
                    </a:lnTo>
                    <a:lnTo>
                      <a:pt x="610" y="412"/>
                    </a:lnTo>
                    <a:lnTo>
                      <a:pt x="573" y="437"/>
                    </a:lnTo>
                    <a:lnTo>
                      <a:pt x="539" y="466"/>
                    </a:lnTo>
                    <a:lnTo>
                      <a:pt x="508" y="501"/>
                    </a:lnTo>
                    <a:lnTo>
                      <a:pt x="483" y="539"/>
                    </a:lnTo>
                    <a:lnTo>
                      <a:pt x="462" y="580"/>
                    </a:lnTo>
                    <a:lnTo>
                      <a:pt x="446" y="624"/>
                    </a:lnTo>
                    <a:lnTo>
                      <a:pt x="437" y="670"/>
                    </a:lnTo>
                    <a:lnTo>
                      <a:pt x="434" y="718"/>
                    </a:lnTo>
                    <a:lnTo>
                      <a:pt x="437" y="767"/>
                    </a:lnTo>
                    <a:lnTo>
                      <a:pt x="446" y="813"/>
                    </a:lnTo>
                    <a:lnTo>
                      <a:pt x="462" y="857"/>
                    </a:lnTo>
                    <a:lnTo>
                      <a:pt x="483" y="898"/>
                    </a:lnTo>
                    <a:lnTo>
                      <a:pt x="508" y="936"/>
                    </a:lnTo>
                    <a:lnTo>
                      <a:pt x="539" y="970"/>
                    </a:lnTo>
                    <a:lnTo>
                      <a:pt x="573" y="1000"/>
                    </a:lnTo>
                    <a:lnTo>
                      <a:pt x="610" y="1026"/>
                    </a:lnTo>
                    <a:lnTo>
                      <a:pt x="651" y="1046"/>
                    </a:lnTo>
                    <a:lnTo>
                      <a:pt x="696" y="1061"/>
                    </a:lnTo>
                    <a:lnTo>
                      <a:pt x="741" y="1071"/>
                    </a:lnTo>
                    <a:lnTo>
                      <a:pt x="790" y="1075"/>
                    </a:lnTo>
                    <a:lnTo>
                      <a:pt x="838" y="1071"/>
                    </a:lnTo>
                    <a:lnTo>
                      <a:pt x="885" y="1061"/>
                    </a:lnTo>
                    <a:lnTo>
                      <a:pt x="928" y="1046"/>
                    </a:lnTo>
                    <a:lnTo>
                      <a:pt x="969" y="1026"/>
                    </a:lnTo>
                    <a:lnTo>
                      <a:pt x="1008" y="1000"/>
                    </a:lnTo>
                    <a:lnTo>
                      <a:pt x="1042" y="970"/>
                    </a:lnTo>
                    <a:lnTo>
                      <a:pt x="1071" y="936"/>
                    </a:lnTo>
                    <a:lnTo>
                      <a:pt x="1096" y="898"/>
                    </a:lnTo>
                    <a:lnTo>
                      <a:pt x="1118" y="857"/>
                    </a:lnTo>
                    <a:lnTo>
                      <a:pt x="1133" y="813"/>
                    </a:lnTo>
                    <a:lnTo>
                      <a:pt x="1142" y="767"/>
                    </a:lnTo>
                    <a:lnTo>
                      <a:pt x="1145" y="718"/>
                    </a:lnTo>
                    <a:lnTo>
                      <a:pt x="1142" y="670"/>
                    </a:lnTo>
                    <a:lnTo>
                      <a:pt x="1133" y="624"/>
                    </a:lnTo>
                    <a:lnTo>
                      <a:pt x="1118" y="580"/>
                    </a:lnTo>
                    <a:lnTo>
                      <a:pt x="1096" y="539"/>
                    </a:lnTo>
                    <a:lnTo>
                      <a:pt x="1071" y="501"/>
                    </a:lnTo>
                    <a:lnTo>
                      <a:pt x="1042" y="466"/>
                    </a:lnTo>
                    <a:lnTo>
                      <a:pt x="1008" y="437"/>
                    </a:lnTo>
                    <a:lnTo>
                      <a:pt x="969" y="412"/>
                    </a:lnTo>
                    <a:lnTo>
                      <a:pt x="928" y="390"/>
                    </a:lnTo>
                    <a:lnTo>
                      <a:pt x="885" y="375"/>
                    </a:lnTo>
                    <a:lnTo>
                      <a:pt x="838" y="366"/>
                    </a:lnTo>
                    <a:lnTo>
                      <a:pt x="790" y="363"/>
                    </a:lnTo>
                    <a:close/>
                    <a:moveTo>
                      <a:pt x="241" y="0"/>
                    </a:moveTo>
                    <a:lnTo>
                      <a:pt x="516" y="9"/>
                    </a:lnTo>
                    <a:lnTo>
                      <a:pt x="790" y="12"/>
                    </a:lnTo>
                    <a:lnTo>
                      <a:pt x="1063" y="9"/>
                    </a:lnTo>
                    <a:lnTo>
                      <a:pt x="1338" y="0"/>
                    </a:lnTo>
                    <a:lnTo>
                      <a:pt x="1342" y="1"/>
                    </a:lnTo>
                    <a:lnTo>
                      <a:pt x="1347" y="4"/>
                    </a:lnTo>
                    <a:lnTo>
                      <a:pt x="1350" y="6"/>
                    </a:lnTo>
                    <a:lnTo>
                      <a:pt x="1353" y="11"/>
                    </a:lnTo>
                    <a:lnTo>
                      <a:pt x="1353" y="15"/>
                    </a:lnTo>
                    <a:lnTo>
                      <a:pt x="1358" y="185"/>
                    </a:lnTo>
                    <a:lnTo>
                      <a:pt x="1370" y="355"/>
                    </a:lnTo>
                    <a:lnTo>
                      <a:pt x="1388" y="524"/>
                    </a:lnTo>
                    <a:lnTo>
                      <a:pt x="1413" y="693"/>
                    </a:lnTo>
                    <a:lnTo>
                      <a:pt x="1444" y="859"/>
                    </a:lnTo>
                    <a:lnTo>
                      <a:pt x="1481" y="1026"/>
                    </a:lnTo>
                    <a:lnTo>
                      <a:pt x="1579" y="1421"/>
                    </a:lnTo>
                    <a:lnTo>
                      <a:pt x="1580" y="1426"/>
                    </a:lnTo>
                    <a:lnTo>
                      <a:pt x="1578" y="1430"/>
                    </a:lnTo>
                    <a:lnTo>
                      <a:pt x="1576" y="1434"/>
                    </a:lnTo>
                    <a:lnTo>
                      <a:pt x="1572" y="1436"/>
                    </a:lnTo>
                    <a:lnTo>
                      <a:pt x="1568" y="1436"/>
                    </a:lnTo>
                    <a:lnTo>
                      <a:pt x="11" y="1436"/>
                    </a:lnTo>
                    <a:lnTo>
                      <a:pt x="7" y="1436"/>
                    </a:lnTo>
                    <a:lnTo>
                      <a:pt x="3" y="1434"/>
                    </a:lnTo>
                    <a:lnTo>
                      <a:pt x="1" y="1430"/>
                    </a:lnTo>
                    <a:lnTo>
                      <a:pt x="0" y="1426"/>
                    </a:lnTo>
                    <a:lnTo>
                      <a:pt x="0" y="1421"/>
                    </a:lnTo>
                    <a:lnTo>
                      <a:pt x="98" y="1026"/>
                    </a:lnTo>
                    <a:lnTo>
                      <a:pt x="135" y="859"/>
                    </a:lnTo>
                    <a:lnTo>
                      <a:pt x="166" y="693"/>
                    </a:lnTo>
                    <a:lnTo>
                      <a:pt x="191" y="524"/>
                    </a:lnTo>
                    <a:lnTo>
                      <a:pt x="209" y="355"/>
                    </a:lnTo>
                    <a:lnTo>
                      <a:pt x="221" y="185"/>
                    </a:lnTo>
                    <a:lnTo>
                      <a:pt x="227" y="15"/>
                    </a:lnTo>
                    <a:lnTo>
                      <a:pt x="228" y="11"/>
                    </a:lnTo>
                    <a:lnTo>
                      <a:pt x="230" y="6"/>
                    </a:lnTo>
                    <a:lnTo>
                      <a:pt x="233" y="4"/>
                    </a:lnTo>
                    <a:lnTo>
                      <a:pt x="237" y="1"/>
                    </a:lnTo>
                    <a:lnTo>
                      <a:pt x="241" y="0"/>
                    </a:lnTo>
                    <a:close/>
                  </a:path>
                </a:pathLst>
              </a:custGeom>
              <a:solidFill>
                <a:schemeClr val="tx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07972" tIns="107972" rIns="107972" bIns="107972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eaLnBrk="0" fontAlgn="base" hangingPunct="0">
                  <a:spcAft>
                    <a:spcPct val="0"/>
                  </a:spcAft>
                  <a:defRPr/>
                </a:pPr>
                <a:endParaRPr lang="de-DE" sz="1200" dirty="0">
                  <a:solidFill>
                    <a:srgbClr val="3B3B3B"/>
                  </a:solidFill>
                  <a:latin typeface="EnBW DIN Pro"/>
                </a:endParaRPr>
              </a:p>
            </p:txBody>
          </p:sp>
          <p:sp>
            <p:nvSpPr>
              <p:cNvPr id="232" name="Oval 231">
                <a:extLst>
                  <a:ext uri="{FF2B5EF4-FFF2-40B4-BE49-F238E27FC236}">
                    <a16:creationId xmlns:a16="http://schemas.microsoft.com/office/drawing/2014/main" id="{48C3E204-77FC-4FE9-9142-C22544B8836C}"/>
                  </a:ext>
                </a:extLst>
              </p:cNvPr>
              <p:cNvSpPr/>
              <p:nvPr/>
            </p:nvSpPr>
            <p:spPr bwMode="gray">
              <a:xfrm>
                <a:off x="856369" y="2907259"/>
                <a:ext cx="180000" cy="155931"/>
              </a:xfrm>
              <a:prstGeom prst="ellipse">
                <a:avLst/>
              </a:prstGeom>
              <a:solidFill>
                <a:schemeClr val="tx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07972" tIns="107972" rIns="107972" bIns="107972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eaLnBrk="0" fontAlgn="base" hangingPunct="0">
                  <a:spcAft>
                    <a:spcPct val="0"/>
                  </a:spcAft>
                  <a:defRPr/>
                </a:pPr>
                <a:endParaRPr lang="de-DE" sz="1200" dirty="0">
                  <a:solidFill>
                    <a:srgbClr val="3B3B3B"/>
                  </a:solidFill>
                  <a:latin typeface="EnBW DIN Pro"/>
                </a:endParaRPr>
              </a:p>
            </p:txBody>
          </p:sp>
        </p:grpSp>
        <p:grpSp>
          <p:nvGrpSpPr>
            <p:cNvPr id="216" name="Group 215">
              <a:extLst>
                <a:ext uri="{FF2B5EF4-FFF2-40B4-BE49-F238E27FC236}">
                  <a16:creationId xmlns:a16="http://schemas.microsoft.com/office/drawing/2014/main" id="{035526B2-7529-4293-9FC3-A0D622FCAE65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710986" y="2303068"/>
              <a:ext cx="311227" cy="312887"/>
              <a:chOff x="804589" y="2617751"/>
              <a:chExt cx="510886" cy="493569"/>
            </a:xfrm>
            <a:solidFill>
              <a:schemeClr val="accent4"/>
            </a:solidFill>
          </p:grpSpPr>
          <p:sp>
            <p:nvSpPr>
              <p:cNvPr id="223" name="Freeform 266">
                <a:extLst>
                  <a:ext uri="{FF2B5EF4-FFF2-40B4-BE49-F238E27FC236}">
                    <a16:creationId xmlns:a16="http://schemas.microsoft.com/office/drawing/2014/main" id="{385369E2-AAB1-4A49-BB06-228E1E87A5A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062918" y="2853221"/>
                <a:ext cx="196273" cy="213591"/>
              </a:xfrm>
              <a:custGeom>
                <a:avLst/>
                <a:gdLst>
                  <a:gd name="T0" fmla="*/ 14 w 1086"/>
                  <a:gd name="T1" fmla="*/ 0 h 1187"/>
                  <a:gd name="T2" fmla="*/ 162 w 1086"/>
                  <a:gd name="T3" fmla="*/ 9 h 1187"/>
                  <a:gd name="T4" fmla="*/ 306 w 1086"/>
                  <a:gd name="T5" fmla="*/ 14 h 1187"/>
                  <a:gd name="T6" fmla="*/ 450 w 1086"/>
                  <a:gd name="T7" fmla="*/ 17 h 1187"/>
                  <a:gd name="T8" fmla="*/ 593 w 1086"/>
                  <a:gd name="T9" fmla="*/ 14 h 1187"/>
                  <a:gd name="T10" fmla="*/ 738 w 1086"/>
                  <a:gd name="T11" fmla="*/ 9 h 1187"/>
                  <a:gd name="T12" fmla="*/ 886 w 1086"/>
                  <a:gd name="T13" fmla="*/ 0 h 1187"/>
                  <a:gd name="T14" fmla="*/ 891 w 1086"/>
                  <a:gd name="T15" fmla="*/ 1 h 1187"/>
                  <a:gd name="T16" fmla="*/ 895 w 1086"/>
                  <a:gd name="T17" fmla="*/ 3 h 1187"/>
                  <a:gd name="T18" fmla="*/ 899 w 1086"/>
                  <a:gd name="T19" fmla="*/ 6 h 1187"/>
                  <a:gd name="T20" fmla="*/ 901 w 1086"/>
                  <a:gd name="T21" fmla="*/ 10 h 1187"/>
                  <a:gd name="T22" fmla="*/ 901 w 1086"/>
                  <a:gd name="T23" fmla="*/ 14 h 1187"/>
                  <a:gd name="T24" fmla="*/ 904 w 1086"/>
                  <a:gd name="T25" fmla="*/ 152 h 1187"/>
                  <a:gd name="T26" fmla="*/ 913 w 1086"/>
                  <a:gd name="T27" fmla="*/ 288 h 1187"/>
                  <a:gd name="T28" fmla="*/ 927 w 1086"/>
                  <a:gd name="T29" fmla="*/ 425 h 1187"/>
                  <a:gd name="T30" fmla="*/ 946 w 1086"/>
                  <a:gd name="T31" fmla="*/ 560 h 1187"/>
                  <a:gd name="T32" fmla="*/ 971 w 1086"/>
                  <a:gd name="T33" fmla="*/ 695 h 1187"/>
                  <a:gd name="T34" fmla="*/ 1002 w 1086"/>
                  <a:gd name="T35" fmla="*/ 828 h 1187"/>
                  <a:gd name="T36" fmla="*/ 1086 w 1086"/>
                  <a:gd name="T37" fmla="*/ 1172 h 1187"/>
                  <a:gd name="T38" fmla="*/ 1086 w 1086"/>
                  <a:gd name="T39" fmla="*/ 1177 h 1187"/>
                  <a:gd name="T40" fmla="*/ 1085 w 1086"/>
                  <a:gd name="T41" fmla="*/ 1180 h 1187"/>
                  <a:gd name="T42" fmla="*/ 1083 w 1086"/>
                  <a:gd name="T43" fmla="*/ 1183 h 1187"/>
                  <a:gd name="T44" fmla="*/ 1080 w 1086"/>
                  <a:gd name="T45" fmla="*/ 1186 h 1187"/>
                  <a:gd name="T46" fmla="*/ 1075 w 1086"/>
                  <a:gd name="T47" fmla="*/ 1187 h 1187"/>
                  <a:gd name="T48" fmla="*/ 213 w 1086"/>
                  <a:gd name="T49" fmla="*/ 1187 h 1187"/>
                  <a:gd name="T50" fmla="*/ 205 w 1086"/>
                  <a:gd name="T51" fmla="*/ 1185 h 1187"/>
                  <a:gd name="T52" fmla="*/ 198 w 1086"/>
                  <a:gd name="T53" fmla="*/ 1180 h 1187"/>
                  <a:gd name="T54" fmla="*/ 194 w 1086"/>
                  <a:gd name="T55" fmla="*/ 1172 h 1187"/>
                  <a:gd name="T56" fmla="*/ 123 w 1086"/>
                  <a:gd name="T57" fmla="*/ 884 h 1187"/>
                  <a:gd name="T58" fmla="*/ 84 w 1086"/>
                  <a:gd name="T59" fmla="*/ 712 h 1187"/>
                  <a:gd name="T60" fmla="*/ 53 w 1086"/>
                  <a:gd name="T61" fmla="*/ 540 h 1187"/>
                  <a:gd name="T62" fmla="*/ 28 w 1086"/>
                  <a:gd name="T63" fmla="*/ 365 h 1187"/>
                  <a:gd name="T64" fmla="*/ 10 w 1086"/>
                  <a:gd name="T65" fmla="*/ 191 h 1187"/>
                  <a:gd name="T66" fmla="*/ 0 w 1086"/>
                  <a:gd name="T67" fmla="*/ 15 h 1187"/>
                  <a:gd name="T68" fmla="*/ 0 w 1086"/>
                  <a:gd name="T69" fmla="*/ 11 h 1187"/>
                  <a:gd name="T70" fmla="*/ 2 w 1086"/>
                  <a:gd name="T71" fmla="*/ 6 h 1187"/>
                  <a:gd name="T72" fmla="*/ 5 w 1086"/>
                  <a:gd name="T73" fmla="*/ 3 h 1187"/>
                  <a:gd name="T74" fmla="*/ 9 w 1086"/>
                  <a:gd name="T75" fmla="*/ 1 h 1187"/>
                  <a:gd name="T76" fmla="*/ 14 w 1086"/>
                  <a:gd name="T77" fmla="*/ 0 h 1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086" h="1187">
                    <a:moveTo>
                      <a:pt x="14" y="0"/>
                    </a:moveTo>
                    <a:lnTo>
                      <a:pt x="162" y="9"/>
                    </a:lnTo>
                    <a:lnTo>
                      <a:pt x="306" y="14"/>
                    </a:lnTo>
                    <a:lnTo>
                      <a:pt x="450" y="17"/>
                    </a:lnTo>
                    <a:lnTo>
                      <a:pt x="593" y="14"/>
                    </a:lnTo>
                    <a:lnTo>
                      <a:pt x="738" y="9"/>
                    </a:lnTo>
                    <a:lnTo>
                      <a:pt x="886" y="0"/>
                    </a:lnTo>
                    <a:lnTo>
                      <a:pt x="891" y="1"/>
                    </a:lnTo>
                    <a:lnTo>
                      <a:pt x="895" y="3"/>
                    </a:lnTo>
                    <a:lnTo>
                      <a:pt x="899" y="6"/>
                    </a:lnTo>
                    <a:lnTo>
                      <a:pt x="901" y="10"/>
                    </a:lnTo>
                    <a:lnTo>
                      <a:pt x="901" y="14"/>
                    </a:lnTo>
                    <a:lnTo>
                      <a:pt x="904" y="152"/>
                    </a:lnTo>
                    <a:lnTo>
                      <a:pt x="913" y="288"/>
                    </a:lnTo>
                    <a:lnTo>
                      <a:pt x="927" y="425"/>
                    </a:lnTo>
                    <a:lnTo>
                      <a:pt x="946" y="560"/>
                    </a:lnTo>
                    <a:lnTo>
                      <a:pt x="971" y="695"/>
                    </a:lnTo>
                    <a:lnTo>
                      <a:pt x="1002" y="828"/>
                    </a:lnTo>
                    <a:lnTo>
                      <a:pt x="1086" y="1172"/>
                    </a:lnTo>
                    <a:lnTo>
                      <a:pt x="1086" y="1177"/>
                    </a:lnTo>
                    <a:lnTo>
                      <a:pt x="1085" y="1180"/>
                    </a:lnTo>
                    <a:lnTo>
                      <a:pt x="1083" y="1183"/>
                    </a:lnTo>
                    <a:lnTo>
                      <a:pt x="1080" y="1186"/>
                    </a:lnTo>
                    <a:lnTo>
                      <a:pt x="1075" y="1187"/>
                    </a:lnTo>
                    <a:lnTo>
                      <a:pt x="213" y="1187"/>
                    </a:lnTo>
                    <a:lnTo>
                      <a:pt x="205" y="1185"/>
                    </a:lnTo>
                    <a:lnTo>
                      <a:pt x="198" y="1180"/>
                    </a:lnTo>
                    <a:lnTo>
                      <a:pt x="194" y="1172"/>
                    </a:lnTo>
                    <a:lnTo>
                      <a:pt x="123" y="884"/>
                    </a:lnTo>
                    <a:lnTo>
                      <a:pt x="84" y="712"/>
                    </a:lnTo>
                    <a:lnTo>
                      <a:pt x="53" y="540"/>
                    </a:lnTo>
                    <a:lnTo>
                      <a:pt x="28" y="365"/>
                    </a:lnTo>
                    <a:lnTo>
                      <a:pt x="10" y="191"/>
                    </a:lnTo>
                    <a:lnTo>
                      <a:pt x="0" y="15"/>
                    </a:lnTo>
                    <a:lnTo>
                      <a:pt x="0" y="11"/>
                    </a:lnTo>
                    <a:lnTo>
                      <a:pt x="2" y="6"/>
                    </a:lnTo>
                    <a:lnTo>
                      <a:pt x="5" y="3"/>
                    </a:lnTo>
                    <a:lnTo>
                      <a:pt x="9" y="1"/>
                    </a:lnTo>
                    <a:lnTo>
                      <a:pt x="14" y="0"/>
                    </a:lnTo>
                    <a:close/>
                  </a:path>
                </a:pathLst>
              </a:custGeom>
              <a:solidFill>
                <a:schemeClr val="tx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07972" tIns="107972" rIns="107972" bIns="107972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eaLnBrk="0" fontAlgn="base" hangingPunct="0">
                  <a:spcAft>
                    <a:spcPct val="0"/>
                  </a:spcAft>
                  <a:defRPr/>
                </a:pPr>
                <a:endParaRPr lang="de-DE" sz="1200" dirty="0">
                  <a:solidFill>
                    <a:srgbClr val="3B3B3B"/>
                  </a:solidFill>
                  <a:latin typeface="EnBW DIN Pro"/>
                </a:endParaRPr>
              </a:p>
            </p:txBody>
          </p:sp>
          <p:sp>
            <p:nvSpPr>
              <p:cNvPr id="224" name="Freeform 267">
                <a:extLst>
                  <a:ext uri="{FF2B5EF4-FFF2-40B4-BE49-F238E27FC236}">
                    <a16:creationId xmlns:a16="http://schemas.microsoft.com/office/drawing/2014/main" id="{5425FA87-0B3D-4BDA-A940-856C2EFA940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39225" y="2617751"/>
                <a:ext cx="476250" cy="246785"/>
              </a:xfrm>
              <a:custGeom>
                <a:avLst/>
                <a:gdLst>
                  <a:gd name="T0" fmla="*/ 1863 w 2640"/>
                  <a:gd name="T1" fmla="*/ 45 h 1362"/>
                  <a:gd name="T2" fmla="*/ 2005 w 2640"/>
                  <a:gd name="T3" fmla="*/ 145 h 1362"/>
                  <a:gd name="T4" fmla="*/ 2063 w 2640"/>
                  <a:gd name="T5" fmla="*/ 194 h 1362"/>
                  <a:gd name="T6" fmla="*/ 2217 w 2640"/>
                  <a:gd name="T7" fmla="*/ 211 h 1362"/>
                  <a:gd name="T8" fmla="*/ 2441 w 2640"/>
                  <a:gd name="T9" fmla="*/ 326 h 1362"/>
                  <a:gd name="T10" fmla="*/ 2602 w 2640"/>
                  <a:gd name="T11" fmla="*/ 560 h 1362"/>
                  <a:gd name="T12" fmla="*/ 2637 w 2640"/>
                  <a:gd name="T13" fmla="*/ 834 h 1362"/>
                  <a:gd name="T14" fmla="*/ 2550 w 2640"/>
                  <a:gd name="T15" fmla="*/ 1091 h 1362"/>
                  <a:gd name="T16" fmla="*/ 2356 w 2640"/>
                  <a:gd name="T17" fmla="*/ 1275 h 1362"/>
                  <a:gd name="T18" fmla="*/ 2098 w 2640"/>
                  <a:gd name="T19" fmla="*/ 1329 h 1362"/>
                  <a:gd name="T20" fmla="*/ 1926 w 2640"/>
                  <a:gd name="T21" fmla="*/ 1282 h 1362"/>
                  <a:gd name="T22" fmla="*/ 1775 w 2640"/>
                  <a:gd name="T23" fmla="*/ 1325 h 1362"/>
                  <a:gd name="T24" fmla="*/ 1628 w 2640"/>
                  <a:gd name="T25" fmla="*/ 1359 h 1362"/>
                  <a:gd name="T26" fmla="*/ 1723 w 2640"/>
                  <a:gd name="T27" fmla="*/ 1330 h 1362"/>
                  <a:gd name="T28" fmla="*/ 1899 w 2640"/>
                  <a:gd name="T29" fmla="*/ 1247 h 1362"/>
                  <a:gd name="T30" fmla="*/ 2007 w 2640"/>
                  <a:gd name="T31" fmla="*/ 1269 h 1362"/>
                  <a:gd name="T32" fmla="*/ 2238 w 2640"/>
                  <a:gd name="T33" fmla="*/ 1255 h 1362"/>
                  <a:gd name="T34" fmla="*/ 2421 w 2640"/>
                  <a:gd name="T35" fmla="*/ 1120 h 1362"/>
                  <a:gd name="T36" fmla="*/ 2513 w 2640"/>
                  <a:gd name="T37" fmla="*/ 915 h 1362"/>
                  <a:gd name="T38" fmla="*/ 2499 w 2640"/>
                  <a:gd name="T39" fmla="*/ 675 h 1362"/>
                  <a:gd name="T40" fmla="*/ 2376 w 2640"/>
                  <a:gd name="T41" fmla="*/ 479 h 1362"/>
                  <a:gd name="T42" fmla="*/ 2193 w 2640"/>
                  <a:gd name="T43" fmla="*/ 389 h 1362"/>
                  <a:gd name="T44" fmla="*/ 2078 w 2640"/>
                  <a:gd name="T45" fmla="*/ 386 h 1362"/>
                  <a:gd name="T46" fmla="*/ 1959 w 2640"/>
                  <a:gd name="T47" fmla="*/ 362 h 1362"/>
                  <a:gd name="T48" fmla="*/ 1858 w 2640"/>
                  <a:gd name="T49" fmla="*/ 288 h 1362"/>
                  <a:gd name="T50" fmla="*/ 1765 w 2640"/>
                  <a:gd name="T51" fmla="*/ 235 h 1362"/>
                  <a:gd name="T52" fmla="*/ 1548 w 2640"/>
                  <a:gd name="T53" fmla="*/ 217 h 1362"/>
                  <a:gd name="T54" fmla="*/ 1399 w 2640"/>
                  <a:gd name="T55" fmla="*/ 294 h 1362"/>
                  <a:gd name="T56" fmla="*/ 1364 w 2640"/>
                  <a:gd name="T57" fmla="*/ 327 h 1362"/>
                  <a:gd name="T58" fmla="*/ 1242 w 2640"/>
                  <a:gd name="T59" fmla="*/ 373 h 1362"/>
                  <a:gd name="T60" fmla="*/ 1159 w 2640"/>
                  <a:gd name="T61" fmla="*/ 348 h 1362"/>
                  <a:gd name="T62" fmla="*/ 1010 w 2640"/>
                  <a:gd name="T63" fmla="*/ 288 h 1362"/>
                  <a:gd name="T64" fmla="*/ 805 w 2640"/>
                  <a:gd name="T65" fmla="*/ 318 h 1362"/>
                  <a:gd name="T66" fmla="*/ 639 w 2640"/>
                  <a:gd name="T67" fmla="*/ 459 h 1362"/>
                  <a:gd name="T68" fmla="*/ 575 w 2640"/>
                  <a:gd name="T69" fmla="*/ 586 h 1362"/>
                  <a:gd name="T70" fmla="*/ 507 w 2640"/>
                  <a:gd name="T71" fmla="*/ 666 h 1362"/>
                  <a:gd name="T72" fmla="*/ 421 w 2640"/>
                  <a:gd name="T73" fmla="*/ 646 h 1362"/>
                  <a:gd name="T74" fmla="*/ 358 w 2640"/>
                  <a:gd name="T75" fmla="*/ 618 h 1362"/>
                  <a:gd name="T76" fmla="*/ 196 w 2640"/>
                  <a:gd name="T77" fmla="*/ 630 h 1362"/>
                  <a:gd name="T78" fmla="*/ 58 w 2640"/>
                  <a:gd name="T79" fmla="*/ 764 h 1362"/>
                  <a:gd name="T80" fmla="*/ 23 w 2640"/>
                  <a:gd name="T81" fmla="*/ 961 h 1362"/>
                  <a:gd name="T82" fmla="*/ 59 w 2640"/>
                  <a:gd name="T83" fmla="*/ 1081 h 1362"/>
                  <a:gd name="T84" fmla="*/ 20 w 2640"/>
                  <a:gd name="T85" fmla="*/ 1010 h 1362"/>
                  <a:gd name="T86" fmla="*/ 8 w 2640"/>
                  <a:gd name="T87" fmla="*/ 811 h 1362"/>
                  <a:gd name="T88" fmla="*/ 102 w 2640"/>
                  <a:gd name="T89" fmla="*/ 634 h 1362"/>
                  <a:gd name="T90" fmla="*/ 263 w 2640"/>
                  <a:gd name="T91" fmla="*/ 549 h 1362"/>
                  <a:gd name="T92" fmla="*/ 425 w 2640"/>
                  <a:gd name="T93" fmla="*/ 563 h 1362"/>
                  <a:gd name="T94" fmla="*/ 486 w 2640"/>
                  <a:gd name="T95" fmla="*/ 570 h 1362"/>
                  <a:gd name="T96" fmla="*/ 526 w 2640"/>
                  <a:gd name="T97" fmla="*/ 456 h 1362"/>
                  <a:gd name="T98" fmla="*/ 685 w 2640"/>
                  <a:gd name="T99" fmla="*/ 249 h 1362"/>
                  <a:gd name="T100" fmla="*/ 926 w 2640"/>
                  <a:gd name="T101" fmla="*/ 147 h 1362"/>
                  <a:gd name="T102" fmla="*/ 1190 w 2640"/>
                  <a:gd name="T103" fmla="*/ 181 h 1362"/>
                  <a:gd name="T104" fmla="*/ 1243 w 2640"/>
                  <a:gd name="T105" fmla="*/ 205 h 1362"/>
                  <a:gd name="T106" fmla="*/ 1242 w 2640"/>
                  <a:gd name="T107" fmla="*/ 203 h 1362"/>
                  <a:gd name="T108" fmla="*/ 1263 w 2640"/>
                  <a:gd name="T109" fmla="*/ 180 h 1362"/>
                  <a:gd name="T110" fmla="*/ 1357 w 2640"/>
                  <a:gd name="T111" fmla="*/ 97 h 1362"/>
                  <a:gd name="T112" fmla="*/ 1598 w 2640"/>
                  <a:gd name="T113" fmla="*/ 4 h 13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2640" h="1362">
                    <a:moveTo>
                      <a:pt x="1652" y="0"/>
                    </a:moveTo>
                    <a:lnTo>
                      <a:pt x="1704" y="1"/>
                    </a:lnTo>
                    <a:lnTo>
                      <a:pt x="1759" y="10"/>
                    </a:lnTo>
                    <a:lnTo>
                      <a:pt x="1811" y="25"/>
                    </a:lnTo>
                    <a:lnTo>
                      <a:pt x="1863" y="45"/>
                    </a:lnTo>
                    <a:lnTo>
                      <a:pt x="1910" y="70"/>
                    </a:lnTo>
                    <a:lnTo>
                      <a:pt x="1929" y="81"/>
                    </a:lnTo>
                    <a:lnTo>
                      <a:pt x="1946" y="94"/>
                    </a:lnTo>
                    <a:lnTo>
                      <a:pt x="1976" y="119"/>
                    </a:lnTo>
                    <a:lnTo>
                      <a:pt x="2005" y="145"/>
                    </a:lnTo>
                    <a:lnTo>
                      <a:pt x="2028" y="168"/>
                    </a:lnTo>
                    <a:lnTo>
                      <a:pt x="2035" y="174"/>
                    </a:lnTo>
                    <a:lnTo>
                      <a:pt x="2043" y="182"/>
                    </a:lnTo>
                    <a:lnTo>
                      <a:pt x="2050" y="188"/>
                    </a:lnTo>
                    <a:lnTo>
                      <a:pt x="2063" y="194"/>
                    </a:lnTo>
                    <a:lnTo>
                      <a:pt x="2076" y="197"/>
                    </a:lnTo>
                    <a:lnTo>
                      <a:pt x="2095" y="198"/>
                    </a:lnTo>
                    <a:lnTo>
                      <a:pt x="2113" y="197"/>
                    </a:lnTo>
                    <a:lnTo>
                      <a:pt x="2165" y="202"/>
                    </a:lnTo>
                    <a:lnTo>
                      <a:pt x="2217" y="211"/>
                    </a:lnTo>
                    <a:lnTo>
                      <a:pt x="2266" y="226"/>
                    </a:lnTo>
                    <a:lnTo>
                      <a:pt x="2313" y="244"/>
                    </a:lnTo>
                    <a:lnTo>
                      <a:pt x="2359" y="268"/>
                    </a:lnTo>
                    <a:lnTo>
                      <a:pt x="2401" y="295"/>
                    </a:lnTo>
                    <a:lnTo>
                      <a:pt x="2441" y="326"/>
                    </a:lnTo>
                    <a:lnTo>
                      <a:pt x="2483" y="367"/>
                    </a:lnTo>
                    <a:lnTo>
                      <a:pt x="2520" y="411"/>
                    </a:lnTo>
                    <a:lnTo>
                      <a:pt x="2553" y="458"/>
                    </a:lnTo>
                    <a:lnTo>
                      <a:pt x="2580" y="508"/>
                    </a:lnTo>
                    <a:lnTo>
                      <a:pt x="2602" y="560"/>
                    </a:lnTo>
                    <a:lnTo>
                      <a:pt x="2619" y="613"/>
                    </a:lnTo>
                    <a:lnTo>
                      <a:pt x="2631" y="668"/>
                    </a:lnTo>
                    <a:lnTo>
                      <a:pt x="2638" y="724"/>
                    </a:lnTo>
                    <a:lnTo>
                      <a:pt x="2640" y="778"/>
                    </a:lnTo>
                    <a:lnTo>
                      <a:pt x="2637" y="834"/>
                    </a:lnTo>
                    <a:lnTo>
                      <a:pt x="2629" y="888"/>
                    </a:lnTo>
                    <a:lnTo>
                      <a:pt x="2616" y="941"/>
                    </a:lnTo>
                    <a:lnTo>
                      <a:pt x="2599" y="994"/>
                    </a:lnTo>
                    <a:lnTo>
                      <a:pt x="2578" y="1043"/>
                    </a:lnTo>
                    <a:lnTo>
                      <a:pt x="2550" y="1091"/>
                    </a:lnTo>
                    <a:lnTo>
                      <a:pt x="2518" y="1135"/>
                    </a:lnTo>
                    <a:lnTo>
                      <a:pt x="2483" y="1176"/>
                    </a:lnTo>
                    <a:lnTo>
                      <a:pt x="2444" y="1214"/>
                    </a:lnTo>
                    <a:lnTo>
                      <a:pt x="2401" y="1247"/>
                    </a:lnTo>
                    <a:lnTo>
                      <a:pt x="2356" y="1275"/>
                    </a:lnTo>
                    <a:lnTo>
                      <a:pt x="2308" y="1298"/>
                    </a:lnTo>
                    <a:lnTo>
                      <a:pt x="2258" y="1315"/>
                    </a:lnTo>
                    <a:lnTo>
                      <a:pt x="2205" y="1325"/>
                    </a:lnTo>
                    <a:lnTo>
                      <a:pt x="2151" y="1330"/>
                    </a:lnTo>
                    <a:lnTo>
                      <a:pt x="2098" y="1329"/>
                    </a:lnTo>
                    <a:lnTo>
                      <a:pt x="2046" y="1321"/>
                    </a:lnTo>
                    <a:lnTo>
                      <a:pt x="1996" y="1307"/>
                    </a:lnTo>
                    <a:lnTo>
                      <a:pt x="1971" y="1298"/>
                    </a:lnTo>
                    <a:lnTo>
                      <a:pt x="1948" y="1289"/>
                    </a:lnTo>
                    <a:lnTo>
                      <a:pt x="1926" y="1282"/>
                    </a:lnTo>
                    <a:lnTo>
                      <a:pt x="1905" y="1277"/>
                    </a:lnTo>
                    <a:lnTo>
                      <a:pt x="1884" y="1277"/>
                    </a:lnTo>
                    <a:lnTo>
                      <a:pt x="1861" y="1282"/>
                    </a:lnTo>
                    <a:lnTo>
                      <a:pt x="1820" y="1305"/>
                    </a:lnTo>
                    <a:lnTo>
                      <a:pt x="1775" y="1325"/>
                    </a:lnTo>
                    <a:lnTo>
                      <a:pt x="1728" y="1342"/>
                    </a:lnTo>
                    <a:lnTo>
                      <a:pt x="1680" y="1355"/>
                    </a:lnTo>
                    <a:lnTo>
                      <a:pt x="1631" y="1362"/>
                    </a:lnTo>
                    <a:lnTo>
                      <a:pt x="1629" y="1361"/>
                    </a:lnTo>
                    <a:lnTo>
                      <a:pt x="1628" y="1359"/>
                    </a:lnTo>
                    <a:lnTo>
                      <a:pt x="1628" y="1358"/>
                    </a:lnTo>
                    <a:lnTo>
                      <a:pt x="1628" y="1357"/>
                    </a:lnTo>
                    <a:lnTo>
                      <a:pt x="1629" y="1357"/>
                    </a:lnTo>
                    <a:lnTo>
                      <a:pt x="1676" y="1346"/>
                    </a:lnTo>
                    <a:lnTo>
                      <a:pt x="1723" y="1330"/>
                    </a:lnTo>
                    <a:lnTo>
                      <a:pt x="1767" y="1309"/>
                    </a:lnTo>
                    <a:lnTo>
                      <a:pt x="1810" y="1285"/>
                    </a:lnTo>
                    <a:lnTo>
                      <a:pt x="1852" y="1257"/>
                    </a:lnTo>
                    <a:lnTo>
                      <a:pt x="1875" y="1249"/>
                    </a:lnTo>
                    <a:lnTo>
                      <a:pt x="1899" y="1247"/>
                    </a:lnTo>
                    <a:lnTo>
                      <a:pt x="1922" y="1248"/>
                    </a:lnTo>
                    <a:lnTo>
                      <a:pt x="1946" y="1251"/>
                    </a:lnTo>
                    <a:lnTo>
                      <a:pt x="1967" y="1257"/>
                    </a:lnTo>
                    <a:lnTo>
                      <a:pt x="1988" y="1264"/>
                    </a:lnTo>
                    <a:lnTo>
                      <a:pt x="2007" y="1269"/>
                    </a:lnTo>
                    <a:lnTo>
                      <a:pt x="2054" y="1277"/>
                    </a:lnTo>
                    <a:lnTo>
                      <a:pt x="2101" y="1280"/>
                    </a:lnTo>
                    <a:lnTo>
                      <a:pt x="2147" y="1276"/>
                    </a:lnTo>
                    <a:lnTo>
                      <a:pt x="2194" y="1268"/>
                    </a:lnTo>
                    <a:lnTo>
                      <a:pt x="2238" y="1255"/>
                    </a:lnTo>
                    <a:lnTo>
                      <a:pt x="2280" y="1236"/>
                    </a:lnTo>
                    <a:lnTo>
                      <a:pt x="2320" y="1214"/>
                    </a:lnTo>
                    <a:lnTo>
                      <a:pt x="2357" y="1186"/>
                    </a:lnTo>
                    <a:lnTo>
                      <a:pt x="2390" y="1154"/>
                    </a:lnTo>
                    <a:lnTo>
                      <a:pt x="2421" y="1120"/>
                    </a:lnTo>
                    <a:lnTo>
                      <a:pt x="2447" y="1083"/>
                    </a:lnTo>
                    <a:lnTo>
                      <a:pt x="2469" y="1044"/>
                    </a:lnTo>
                    <a:lnTo>
                      <a:pt x="2489" y="1002"/>
                    </a:lnTo>
                    <a:lnTo>
                      <a:pt x="2504" y="960"/>
                    </a:lnTo>
                    <a:lnTo>
                      <a:pt x="2513" y="915"/>
                    </a:lnTo>
                    <a:lnTo>
                      <a:pt x="2520" y="867"/>
                    </a:lnTo>
                    <a:lnTo>
                      <a:pt x="2522" y="818"/>
                    </a:lnTo>
                    <a:lnTo>
                      <a:pt x="2520" y="769"/>
                    </a:lnTo>
                    <a:lnTo>
                      <a:pt x="2512" y="721"/>
                    </a:lnTo>
                    <a:lnTo>
                      <a:pt x="2499" y="675"/>
                    </a:lnTo>
                    <a:lnTo>
                      <a:pt x="2483" y="630"/>
                    </a:lnTo>
                    <a:lnTo>
                      <a:pt x="2462" y="588"/>
                    </a:lnTo>
                    <a:lnTo>
                      <a:pt x="2436" y="548"/>
                    </a:lnTo>
                    <a:lnTo>
                      <a:pt x="2408" y="512"/>
                    </a:lnTo>
                    <a:lnTo>
                      <a:pt x="2376" y="479"/>
                    </a:lnTo>
                    <a:lnTo>
                      <a:pt x="2341" y="450"/>
                    </a:lnTo>
                    <a:lnTo>
                      <a:pt x="2306" y="429"/>
                    </a:lnTo>
                    <a:lnTo>
                      <a:pt x="2269" y="410"/>
                    </a:lnTo>
                    <a:lnTo>
                      <a:pt x="2232" y="397"/>
                    </a:lnTo>
                    <a:lnTo>
                      <a:pt x="2193" y="389"/>
                    </a:lnTo>
                    <a:lnTo>
                      <a:pt x="2153" y="384"/>
                    </a:lnTo>
                    <a:lnTo>
                      <a:pt x="2114" y="384"/>
                    </a:lnTo>
                    <a:lnTo>
                      <a:pt x="2106" y="385"/>
                    </a:lnTo>
                    <a:lnTo>
                      <a:pt x="2094" y="386"/>
                    </a:lnTo>
                    <a:lnTo>
                      <a:pt x="2078" y="386"/>
                    </a:lnTo>
                    <a:lnTo>
                      <a:pt x="2058" y="386"/>
                    </a:lnTo>
                    <a:lnTo>
                      <a:pt x="2038" y="385"/>
                    </a:lnTo>
                    <a:lnTo>
                      <a:pt x="2017" y="382"/>
                    </a:lnTo>
                    <a:lnTo>
                      <a:pt x="1988" y="374"/>
                    </a:lnTo>
                    <a:lnTo>
                      <a:pt x="1959" y="362"/>
                    </a:lnTo>
                    <a:lnTo>
                      <a:pt x="1932" y="348"/>
                    </a:lnTo>
                    <a:lnTo>
                      <a:pt x="1908" y="331"/>
                    </a:lnTo>
                    <a:lnTo>
                      <a:pt x="1889" y="313"/>
                    </a:lnTo>
                    <a:lnTo>
                      <a:pt x="1872" y="300"/>
                    </a:lnTo>
                    <a:lnTo>
                      <a:pt x="1858" y="288"/>
                    </a:lnTo>
                    <a:lnTo>
                      <a:pt x="1846" y="279"/>
                    </a:lnTo>
                    <a:lnTo>
                      <a:pt x="1832" y="270"/>
                    </a:lnTo>
                    <a:lnTo>
                      <a:pt x="1818" y="262"/>
                    </a:lnTo>
                    <a:lnTo>
                      <a:pt x="1803" y="254"/>
                    </a:lnTo>
                    <a:lnTo>
                      <a:pt x="1765" y="235"/>
                    </a:lnTo>
                    <a:lnTo>
                      <a:pt x="1725" y="222"/>
                    </a:lnTo>
                    <a:lnTo>
                      <a:pt x="1684" y="214"/>
                    </a:lnTo>
                    <a:lnTo>
                      <a:pt x="1639" y="209"/>
                    </a:lnTo>
                    <a:lnTo>
                      <a:pt x="1594" y="210"/>
                    </a:lnTo>
                    <a:lnTo>
                      <a:pt x="1548" y="217"/>
                    </a:lnTo>
                    <a:lnTo>
                      <a:pt x="1504" y="230"/>
                    </a:lnTo>
                    <a:lnTo>
                      <a:pt x="1461" y="251"/>
                    </a:lnTo>
                    <a:lnTo>
                      <a:pt x="1436" y="267"/>
                    </a:lnTo>
                    <a:lnTo>
                      <a:pt x="1412" y="285"/>
                    </a:lnTo>
                    <a:lnTo>
                      <a:pt x="1399" y="294"/>
                    </a:lnTo>
                    <a:lnTo>
                      <a:pt x="1388" y="304"/>
                    </a:lnTo>
                    <a:lnTo>
                      <a:pt x="1384" y="308"/>
                    </a:lnTo>
                    <a:lnTo>
                      <a:pt x="1380" y="312"/>
                    </a:lnTo>
                    <a:lnTo>
                      <a:pt x="1373" y="319"/>
                    </a:lnTo>
                    <a:lnTo>
                      <a:pt x="1364" y="327"/>
                    </a:lnTo>
                    <a:lnTo>
                      <a:pt x="1353" y="337"/>
                    </a:lnTo>
                    <a:lnTo>
                      <a:pt x="1327" y="353"/>
                    </a:lnTo>
                    <a:lnTo>
                      <a:pt x="1300" y="365"/>
                    </a:lnTo>
                    <a:lnTo>
                      <a:pt x="1272" y="372"/>
                    </a:lnTo>
                    <a:lnTo>
                      <a:pt x="1242" y="373"/>
                    </a:lnTo>
                    <a:lnTo>
                      <a:pt x="1212" y="369"/>
                    </a:lnTo>
                    <a:lnTo>
                      <a:pt x="1198" y="366"/>
                    </a:lnTo>
                    <a:lnTo>
                      <a:pt x="1184" y="360"/>
                    </a:lnTo>
                    <a:lnTo>
                      <a:pt x="1170" y="353"/>
                    </a:lnTo>
                    <a:lnTo>
                      <a:pt x="1159" y="348"/>
                    </a:lnTo>
                    <a:lnTo>
                      <a:pt x="1152" y="343"/>
                    </a:lnTo>
                    <a:lnTo>
                      <a:pt x="1126" y="328"/>
                    </a:lnTo>
                    <a:lnTo>
                      <a:pt x="1088" y="310"/>
                    </a:lnTo>
                    <a:lnTo>
                      <a:pt x="1050" y="296"/>
                    </a:lnTo>
                    <a:lnTo>
                      <a:pt x="1010" y="288"/>
                    </a:lnTo>
                    <a:lnTo>
                      <a:pt x="969" y="285"/>
                    </a:lnTo>
                    <a:lnTo>
                      <a:pt x="927" y="286"/>
                    </a:lnTo>
                    <a:lnTo>
                      <a:pt x="886" y="292"/>
                    </a:lnTo>
                    <a:lnTo>
                      <a:pt x="845" y="303"/>
                    </a:lnTo>
                    <a:lnTo>
                      <a:pt x="805" y="318"/>
                    </a:lnTo>
                    <a:lnTo>
                      <a:pt x="766" y="337"/>
                    </a:lnTo>
                    <a:lnTo>
                      <a:pt x="730" y="362"/>
                    </a:lnTo>
                    <a:lnTo>
                      <a:pt x="697" y="391"/>
                    </a:lnTo>
                    <a:lnTo>
                      <a:pt x="666" y="424"/>
                    </a:lnTo>
                    <a:lnTo>
                      <a:pt x="639" y="459"/>
                    </a:lnTo>
                    <a:lnTo>
                      <a:pt x="615" y="497"/>
                    </a:lnTo>
                    <a:lnTo>
                      <a:pt x="594" y="538"/>
                    </a:lnTo>
                    <a:lnTo>
                      <a:pt x="587" y="554"/>
                    </a:lnTo>
                    <a:lnTo>
                      <a:pt x="581" y="570"/>
                    </a:lnTo>
                    <a:lnTo>
                      <a:pt x="575" y="586"/>
                    </a:lnTo>
                    <a:lnTo>
                      <a:pt x="569" y="605"/>
                    </a:lnTo>
                    <a:lnTo>
                      <a:pt x="560" y="626"/>
                    </a:lnTo>
                    <a:lnTo>
                      <a:pt x="545" y="643"/>
                    </a:lnTo>
                    <a:lnTo>
                      <a:pt x="527" y="656"/>
                    </a:lnTo>
                    <a:lnTo>
                      <a:pt x="507" y="666"/>
                    </a:lnTo>
                    <a:lnTo>
                      <a:pt x="483" y="669"/>
                    </a:lnTo>
                    <a:lnTo>
                      <a:pt x="459" y="666"/>
                    </a:lnTo>
                    <a:lnTo>
                      <a:pt x="443" y="658"/>
                    </a:lnTo>
                    <a:lnTo>
                      <a:pt x="430" y="652"/>
                    </a:lnTo>
                    <a:lnTo>
                      <a:pt x="421" y="646"/>
                    </a:lnTo>
                    <a:lnTo>
                      <a:pt x="413" y="642"/>
                    </a:lnTo>
                    <a:lnTo>
                      <a:pt x="406" y="637"/>
                    </a:lnTo>
                    <a:lnTo>
                      <a:pt x="399" y="634"/>
                    </a:lnTo>
                    <a:lnTo>
                      <a:pt x="389" y="629"/>
                    </a:lnTo>
                    <a:lnTo>
                      <a:pt x="358" y="618"/>
                    </a:lnTo>
                    <a:lnTo>
                      <a:pt x="327" y="612"/>
                    </a:lnTo>
                    <a:lnTo>
                      <a:pt x="294" y="610"/>
                    </a:lnTo>
                    <a:lnTo>
                      <a:pt x="261" y="612"/>
                    </a:lnTo>
                    <a:lnTo>
                      <a:pt x="228" y="619"/>
                    </a:lnTo>
                    <a:lnTo>
                      <a:pt x="196" y="630"/>
                    </a:lnTo>
                    <a:lnTo>
                      <a:pt x="162" y="648"/>
                    </a:lnTo>
                    <a:lnTo>
                      <a:pt x="130" y="671"/>
                    </a:lnTo>
                    <a:lnTo>
                      <a:pt x="101" y="699"/>
                    </a:lnTo>
                    <a:lnTo>
                      <a:pt x="77" y="729"/>
                    </a:lnTo>
                    <a:lnTo>
                      <a:pt x="58" y="764"/>
                    </a:lnTo>
                    <a:lnTo>
                      <a:pt x="42" y="800"/>
                    </a:lnTo>
                    <a:lnTo>
                      <a:pt x="31" y="839"/>
                    </a:lnTo>
                    <a:lnTo>
                      <a:pt x="23" y="879"/>
                    </a:lnTo>
                    <a:lnTo>
                      <a:pt x="20" y="920"/>
                    </a:lnTo>
                    <a:lnTo>
                      <a:pt x="23" y="961"/>
                    </a:lnTo>
                    <a:lnTo>
                      <a:pt x="29" y="1002"/>
                    </a:lnTo>
                    <a:lnTo>
                      <a:pt x="42" y="1040"/>
                    </a:lnTo>
                    <a:lnTo>
                      <a:pt x="59" y="1079"/>
                    </a:lnTo>
                    <a:lnTo>
                      <a:pt x="59" y="1080"/>
                    </a:lnTo>
                    <a:lnTo>
                      <a:pt x="59" y="1081"/>
                    </a:lnTo>
                    <a:lnTo>
                      <a:pt x="58" y="1081"/>
                    </a:lnTo>
                    <a:lnTo>
                      <a:pt x="56" y="1081"/>
                    </a:lnTo>
                    <a:lnTo>
                      <a:pt x="54" y="1080"/>
                    </a:lnTo>
                    <a:lnTo>
                      <a:pt x="35" y="1046"/>
                    </a:lnTo>
                    <a:lnTo>
                      <a:pt x="20" y="1010"/>
                    </a:lnTo>
                    <a:lnTo>
                      <a:pt x="9" y="972"/>
                    </a:lnTo>
                    <a:lnTo>
                      <a:pt x="2" y="932"/>
                    </a:lnTo>
                    <a:lnTo>
                      <a:pt x="0" y="892"/>
                    </a:lnTo>
                    <a:lnTo>
                      <a:pt x="1" y="852"/>
                    </a:lnTo>
                    <a:lnTo>
                      <a:pt x="8" y="811"/>
                    </a:lnTo>
                    <a:lnTo>
                      <a:pt x="18" y="773"/>
                    </a:lnTo>
                    <a:lnTo>
                      <a:pt x="32" y="735"/>
                    </a:lnTo>
                    <a:lnTo>
                      <a:pt x="51" y="699"/>
                    </a:lnTo>
                    <a:lnTo>
                      <a:pt x="75" y="664"/>
                    </a:lnTo>
                    <a:lnTo>
                      <a:pt x="102" y="634"/>
                    </a:lnTo>
                    <a:lnTo>
                      <a:pt x="134" y="606"/>
                    </a:lnTo>
                    <a:lnTo>
                      <a:pt x="171" y="584"/>
                    </a:lnTo>
                    <a:lnTo>
                      <a:pt x="199" y="568"/>
                    </a:lnTo>
                    <a:lnTo>
                      <a:pt x="230" y="557"/>
                    </a:lnTo>
                    <a:lnTo>
                      <a:pt x="263" y="549"/>
                    </a:lnTo>
                    <a:lnTo>
                      <a:pt x="296" y="546"/>
                    </a:lnTo>
                    <a:lnTo>
                      <a:pt x="329" y="546"/>
                    </a:lnTo>
                    <a:lnTo>
                      <a:pt x="362" y="549"/>
                    </a:lnTo>
                    <a:lnTo>
                      <a:pt x="395" y="555"/>
                    </a:lnTo>
                    <a:lnTo>
                      <a:pt x="425" y="563"/>
                    </a:lnTo>
                    <a:lnTo>
                      <a:pt x="453" y="574"/>
                    </a:lnTo>
                    <a:lnTo>
                      <a:pt x="462" y="577"/>
                    </a:lnTo>
                    <a:lnTo>
                      <a:pt x="471" y="578"/>
                    </a:lnTo>
                    <a:lnTo>
                      <a:pt x="479" y="576"/>
                    </a:lnTo>
                    <a:lnTo>
                      <a:pt x="486" y="570"/>
                    </a:lnTo>
                    <a:lnTo>
                      <a:pt x="491" y="563"/>
                    </a:lnTo>
                    <a:lnTo>
                      <a:pt x="495" y="544"/>
                    </a:lnTo>
                    <a:lnTo>
                      <a:pt x="500" y="524"/>
                    </a:lnTo>
                    <a:lnTo>
                      <a:pt x="507" y="506"/>
                    </a:lnTo>
                    <a:lnTo>
                      <a:pt x="526" y="456"/>
                    </a:lnTo>
                    <a:lnTo>
                      <a:pt x="551" y="407"/>
                    </a:lnTo>
                    <a:lnTo>
                      <a:pt x="581" y="360"/>
                    </a:lnTo>
                    <a:lnTo>
                      <a:pt x="610" y="319"/>
                    </a:lnTo>
                    <a:lnTo>
                      <a:pt x="645" y="282"/>
                    </a:lnTo>
                    <a:lnTo>
                      <a:pt x="685" y="249"/>
                    </a:lnTo>
                    <a:lnTo>
                      <a:pt x="729" y="219"/>
                    </a:lnTo>
                    <a:lnTo>
                      <a:pt x="774" y="194"/>
                    </a:lnTo>
                    <a:lnTo>
                      <a:pt x="823" y="173"/>
                    </a:lnTo>
                    <a:lnTo>
                      <a:pt x="873" y="157"/>
                    </a:lnTo>
                    <a:lnTo>
                      <a:pt x="926" y="147"/>
                    </a:lnTo>
                    <a:lnTo>
                      <a:pt x="979" y="141"/>
                    </a:lnTo>
                    <a:lnTo>
                      <a:pt x="1033" y="143"/>
                    </a:lnTo>
                    <a:lnTo>
                      <a:pt x="1086" y="149"/>
                    </a:lnTo>
                    <a:lnTo>
                      <a:pt x="1138" y="162"/>
                    </a:lnTo>
                    <a:lnTo>
                      <a:pt x="1190" y="181"/>
                    </a:lnTo>
                    <a:lnTo>
                      <a:pt x="1209" y="190"/>
                    </a:lnTo>
                    <a:lnTo>
                      <a:pt x="1224" y="197"/>
                    </a:lnTo>
                    <a:lnTo>
                      <a:pt x="1233" y="202"/>
                    </a:lnTo>
                    <a:lnTo>
                      <a:pt x="1240" y="204"/>
                    </a:lnTo>
                    <a:lnTo>
                      <a:pt x="1243" y="205"/>
                    </a:lnTo>
                    <a:lnTo>
                      <a:pt x="1244" y="205"/>
                    </a:lnTo>
                    <a:lnTo>
                      <a:pt x="1244" y="205"/>
                    </a:lnTo>
                    <a:lnTo>
                      <a:pt x="1243" y="204"/>
                    </a:lnTo>
                    <a:lnTo>
                      <a:pt x="1243" y="203"/>
                    </a:lnTo>
                    <a:lnTo>
                      <a:pt x="1242" y="203"/>
                    </a:lnTo>
                    <a:lnTo>
                      <a:pt x="1243" y="202"/>
                    </a:lnTo>
                    <a:lnTo>
                      <a:pt x="1243" y="202"/>
                    </a:lnTo>
                    <a:lnTo>
                      <a:pt x="1247" y="197"/>
                    </a:lnTo>
                    <a:lnTo>
                      <a:pt x="1253" y="189"/>
                    </a:lnTo>
                    <a:lnTo>
                      <a:pt x="1263" y="180"/>
                    </a:lnTo>
                    <a:lnTo>
                      <a:pt x="1272" y="171"/>
                    </a:lnTo>
                    <a:lnTo>
                      <a:pt x="1281" y="161"/>
                    </a:lnTo>
                    <a:lnTo>
                      <a:pt x="1288" y="154"/>
                    </a:lnTo>
                    <a:lnTo>
                      <a:pt x="1321" y="123"/>
                    </a:lnTo>
                    <a:lnTo>
                      <a:pt x="1357" y="97"/>
                    </a:lnTo>
                    <a:lnTo>
                      <a:pt x="1400" y="69"/>
                    </a:lnTo>
                    <a:lnTo>
                      <a:pt x="1447" y="46"/>
                    </a:lnTo>
                    <a:lnTo>
                      <a:pt x="1496" y="26"/>
                    </a:lnTo>
                    <a:lnTo>
                      <a:pt x="1546" y="13"/>
                    </a:lnTo>
                    <a:lnTo>
                      <a:pt x="1598" y="4"/>
                    </a:lnTo>
                    <a:lnTo>
                      <a:pt x="1652" y="0"/>
                    </a:lnTo>
                    <a:close/>
                  </a:path>
                </a:pathLst>
              </a:custGeom>
              <a:solidFill>
                <a:schemeClr val="tx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07972" tIns="107972" rIns="107972" bIns="107972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eaLnBrk="0" fontAlgn="base" hangingPunct="0">
                  <a:spcAft>
                    <a:spcPct val="0"/>
                  </a:spcAft>
                  <a:defRPr/>
                </a:pPr>
                <a:endParaRPr lang="de-DE" sz="1200" dirty="0">
                  <a:solidFill>
                    <a:srgbClr val="3B3B3B"/>
                  </a:solidFill>
                  <a:latin typeface="EnBW DIN Pro"/>
                </a:endParaRPr>
              </a:p>
            </p:txBody>
          </p:sp>
          <p:sp>
            <p:nvSpPr>
              <p:cNvPr id="225" name="Freeform 268">
                <a:extLst>
                  <a:ext uri="{FF2B5EF4-FFF2-40B4-BE49-F238E27FC236}">
                    <a16:creationId xmlns:a16="http://schemas.microsoft.com/office/drawing/2014/main" id="{701C8B0F-2114-4EE0-A31E-853343FD35C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33032" y="2782274"/>
                <a:ext cx="184727" cy="33194"/>
              </a:xfrm>
              <a:custGeom>
                <a:avLst/>
                <a:gdLst>
                  <a:gd name="T0" fmla="*/ 1011 w 1024"/>
                  <a:gd name="T1" fmla="*/ 0 h 180"/>
                  <a:gd name="T2" fmla="*/ 1017 w 1024"/>
                  <a:gd name="T3" fmla="*/ 2 h 180"/>
                  <a:gd name="T4" fmla="*/ 1023 w 1024"/>
                  <a:gd name="T5" fmla="*/ 8 h 180"/>
                  <a:gd name="T6" fmla="*/ 1024 w 1024"/>
                  <a:gd name="T7" fmla="*/ 14 h 180"/>
                  <a:gd name="T8" fmla="*/ 1022 w 1024"/>
                  <a:gd name="T9" fmla="*/ 21 h 180"/>
                  <a:gd name="T10" fmla="*/ 994 w 1024"/>
                  <a:gd name="T11" fmla="*/ 53 h 180"/>
                  <a:gd name="T12" fmla="*/ 964 w 1024"/>
                  <a:gd name="T13" fmla="*/ 82 h 180"/>
                  <a:gd name="T14" fmla="*/ 931 w 1024"/>
                  <a:gd name="T15" fmla="*/ 105 h 180"/>
                  <a:gd name="T16" fmla="*/ 895 w 1024"/>
                  <a:gd name="T17" fmla="*/ 126 h 180"/>
                  <a:gd name="T18" fmla="*/ 858 w 1024"/>
                  <a:gd name="T19" fmla="*/ 143 h 180"/>
                  <a:gd name="T20" fmla="*/ 819 w 1024"/>
                  <a:gd name="T21" fmla="*/ 156 h 180"/>
                  <a:gd name="T22" fmla="*/ 780 w 1024"/>
                  <a:gd name="T23" fmla="*/ 164 h 180"/>
                  <a:gd name="T24" fmla="*/ 739 w 1024"/>
                  <a:gd name="T25" fmla="*/ 169 h 180"/>
                  <a:gd name="T26" fmla="*/ 698 w 1024"/>
                  <a:gd name="T27" fmla="*/ 169 h 180"/>
                  <a:gd name="T28" fmla="*/ 657 w 1024"/>
                  <a:gd name="T29" fmla="*/ 165 h 180"/>
                  <a:gd name="T30" fmla="*/ 617 w 1024"/>
                  <a:gd name="T31" fmla="*/ 156 h 180"/>
                  <a:gd name="T32" fmla="*/ 580 w 1024"/>
                  <a:gd name="T33" fmla="*/ 145 h 180"/>
                  <a:gd name="T34" fmla="*/ 545 w 1024"/>
                  <a:gd name="T35" fmla="*/ 133 h 180"/>
                  <a:gd name="T36" fmla="*/ 514 w 1024"/>
                  <a:gd name="T37" fmla="*/ 121 h 180"/>
                  <a:gd name="T38" fmla="*/ 486 w 1024"/>
                  <a:gd name="T39" fmla="*/ 111 h 180"/>
                  <a:gd name="T40" fmla="*/ 442 w 1024"/>
                  <a:gd name="T41" fmla="*/ 101 h 180"/>
                  <a:gd name="T42" fmla="*/ 395 w 1024"/>
                  <a:gd name="T43" fmla="*/ 92 h 180"/>
                  <a:gd name="T44" fmla="*/ 348 w 1024"/>
                  <a:gd name="T45" fmla="*/ 87 h 180"/>
                  <a:gd name="T46" fmla="*/ 299 w 1024"/>
                  <a:gd name="T47" fmla="*/ 86 h 180"/>
                  <a:gd name="T48" fmla="*/ 249 w 1024"/>
                  <a:gd name="T49" fmla="*/ 88 h 180"/>
                  <a:gd name="T50" fmla="*/ 198 w 1024"/>
                  <a:gd name="T51" fmla="*/ 96 h 180"/>
                  <a:gd name="T52" fmla="*/ 148 w 1024"/>
                  <a:gd name="T53" fmla="*/ 109 h 180"/>
                  <a:gd name="T54" fmla="*/ 99 w 1024"/>
                  <a:gd name="T55" fmla="*/ 126 h 180"/>
                  <a:gd name="T56" fmla="*/ 52 w 1024"/>
                  <a:gd name="T57" fmla="*/ 150 h 180"/>
                  <a:gd name="T58" fmla="*/ 4 w 1024"/>
                  <a:gd name="T59" fmla="*/ 180 h 180"/>
                  <a:gd name="T60" fmla="*/ 3 w 1024"/>
                  <a:gd name="T61" fmla="*/ 180 h 180"/>
                  <a:gd name="T62" fmla="*/ 1 w 1024"/>
                  <a:gd name="T63" fmla="*/ 180 h 180"/>
                  <a:gd name="T64" fmla="*/ 0 w 1024"/>
                  <a:gd name="T65" fmla="*/ 178 h 180"/>
                  <a:gd name="T66" fmla="*/ 0 w 1024"/>
                  <a:gd name="T67" fmla="*/ 176 h 180"/>
                  <a:gd name="T68" fmla="*/ 1 w 1024"/>
                  <a:gd name="T69" fmla="*/ 175 h 180"/>
                  <a:gd name="T70" fmla="*/ 49 w 1024"/>
                  <a:gd name="T71" fmla="*/ 134 h 180"/>
                  <a:gd name="T72" fmla="*/ 99 w 1024"/>
                  <a:gd name="T73" fmla="*/ 99 h 180"/>
                  <a:gd name="T74" fmla="*/ 153 w 1024"/>
                  <a:gd name="T75" fmla="*/ 69 h 180"/>
                  <a:gd name="T76" fmla="*/ 209 w 1024"/>
                  <a:gd name="T77" fmla="*/ 44 h 180"/>
                  <a:gd name="T78" fmla="*/ 267 w 1024"/>
                  <a:gd name="T79" fmla="*/ 25 h 180"/>
                  <a:gd name="T80" fmla="*/ 325 w 1024"/>
                  <a:gd name="T81" fmla="*/ 11 h 180"/>
                  <a:gd name="T82" fmla="*/ 385 w 1024"/>
                  <a:gd name="T83" fmla="*/ 3 h 180"/>
                  <a:gd name="T84" fmla="*/ 447 w 1024"/>
                  <a:gd name="T85" fmla="*/ 1 h 180"/>
                  <a:gd name="T86" fmla="*/ 508 w 1024"/>
                  <a:gd name="T87" fmla="*/ 5 h 180"/>
                  <a:gd name="T88" fmla="*/ 553 w 1024"/>
                  <a:gd name="T89" fmla="*/ 15 h 180"/>
                  <a:gd name="T90" fmla="*/ 592 w 1024"/>
                  <a:gd name="T91" fmla="*/ 26 h 180"/>
                  <a:gd name="T92" fmla="*/ 629 w 1024"/>
                  <a:gd name="T93" fmla="*/ 35 h 180"/>
                  <a:gd name="T94" fmla="*/ 663 w 1024"/>
                  <a:gd name="T95" fmla="*/ 43 h 180"/>
                  <a:gd name="T96" fmla="*/ 697 w 1024"/>
                  <a:gd name="T97" fmla="*/ 50 h 180"/>
                  <a:gd name="T98" fmla="*/ 731 w 1024"/>
                  <a:gd name="T99" fmla="*/ 53 h 180"/>
                  <a:gd name="T100" fmla="*/ 769 w 1024"/>
                  <a:gd name="T101" fmla="*/ 53 h 180"/>
                  <a:gd name="T102" fmla="*/ 813 w 1024"/>
                  <a:gd name="T103" fmla="*/ 51 h 180"/>
                  <a:gd name="T104" fmla="*/ 859 w 1024"/>
                  <a:gd name="T105" fmla="*/ 45 h 180"/>
                  <a:gd name="T106" fmla="*/ 906 w 1024"/>
                  <a:gd name="T107" fmla="*/ 36 h 180"/>
                  <a:gd name="T108" fmla="*/ 954 w 1024"/>
                  <a:gd name="T109" fmla="*/ 21 h 180"/>
                  <a:gd name="T110" fmla="*/ 1003 w 1024"/>
                  <a:gd name="T111" fmla="*/ 1 h 180"/>
                  <a:gd name="T112" fmla="*/ 1011 w 1024"/>
                  <a:gd name="T113" fmla="*/ 0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024" h="180">
                    <a:moveTo>
                      <a:pt x="1011" y="0"/>
                    </a:moveTo>
                    <a:lnTo>
                      <a:pt x="1017" y="2"/>
                    </a:lnTo>
                    <a:lnTo>
                      <a:pt x="1023" y="8"/>
                    </a:lnTo>
                    <a:lnTo>
                      <a:pt x="1024" y="14"/>
                    </a:lnTo>
                    <a:lnTo>
                      <a:pt x="1022" y="21"/>
                    </a:lnTo>
                    <a:lnTo>
                      <a:pt x="994" y="53"/>
                    </a:lnTo>
                    <a:lnTo>
                      <a:pt x="964" y="82"/>
                    </a:lnTo>
                    <a:lnTo>
                      <a:pt x="931" y="105"/>
                    </a:lnTo>
                    <a:lnTo>
                      <a:pt x="895" y="126"/>
                    </a:lnTo>
                    <a:lnTo>
                      <a:pt x="858" y="143"/>
                    </a:lnTo>
                    <a:lnTo>
                      <a:pt x="819" y="156"/>
                    </a:lnTo>
                    <a:lnTo>
                      <a:pt x="780" y="164"/>
                    </a:lnTo>
                    <a:lnTo>
                      <a:pt x="739" y="169"/>
                    </a:lnTo>
                    <a:lnTo>
                      <a:pt x="698" y="169"/>
                    </a:lnTo>
                    <a:lnTo>
                      <a:pt x="657" y="165"/>
                    </a:lnTo>
                    <a:lnTo>
                      <a:pt x="617" y="156"/>
                    </a:lnTo>
                    <a:lnTo>
                      <a:pt x="580" y="145"/>
                    </a:lnTo>
                    <a:lnTo>
                      <a:pt x="545" y="133"/>
                    </a:lnTo>
                    <a:lnTo>
                      <a:pt x="514" y="121"/>
                    </a:lnTo>
                    <a:lnTo>
                      <a:pt x="486" y="111"/>
                    </a:lnTo>
                    <a:lnTo>
                      <a:pt x="442" y="101"/>
                    </a:lnTo>
                    <a:lnTo>
                      <a:pt x="395" y="92"/>
                    </a:lnTo>
                    <a:lnTo>
                      <a:pt x="348" y="87"/>
                    </a:lnTo>
                    <a:lnTo>
                      <a:pt x="299" y="86"/>
                    </a:lnTo>
                    <a:lnTo>
                      <a:pt x="249" y="88"/>
                    </a:lnTo>
                    <a:lnTo>
                      <a:pt x="198" y="96"/>
                    </a:lnTo>
                    <a:lnTo>
                      <a:pt x="148" y="109"/>
                    </a:lnTo>
                    <a:lnTo>
                      <a:pt x="99" y="126"/>
                    </a:lnTo>
                    <a:lnTo>
                      <a:pt x="52" y="150"/>
                    </a:lnTo>
                    <a:lnTo>
                      <a:pt x="4" y="180"/>
                    </a:lnTo>
                    <a:lnTo>
                      <a:pt x="3" y="180"/>
                    </a:lnTo>
                    <a:lnTo>
                      <a:pt x="1" y="180"/>
                    </a:lnTo>
                    <a:lnTo>
                      <a:pt x="0" y="178"/>
                    </a:lnTo>
                    <a:lnTo>
                      <a:pt x="0" y="176"/>
                    </a:lnTo>
                    <a:lnTo>
                      <a:pt x="1" y="175"/>
                    </a:lnTo>
                    <a:lnTo>
                      <a:pt x="49" y="134"/>
                    </a:lnTo>
                    <a:lnTo>
                      <a:pt x="99" y="99"/>
                    </a:lnTo>
                    <a:lnTo>
                      <a:pt x="153" y="69"/>
                    </a:lnTo>
                    <a:lnTo>
                      <a:pt x="209" y="44"/>
                    </a:lnTo>
                    <a:lnTo>
                      <a:pt x="267" y="25"/>
                    </a:lnTo>
                    <a:lnTo>
                      <a:pt x="325" y="11"/>
                    </a:lnTo>
                    <a:lnTo>
                      <a:pt x="385" y="3"/>
                    </a:lnTo>
                    <a:lnTo>
                      <a:pt x="447" y="1"/>
                    </a:lnTo>
                    <a:lnTo>
                      <a:pt x="508" y="5"/>
                    </a:lnTo>
                    <a:lnTo>
                      <a:pt x="553" y="15"/>
                    </a:lnTo>
                    <a:lnTo>
                      <a:pt x="592" y="26"/>
                    </a:lnTo>
                    <a:lnTo>
                      <a:pt x="629" y="35"/>
                    </a:lnTo>
                    <a:lnTo>
                      <a:pt x="663" y="43"/>
                    </a:lnTo>
                    <a:lnTo>
                      <a:pt x="697" y="50"/>
                    </a:lnTo>
                    <a:lnTo>
                      <a:pt x="731" y="53"/>
                    </a:lnTo>
                    <a:lnTo>
                      <a:pt x="769" y="53"/>
                    </a:lnTo>
                    <a:lnTo>
                      <a:pt x="813" y="51"/>
                    </a:lnTo>
                    <a:lnTo>
                      <a:pt x="859" y="45"/>
                    </a:lnTo>
                    <a:lnTo>
                      <a:pt x="906" y="36"/>
                    </a:lnTo>
                    <a:lnTo>
                      <a:pt x="954" y="21"/>
                    </a:lnTo>
                    <a:lnTo>
                      <a:pt x="1003" y="1"/>
                    </a:lnTo>
                    <a:lnTo>
                      <a:pt x="1011" y="0"/>
                    </a:lnTo>
                    <a:close/>
                  </a:path>
                </a:pathLst>
              </a:custGeom>
              <a:solidFill>
                <a:schemeClr val="tx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07972" tIns="107972" rIns="107972" bIns="107972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eaLnBrk="0" fontAlgn="base" hangingPunct="0">
                  <a:spcAft>
                    <a:spcPct val="0"/>
                  </a:spcAft>
                  <a:defRPr/>
                </a:pPr>
                <a:endParaRPr lang="de-DE" sz="1200" dirty="0">
                  <a:solidFill>
                    <a:srgbClr val="3B3B3B"/>
                  </a:solidFill>
                  <a:latin typeface="EnBW DIN Pro"/>
                </a:endParaRPr>
              </a:p>
            </p:txBody>
          </p:sp>
          <p:sp>
            <p:nvSpPr>
              <p:cNvPr id="226" name="Freeform 269">
                <a:extLst>
                  <a:ext uri="{FF2B5EF4-FFF2-40B4-BE49-F238E27FC236}">
                    <a16:creationId xmlns:a16="http://schemas.microsoft.com/office/drawing/2014/main" id="{30CDF6F7-AC6C-45AA-A0F8-5DC8DDFE0B37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804589" y="2852990"/>
                <a:ext cx="285750" cy="258330"/>
              </a:xfrm>
              <a:custGeom>
                <a:avLst/>
                <a:gdLst>
                  <a:gd name="T0" fmla="*/ 741 w 1580"/>
                  <a:gd name="T1" fmla="*/ 366 h 1436"/>
                  <a:gd name="T2" fmla="*/ 651 w 1580"/>
                  <a:gd name="T3" fmla="*/ 390 h 1436"/>
                  <a:gd name="T4" fmla="*/ 573 w 1580"/>
                  <a:gd name="T5" fmla="*/ 437 h 1436"/>
                  <a:gd name="T6" fmla="*/ 508 w 1580"/>
                  <a:gd name="T7" fmla="*/ 501 h 1436"/>
                  <a:gd name="T8" fmla="*/ 462 w 1580"/>
                  <a:gd name="T9" fmla="*/ 580 h 1436"/>
                  <a:gd name="T10" fmla="*/ 437 w 1580"/>
                  <a:gd name="T11" fmla="*/ 670 h 1436"/>
                  <a:gd name="T12" fmla="*/ 437 w 1580"/>
                  <a:gd name="T13" fmla="*/ 767 h 1436"/>
                  <a:gd name="T14" fmla="*/ 462 w 1580"/>
                  <a:gd name="T15" fmla="*/ 857 h 1436"/>
                  <a:gd name="T16" fmla="*/ 508 w 1580"/>
                  <a:gd name="T17" fmla="*/ 936 h 1436"/>
                  <a:gd name="T18" fmla="*/ 573 w 1580"/>
                  <a:gd name="T19" fmla="*/ 1000 h 1436"/>
                  <a:gd name="T20" fmla="*/ 651 w 1580"/>
                  <a:gd name="T21" fmla="*/ 1046 h 1436"/>
                  <a:gd name="T22" fmla="*/ 741 w 1580"/>
                  <a:gd name="T23" fmla="*/ 1071 h 1436"/>
                  <a:gd name="T24" fmla="*/ 838 w 1580"/>
                  <a:gd name="T25" fmla="*/ 1071 h 1436"/>
                  <a:gd name="T26" fmla="*/ 928 w 1580"/>
                  <a:gd name="T27" fmla="*/ 1046 h 1436"/>
                  <a:gd name="T28" fmla="*/ 1008 w 1580"/>
                  <a:gd name="T29" fmla="*/ 1000 h 1436"/>
                  <a:gd name="T30" fmla="*/ 1071 w 1580"/>
                  <a:gd name="T31" fmla="*/ 936 h 1436"/>
                  <a:gd name="T32" fmla="*/ 1118 w 1580"/>
                  <a:gd name="T33" fmla="*/ 857 h 1436"/>
                  <a:gd name="T34" fmla="*/ 1142 w 1580"/>
                  <a:gd name="T35" fmla="*/ 767 h 1436"/>
                  <a:gd name="T36" fmla="*/ 1142 w 1580"/>
                  <a:gd name="T37" fmla="*/ 670 h 1436"/>
                  <a:gd name="T38" fmla="*/ 1118 w 1580"/>
                  <a:gd name="T39" fmla="*/ 580 h 1436"/>
                  <a:gd name="T40" fmla="*/ 1071 w 1580"/>
                  <a:gd name="T41" fmla="*/ 501 h 1436"/>
                  <a:gd name="T42" fmla="*/ 1008 w 1580"/>
                  <a:gd name="T43" fmla="*/ 437 h 1436"/>
                  <a:gd name="T44" fmla="*/ 928 w 1580"/>
                  <a:gd name="T45" fmla="*/ 390 h 1436"/>
                  <a:gd name="T46" fmla="*/ 838 w 1580"/>
                  <a:gd name="T47" fmla="*/ 366 h 1436"/>
                  <a:gd name="T48" fmla="*/ 241 w 1580"/>
                  <a:gd name="T49" fmla="*/ 0 h 1436"/>
                  <a:gd name="T50" fmla="*/ 790 w 1580"/>
                  <a:gd name="T51" fmla="*/ 12 h 1436"/>
                  <a:gd name="T52" fmla="*/ 1338 w 1580"/>
                  <a:gd name="T53" fmla="*/ 0 h 1436"/>
                  <a:gd name="T54" fmla="*/ 1347 w 1580"/>
                  <a:gd name="T55" fmla="*/ 4 h 1436"/>
                  <a:gd name="T56" fmla="*/ 1353 w 1580"/>
                  <a:gd name="T57" fmla="*/ 11 h 1436"/>
                  <a:gd name="T58" fmla="*/ 1358 w 1580"/>
                  <a:gd name="T59" fmla="*/ 185 h 1436"/>
                  <a:gd name="T60" fmla="*/ 1388 w 1580"/>
                  <a:gd name="T61" fmla="*/ 524 h 1436"/>
                  <a:gd name="T62" fmla="*/ 1444 w 1580"/>
                  <a:gd name="T63" fmla="*/ 859 h 1436"/>
                  <a:gd name="T64" fmla="*/ 1579 w 1580"/>
                  <a:gd name="T65" fmla="*/ 1421 h 1436"/>
                  <a:gd name="T66" fmla="*/ 1578 w 1580"/>
                  <a:gd name="T67" fmla="*/ 1430 h 1436"/>
                  <a:gd name="T68" fmla="*/ 1572 w 1580"/>
                  <a:gd name="T69" fmla="*/ 1436 h 1436"/>
                  <a:gd name="T70" fmla="*/ 11 w 1580"/>
                  <a:gd name="T71" fmla="*/ 1436 h 1436"/>
                  <a:gd name="T72" fmla="*/ 3 w 1580"/>
                  <a:gd name="T73" fmla="*/ 1434 h 1436"/>
                  <a:gd name="T74" fmla="*/ 0 w 1580"/>
                  <a:gd name="T75" fmla="*/ 1426 h 1436"/>
                  <a:gd name="T76" fmla="*/ 98 w 1580"/>
                  <a:gd name="T77" fmla="*/ 1026 h 1436"/>
                  <a:gd name="T78" fmla="*/ 166 w 1580"/>
                  <a:gd name="T79" fmla="*/ 693 h 1436"/>
                  <a:gd name="T80" fmla="*/ 209 w 1580"/>
                  <a:gd name="T81" fmla="*/ 355 h 1436"/>
                  <a:gd name="T82" fmla="*/ 227 w 1580"/>
                  <a:gd name="T83" fmla="*/ 15 h 1436"/>
                  <a:gd name="T84" fmla="*/ 230 w 1580"/>
                  <a:gd name="T85" fmla="*/ 6 h 1436"/>
                  <a:gd name="T86" fmla="*/ 237 w 1580"/>
                  <a:gd name="T87" fmla="*/ 1 h 14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580" h="1436">
                    <a:moveTo>
                      <a:pt x="790" y="363"/>
                    </a:moveTo>
                    <a:lnTo>
                      <a:pt x="741" y="366"/>
                    </a:lnTo>
                    <a:lnTo>
                      <a:pt x="696" y="375"/>
                    </a:lnTo>
                    <a:lnTo>
                      <a:pt x="651" y="390"/>
                    </a:lnTo>
                    <a:lnTo>
                      <a:pt x="610" y="412"/>
                    </a:lnTo>
                    <a:lnTo>
                      <a:pt x="573" y="437"/>
                    </a:lnTo>
                    <a:lnTo>
                      <a:pt x="539" y="466"/>
                    </a:lnTo>
                    <a:lnTo>
                      <a:pt x="508" y="501"/>
                    </a:lnTo>
                    <a:lnTo>
                      <a:pt x="483" y="539"/>
                    </a:lnTo>
                    <a:lnTo>
                      <a:pt x="462" y="580"/>
                    </a:lnTo>
                    <a:lnTo>
                      <a:pt x="446" y="624"/>
                    </a:lnTo>
                    <a:lnTo>
                      <a:pt x="437" y="670"/>
                    </a:lnTo>
                    <a:lnTo>
                      <a:pt x="434" y="718"/>
                    </a:lnTo>
                    <a:lnTo>
                      <a:pt x="437" y="767"/>
                    </a:lnTo>
                    <a:lnTo>
                      <a:pt x="446" y="813"/>
                    </a:lnTo>
                    <a:lnTo>
                      <a:pt x="462" y="857"/>
                    </a:lnTo>
                    <a:lnTo>
                      <a:pt x="483" y="898"/>
                    </a:lnTo>
                    <a:lnTo>
                      <a:pt x="508" y="936"/>
                    </a:lnTo>
                    <a:lnTo>
                      <a:pt x="539" y="970"/>
                    </a:lnTo>
                    <a:lnTo>
                      <a:pt x="573" y="1000"/>
                    </a:lnTo>
                    <a:lnTo>
                      <a:pt x="610" y="1026"/>
                    </a:lnTo>
                    <a:lnTo>
                      <a:pt x="651" y="1046"/>
                    </a:lnTo>
                    <a:lnTo>
                      <a:pt x="696" y="1061"/>
                    </a:lnTo>
                    <a:lnTo>
                      <a:pt x="741" y="1071"/>
                    </a:lnTo>
                    <a:lnTo>
                      <a:pt x="790" y="1075"/>
                    </a:lnTo>
                    <a:lnTo>
                      <a:pt x="838" y="1071"/>
                    </a:lnTo>
                    <a:lnTo>
                      <a:pt x="885" y="1061"/>
                    </a:lnTo>
                    <a:lnTo>
                      <a:pt x="928" y="1046"/>
                    </a:lnTo>
                    <a:lnTo>
                      <a:pt x="969" y="1026"/>
                    </a:lnTo>
                    <a:lnTo>
                      <a:pt x="1008" y="1000"/>
                    </a:lnTo>
                    <a:lnTo>
                      <a:pt x="1042" y="970"/>
                    </a:lnTo>
                    <a:lnTo>
                      <a:pt x="1071" y="936"/>
                    </a:lnTo>
                    <a:lnTo>
                      <a:pt x="1096" y="898"/>
                    </a:lnTo>
                    <a:lnTo>
                      <a:pt x="1118" y="857"/>
                    </a:lnTo>
                    <a:lnTo>
                      <a:pt x="1133" y="813"/>
                    </a:lnTo>
                    <a:lnTo>
                      <a:pt x="1142" y="767"/>
                    </a:lnTo>
                    <a:lnTo>
                      <a:pt x="1145" y="718"/>
                    </a:lnTo>
                    <a:lnTo>
                      <a:pt x="1142" y="670"/>
                    </a:lnTo>
                    <a:lnTo>
                      <a:pt x="1133" y="624"/>
                    </a:lnTo>
                    <a:lnTo>
                      <a:pt x="1118" y="580"/>
                    </a:lnTo>
                    <a:lnTo>
                      <a:pt x="1096" y="539"/>
                    </a:lnTo>
                    <a:lnTo>
                      <a:pt x="1071" y="501"/>
                    </a:lnTo>
                    <a:lnTo>
                      <a:pt x="1042" y="466"/>
                    </a:lnTo>
                    <a:lnTo>
                      <a:pt x="1008" y="437"/>
                    </a:lnTo>
                    <a:lnTo>
                      <a:pt x="969" y="412"/>
                    </a:lnTo>
                    <a:lnTo>
                      <a:pt x="928" y="390"/>
                    </a:lnTo>
                    <a:lnTo>
                      <a:pt x="885" y="375"/>
                    </a:lnTo>
                    <a:lnTo>
                      <a:pt x="838" y="366"/>
                    </a:lnTo>
                    <a:lnTo>
                      <a:pt x="790" y="363"/>
                    </a:lnTo>
                    <a:close/>
                    <a:moveTo>
                      <a:pt x="241" y="0"/>
                    </a:moveTo>
                    <a:lnTo>
                      <a:pt x="516" y="9"/>
                    </a:lnTo>
                    <a:lnTo>
                      <a:pt x="790" y="12"/>
                    </a:lnTo>
                    <a:lnTo>
                      <a:pt x="1063" y="9"/>
                    </a:lnTo>
                    <a:lnTo>
                      <a:pt x="1338" y="0"/>
                    </a:lnTo>
                    <a:lnTo>
                      <a:pt x="1342" y="1"/>
                    </a:lnTo>
                    <a:lnTo>
                      <a:pt x="1347" y="4"/>
                    </a:lnTo>
                    <a:lnTo>
                      <a:pt x="1350" y="6"/>
                    </a:lnTo>
                    <a:lnTo>
                      <a:pt x="1353" y="11"/>
                    </a:lnTo>
                    <a:lnTo>
                      <a:pt x="1353" y="15"/>
                    </a:lnTo>
                    <a:lnTo>
                      <a:pt x="1358" y="185"/>
                    </a:lnTo>
                    <a:lnTo>
                      <a:pt x="1370" y="355"/>
                    </a:lnTo>
                    <a:lnTo>
                      <a:pt x="1388" y="524"/>
                    </a:lnTo>
                    <a:lnTo>
                      <a:pt x="1413" y="693"/>
                    </a:lnTo>
                    <a:lnTo>
                      <a:pt x="1444" y="859"/>
                    </a:lnTo>
                    <a:lnTo>
                      <a:pt x="1481" y="1026"/>
                    </a:lnTo>
                    <a:lnTo>
                      <a:pt x="1579" y="1421"/>
                    </a:lnTo>
                    <a:lnTo>
                      <a:pt x="1580" y="1426"/>
                    </a:lnTo>
                    <a:lnTo>
                      <a:pt x="1578" y="1430"/>
                    </a:lnTo>
                    <a:lnTo>
                      <a:pt x="1576" y="1434"/>
                    </a:lnTo>
                    <a:lnTo>
                      <a:pt x="1572" y="1436"/>
                    </a:lnTo>
                    <a:lnTo>
                      <a:pt x="1568" y="1436"/>
                    </a:lnTo>
                    <a:lnTo>
                      <a:pt x="11" y="1436"/>
                    </a:lnTo>
                    <a:lnTo>
                      <a:pt x="7" y="1436"/>
                    </a:lnTo>
                    <a:lnTo>
                      <a:pt x="3" y="1434"/>
                    </a:lnTo>
                    <a:lnTo>
                      <a:pt x="1" y="1430"/>
                    </a:lnTo>
                    <a:lnTo>
                      <a:pt x="0" y="1426"/>
                    </a:lnTo>
                    <a:lnTo>
                      <a:pt x="0" y="1421"/>
                    </a:lnTo>
                    <a:lnTo>
                      <a:pt x="98" y="1026"/>
                    </a:lnTo>
                    <a:lnTo>
                      <a:pt x="135" y="859"/>
                    </a:lnTo>
                    <a:lnTo>
                      <a:pt x="166" y="693"/>
                    </a:lnTo>
                    <a:lnTo>
                      <a:pt x="191" y="524"/>
                    </a:lnTo>
                    <a:lnTo>
                      <a:pt x="209" y="355"/>
                    </a:lnTo>
                    <a:lnTo>
                      <a:pt x="221" y="185"/>
                    </a:lnTo>
                    <a:lnTo>
                      <a:pt x="227" y="15"/>
                    </a:lnTo>
                    <a:lnTo>
                      <a:pt x="228" y="11"/>
                    </a:lnTo>
                    <a:lnTo>
                      <a:pt x="230" y="6"/>
                    </a:lnTo>
                    <a:lnTo>
                      <a:pt x="233" y="4"/>
                    </a:lnTo>
                    <a:lnTo>
                      <a:pt x="237" y="1"/>
                    </a:lnTo>
                    <a:lnTo>
                      <a:pt x="241" y="0"/>
                    </a:lnTo>
                    <a:close/>
                  </a:path>
                </a:pathLst>
              </a:custGeom>
              <a:solidFill>
                <a:schemeClr val="tx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07972" tIns="107972" rIns="107972" bIns="107972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eaLnBrk="0" fontAlgn="base" hangingPunct="0">
                  <a:spcAft>
                    <a:spcPct val="0"/>
                  </a:spcAft>
                  <a:defRPr/>
                </a:pPr>
                <a:endParaRPr lang="de-DE" sz="1200" dirty="0">
                  <a:solidFill>
                    <a:srgbClr val="3B3B3B"/>
                  </a:solidFill>
                  <a:latin typeface="EnBW DIN Pro"/>
                </a:endParaRPr>
              </a:p>
            </p:txBody>
          </p:sp>
          <p:sp>
            <p:nvSpPr>
              <p:cNvPr id="227" name="Oval 226">
                <a:extLst>
                  <a:ext uri="{FF2B5EF4-FFF2-40B4-BE49-F238E27FC236}">
                    <a16:creationId xmlns:a16="http://schemas.microsoft.com/office/drawing/2014/main" id="{54D0EF01-6EB5-48C2-A3A4-6029143F04A0}"/>
                  </a:ext>
                </a:extLst>
              </p:cNvPr>
              <p:cNvSpPr/>
              <p:nvPr/>
            </p:nvSpPr>
            <p:spPr bwMode="gray">
              <a:xfrm>
                <a:off x="856369" y="2910967"/>
                <a:ext cx="180000" cy="151345"/>
              </a:xfrm>
              <a:prstGeom prst="ellipse">
                <a:avLst/>
              </a:prstGeom>
              <a:solidFill>
                <a:schemeClr val="tx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07972" tIns="107972" rIns="107972" bIns="107972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eaLnBrk="0" fontAlgn="base" hangingPunct="0">
                  <a:spcAft>
                    <a:spcPct val="0"/>
                  </a:spcAft>
                  <a:defRPr/>
                </a:pPr>
                <a:endParaRPr lang="de-DE" sz="1200" dirty="0">
                  <a:solidFill>
                    <a:srgbClr val="3B3B3B"/>
                  </a:solidFill>
                  <a:latin typeface="EnBW DIN Pro"/>
                </a:endParaRPr>
              </a:p>
            </p:txBody>
          </p:sp>
        </p:grpSp>
        <p:grpSp>
          <p:nvGrpSpPr>
            <p:cNvPr id="217" name="Group 216">
              <a:extLst>
                <a:ext uri="{FF2B5EF4-FFF2-40B4-BE49-F238E27FC236}">
                  <a16:creationId xmlns:a16="http://schemas.microsoft.com/office/drawing/2014/main" id="{B4FCB131-7893-4B21-9686-A452BCC2D7B5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1129442" y="2538466"/>
              <a:ext cx="357748" cy="359656"/>
              <a:chOff x="804589" y="2617751"/>
              <a:chExt cx="510886" cy="493569"/>
            </a:xfrm>
            <a:solidFill>
              <a:schemeClr val="accent4"/>
            </a:solidFill>
          </p:grpSpPr>
          <p:sp>
            <p:nvSpPr>
              <p:cNvPr id="218" name="Freeform 266">
                <a:extLst>
                  <a:ext uri="{FF2B5EF4-FFF2-40B4-BE49-F238E27FC236}">
                    <a16:creationId xmlns:a16="http://schemas.microsoft.com/office/drawing/2014/main" id="{2F41311A-A424-4AB1-AA48-9755827342C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062918" y="2876081"/>
                <a:ext cx="196273" cy="213591"/>
              </a:xfrm>
              <a:custGeom>
                <a:avLst/>
                <a:gdLst>
                  <a:gd name="T0" fmla="*/ 14 w 1086"/>
                  <a:gd name="T1" fmla="*/ 0 h 1187"/>
                  <a:gd name="T2" fmla="*/ 162 w 1086"/>
                  <a:gd name="T3" fmla="*/ 9 h 1187"/>
                  <a:gd name="T4" fmla="*/ 306 w 1086"/>
                  <a:gd name="T5" fmla="*/ 14 h 1187"/>
                  <a:gd name="T6" fmla="*/ 450 w 1086"/>
                  <a:gd name="T7" fmla="*/ 17 h 1187"/>
                  <a:gd name="T8" fmla="*/ 593 w 1086"/>
                  <a:gd name="T9" fmla="*/ 14 h 1187"/>
                  <a:gd name="T10" fmla="*/ 738 w 1086"/>
                  <a:gd name="T11" fmla="*/ 9 h 1187"/>
                  <a:gd name="T12" fmla="*/ 886 w 1086"/>
                  <a:gd name="T13" fmla="*/ 0 h 1187"/>
                  <a:gd name="T14" fmla="*/ 891 w 1086"/>
                  <a:gd name="T15" fmla="*/ 1 h 1187"/>
                  <a:gd name="T16" fmla="*/ 895 w 1086"/>
                  <a:gd name="T17" fmla="*/ 3 h 1187"/>
                  <a:gd name="T18" fmla="*/ 899 w 1086"/>
                  <a:gd name="T19" fmla="*/ 6 h 1187"/>
                  <a:gd name="T20" fmla="*/ 901 w 1086"/>
                  <a:gd name="T21" fmla="*/ 10 h 1187"/>
                  <a:gd name="T22" fmla="*/ 901 w 1086"/>
                  <a:gd name="T23" fmla="*/ 14 h 1187"/>
                  <a:gd name="T24" fmla="*/ 904 w 1086"/>
                  <a:gd name="T25" fmla="*/ 152 h 1187"/>
                  <a:gd name="T26" fmla="*/ 913 w 1086"/>
                  <a:gd name="T27" fmla="*/ 288 h 1187"/>
                  <a:gd name="T28" fmla="*/ 927 w 1086"/>
                  <a:gd name="T29" fmla="*/ 425 h 1187"/>
                  <a:gd name="T30" fmla="*/ 946 w 1086"/>
                  <a:gd name="T31" fmla="*/ 560 h 1187"/>
                  <a:gd name="T32" fmla="*/ 971 w 1086"/>
                  <a:gd name="T33" fmla="*/ 695 h 1187"/>
                  <a:gd name="T34" fmla="*/ 1002 w 1086"/>
                  <a:gd name="T35" fmla="*/ 828 h 1187"/>
                  <a:gd name="T36" fmla="*/ 1086 w 1086"/>
                  <a:gd name="T37" fmla="*/ 1172 h 1187"/>
                  <a:gd name="T38" fmla="*/ 1086 w 1086"/>
                  <a:gd name="T39" fmla="*/ 1177 h 1187"/>
                  <a:gd name="T40" fmla="*/ 1085 w 1086"/>
                  <a:gd name="T41" fmla="*/ 1180 h 1187"/>
                  <a:gd name="T42" fmla="*/ 1083 w 1086"/>
                  <a:gd name="T43" fmla="*/ 1183 h 1187"/>
                  <a:gd name="T44" fmla="*/ 1080 w 1086"/>
                  <a:gd name="T45" fmla="*/ 1186 h 1187"/>
                  <a:gd name="T46" fmla="*/ 1075 w 1086"/>
                  <a:gd name="T47" fmla="*/ 1187 h 1187"/>
                  <a:gd name="T48" fmla="*/ 213 w 1086"/>
                  <a:gd name="T49" fmla="*/ 1187 h 1187"/>
                  <a:gd name="T50" fmla="*/ 205 w 1086"/>
                  <a:gd name="T51" fmla="*/ 1185 h 1187"/>
                  <a:gd name="T52" fmla="*/ 198 w 1086"/>
                  <a:gd name="T53" fmla="*/ 1180 h 1187"/>
                  <a:gd name="T54" fmla="*/ 194 w 1086"/>
                  <a:gd name="T55" fmla="*/ 1172 h 1187"/>
                  <a:gd name="T56" fmla="*/ 123 w 1086"/>
                  <a:gd name="T57" fmla="*/ 884 h 1187"/>
                  <a:gd name="T58" fmla="*/ 84 w 1086"/>
                  <a:gd name="T59" fmla="*/ 712 h 1187"/>
                  <a:gd name="T60" fmla="*/ 53 w 1086"/>
                  <a:gd name="T61" fmla="*/ 540 h 1187"/>
                  <a:gd name="T62" fmla="*/ 28 w 1086"/>
                  <a:gd name="T63" fmla="*/ 365 h 1187"/>
                  <a:gd name="T64" fmla="*/ 10 w 1086"/>
                  <a:gd name="T65" fmla="*/ 191 h 1187"/>
                  <a:gd name="T66" fmla="*/ 0 w 1086"/>
                  <a:gd name="T67" fmla="*/ 15 h 1187"/>
                  <a:gd name="T68" fmla="*/ 0 w 1086"/>
                  <a:gd name="T69" fmla="*/ 11 h 1187"/>
                  <a:gd name="T70" fmla="*/ 2 w 1086"/>
                  <a:gd name="T71" fmla="*/ 6 h 1187"/>
                  <a:gd name="T72" fmla="*/ 5 w 1086"/>
                  <a:gd name="T73" fmla="*/ 3 h 1187"/>
                  <a:gd name="T74" fmla="*/ 9 w 1086"/>
                  <a:gd name="T75" fmla="*/ 1 h 1187"/>
                  <a:gd name="T76" fmla="*/ 14 w 1086"/>
                  <a:gd name="T77" fmla="*/ 0 h 1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086" h="1187">
                    <a:moveTo>
                      <a:pt x="14" y="0"/>
                    </a:moveTo>
                    <a:lnTo>
                      <a:pt x="162" y="9"/>
                    </a:lnTo>
                    <a:lnTo>
                      <a:pt x="306" y="14"/>
                    </a:lnTo>
                    <a:lnTo>
                      <a:pt x="450" y="17"/>
                    </a:lnTo>
                    <a:lnTo>
                      <a:pt x="593" y="14"/>
                    </a:lnTo>
                    <a:lnTo>
                      <a:pt x="738" y="9"/>
                    </a:lnTo>
                    <a:lnTo>
                      <a:pt x="886" y="0"/>
                    </a:lnTo>
                    <a:lnTo>
                      <a:pt x="891" y="1"/>
                    </a:lnTo>
                    <a:lnTo>
                      <a:pt x="895" y="3"/>
                    </a:lnTo>
                    <a:lnTo>
                      <a:pt x="899" y="6"/>
                    </a:lnTo>
                    <a:lnTo>
                      <a:pt x="901" y="10"/>
                    </a:lnTo>
                    <a:lnTo>
                      <a:pt x="901" y="14"/>
                    </a:lnTo>
                    <a:lnTo>
                      <a:pt x="904" y="152"/>
                    </a:lnTo>
                    <a:lnTo>
                      <a:pt x="913" y="288"/>
                    </a:lnTo>
                    <a:lnTo>
                      <a:pt x="927" y="425"/>
                    </a:lnTo>
                    <a:lnTo>
                      <a:pt x="946" y="560"/>
                    </a:lnTo>
                    <a:lnTo>
                      <a:pt x="971" y="695"/>
                    </a:lnTo>
                    <a:lnTo>
                      <a:pt x="1002" y="828"/>
                    </a:lnTo>
                    <a:lnTo>
                      <a:pt x="1086" y="1172"/>
                    </a:lnTo>
                    <a:lnTo>
                      <a:pt x="1086" y="1177"/>
                    </a:lnTo>
                    <a:lnTo>
                      <a:pt x="1085" y="1180"/>
                    </a:lnTo>
                    <a:lnTo>
                      <a:pt x="1083" y="1183"/>
                    </a:lnTo>
                    <a:lnTo>
                      <a:pt x="1080" y="1186"/>
                    </a:lnTo>
                    <a:lnTo>
                      <a:pt x="1075" y="1187"/>
                    </a:lnTo>
                    <a:lnTo>
                      <a:pt x="213" y="1187"/>
                    </a:lnTo>
                    <a:lnTo>
                      <a:pt x="205" y="1185"/>
                    </a:lnTo>
                    <a:lnTo>
                      <a:pt x="198" y="1180"/>
                    </a:lnTo>
                    <a:lnTo>
                      <a:pt x="194" y="1172"/>
                    </a:lnTo>
                    <a:lnTo>
                      <a:pt x="123" y="884"/>
                    </a:lnTo>
                    <a:lnTo>
                      <a:pt x="84" y="712"/>
                    </a:lnTo>
                    <a:lnTo>
                      <a:pt x="53" y="540"/>
                    </a:lnTo>
                    <a:lnTo>
                      <a:pt x="28" y="365"/>
                    </a:lnTo>
                    <a:lnTo>
                      <a:pt x="10" y="191"/>
                    </a:lnTo>
                    <a:lnTo>
                      <a:pt x="0" y="15"/>
                    </a:lnTo>
                    <a:lnTo>
                      <a:pt x="0" y="11"/>
                    </a:lnTo>
                    <a:lnTo>
                      <a:pt x="2" y="6"/>
                    </a:lnTo>
                    <a:lnTo>
                      <a:pt x="5" y="3"/>
                    </a:lnTo>
                    <a:lnTo>
                      <a:pt x="9" y="1"/>
                    </a:lnTo>
                    <a:lnTo>
                      <a:pt x="14" y="0"/>
                    </a:lnTo>
                    <a:close/>
                  </a:path>
                </a:pathLst>
              </a:custGeom>
              <a:solidFill>
                <a:schemeClr val="tx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07972" tIns="107972" rIns="107972" bIns="107972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eaLnBrk="0" fontAlgn="base" hangingPunct="0">
                  <a:spcAft>
                    <a:spcPct val="0"/>
                  </a:spcAft>
                  <a:defRPr/>
                </a:pPr>
                <a:endParaRPr lang="de-DE" sz="1200" dirty="0">
                  <a:solidFill>
                    <a:srgbClr val="3B3B3B"/>
                  </a:solidFill>
                  <a:latin typeface="EnBW DIN Pro"/>
                </a:endParaRPr>
              </a:p>
            </p:txBody>
          </p:sp>
          <p:sp>
            <p:nvSpPr>
              <p:cNvPr id="219" name="Freeform 267">
                <a:extLst>
                  <a:ext uri="{FF2B5EF4-FFF2-40B4-BE49-F238E27FC236}">
                    <a16:creationId xmlns:a16="http://schemas.microsoft.com/office/drawing/2014/main" id="{3AE2B6C1-6E7F-4A40-9DD5-7C00CBCD696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39225" y="2617751"/>
                <a:ext cx="476250" cy="246785"/>
              </a:xfrm>
              <a:custGeom>
                <a:avLst/>
                <a:gdLst>
                  <a:gd name="T0" fmla="*/ 1863 w 2640"/>
                  <a:gd name="T1" fmla="*/ 45 h 1362"/>
                  <a:gd name="T2" fmla="*/ 2005 w 2640"/>
                  <a:gd name="T3" fmla="*/ 145 h 1362"/>
                  <a:gd name="T4" fmla="*/ 2063 w 2640"/>
                  <a:gd name="T5" fmla="*/ 194 h 1362"/>
                  <a:gd name="T6" fmla="*/ 2217 w 2640"/>
                  <a:gd name="T7" fmla="*/ 211 h 1362"/>
                  <a:gd name="T8" fmla="*/ 2441 w 2640"/>
                  <a:gd name="T9" fmla="*/ 326 h 1362"/>
                  <a:gd name="T10" fmla="*/ 2602 w 2640"/>
                  <a:gd name="T11" fmla="*/ 560 h 1362"/>
                  <a:gd name="T12" fmla="*/ 2637 w 2640"/>
                  <a:gd name="T13" fmla="*/ 834 h 1362"/>
                  <a:gd name="T14" fmla="*/ 2550 w 2640"/>
                  <a:gd name="T15" fmla="*/ 1091 h 1362"/>
                  <a:gd name="T16" fmla="*/ 2356 w 2640"/>
                  <a:gd name="T17" fmla="*/ 1275 h 1362"/>
                  <a:gd name="T18" fmla="*/ 2098 w 2640"/>
                  <a:gd name="T19" fmla="*/ 1329 h 1362"/>
                  <a:gd name="T20" fmla="*/ 1926 w 2640"/>
                  <a:gd name="T21" fmla="*/ 1282 h 1362"/>
                  <a:gd name="T22" fmla="*/ 1775 w 2640"/>
                  <a:gd name="T23" fmla="*/ 1325 h 1362"/>
                  <a:gd name="T24" fmla="*/ 1628 w 2640"/>
                  <a:gd name="T25" fmla="*/ 1359 h 1362"/>
                  <a:gd name="T26" fmla="*/ 1723 w 2640"/>
                  <a:gd name="T27" fmla="*/ 1330 h 1362"/>
                  <a:gd name="T28" fmla="*/ 1899 w 2640"/>
                  <a:gd name="T29" fmla="*/ 1247 h 1362"/>
                  <a:gd name="T30" fmla="*/ 2007 w 2640"/>
                  <a:gd name="T31" fmla="*/ 1269 h 1362"/>
                  <a:gd name="T32" fmla="*/ 2238 w 2640"/>
                  <a:gd name="T33" fmla="*/ 1255 h 1362"/>
                  <a:gd name="T34" fmla="*/ 2421 w 2640"/>
                  <a:gd name="T35" fmla="*/ 1120 h 1362"/>
                  <a:gd name="T36" fmla="*/ 2513 w 2640"/>
                  <a:gd name="T37" fmla="*/ 915 h 1362"/>
                  <a:gd name="T38" fmla="*/ 2499 w 2640"/>
                  <a:gd name="T39" fmla="*/ 675 h 1362"/>
                  <a:gd name="T40" fmla="*/ 2376 w 2640"/>
                  <a:gd name="T41" fmla="*/ 479 h 1362"/>
                  <a:gd name="T42" fmla="*/ 2193 w 2640"/>
                  <a:gd name="T43" fmla="*/ 389 h 1362"/>
                  <a:gd name="T44" fmla="*/ 2078 w 2640"/>
                  <a:gd name="T45" fmla="*/ 386 h 1362"/>
                  <a:gd name="T46" fmla="*/ 1959 w 2640"/>
                  <a:gd name="T47" fmla="*/ 362 h 1362"/>
                  <a:gd name="T48" fmla="*/ 1858 w 2640"/>
                  <a:gd name="T49" fmla="*/ 288 h 1362"/>
                  <a:gd name="T50" fmla="*/ 1765 w 2640"/>
                  <a:gd name="T51" fmla="*/ 235 h 1362"/>
                  <a:gd name="T52" fmla="*/ 1548 w 2640"/>
                  <a:gd name="T53" fmla="*/ 217 h 1362"/>
                  <a:gd name="T54" fmla="*/ 1399 w 2640"/>
                  <a:gd name="T55" fmla="*/ 294 h 1362"/>
                  <a:gd name="T56" fmla="*/ 1364 w 2640"/>
                  <a:gd name="T57" fmla="*/ 327 h 1362"/>
                  <a:gd name="T58" fmla="*/ 1242 w 2640"/>
                  <a:gd name="T59" fmla="*/ 373 h 1362"/>
                  <a:gd name="T60" fmla="*/ 1159 w 2640"/>
                  <a:gd name="T61" fmla="*/ 348 h 1362"/>
                  <a:gd name="T62" fmla="*/ 1010 w 2640"/>
                  <a:gd name="T63" fmla="*/ 288 h 1362"/>
                  <a:gd name="T64" fmla="*/ 805 w 2640"/>
                  <a:gd name="T65" fmla="*/ 318 h 1362"/>
                  <a:gd name="T66" fmla="*/ 639 w 2640"/>
                  <a:gd name="T67" fmla="*/ 459 h 1362"/>
                  <a:gd name="T68" fmla="*/ 575 w 2640"/>
                  <a:gd name="T69" fmla="*/ 586 h 1362"/>
                  <a:gd name="T70" fmla="*/ 507 w 2640"/>
                  <a:gd name="T71" fmla="*/ 666 h 1362"/>
                  <a:gd name="T72" fmla="*/ 421 w 2640"/>
                  <a:gd name="T73" fmla="*/ 646 h 1362"/>
                  <a:gd name="T74" fmla="*/ 358 w 2640"/>
                  <a:gd name="T75" fmla="*/ 618 h 1362"/>
                  <a:gd name="T76" fmla="*/ 196 w 2640"/>
                  <a:gd name="T77" fmla="*/ 630 h 1362"/>
                  <a:gd name="T78" fmla="*/ 58 w 2640"/>
                  <a:gd name="T79" fmla="*/ 764 h 1362"/>
                  <a:gd name="T80" fmla="*/ 23 w 2640"/>
                  <a:gd name="T81" fmla="*/ 961 h 1362"/>
                  <a:gd name="T82" fmla="*/ 59 w 2640"/>
                  <a:gd name="T83" fmla="*/ 1081 h 1362"/>
                  <a:gd name="T84" fmla="*/ 20 w 2640"/>
                  <a:gd name="T85" fmla="*/ 1010 h 1362"/>
                  <a:gd name="T86" fmla="*/ 8 w 2640"/>
                  <a:gd name="T87" fmla="*/ 811 h 1362"/>
                  <a:gd name="T88" fmla="*/ 102 w 2640"/>
                  <a:gd name="T89" fmla="*/ 634 h 1362"/>
                  <a:gd name="T90" fmla="*/ 263 w 2640"/>
                  <a:gd name="T91" fmla="*/ 549 h 1362"/>
                  <a:gd name="T92" fmla="*/ 425 w 2640"/>
                  <a:gd name="T93" fmla="*/ 563 h 1362"/>
                  <a:gd name="T94" fmla="*/ 486 w 2640"/>
                  <a:gd name="T95" fmla="*/ 570 h 1362"/>
                  <a:gd name="T96" fmla="*/ 526 w 2640"/>
                  <a:gd name="T97" fmla="*/ 456 h 1362"/>
                  <a:gd name="T98" fmla="*/ 685 w 2640"/>
                  <a:gd name="T99" fmla="*/ 249 h 1362"/>
                  <a:gd name="T100" fmla="*/ 926 w 2640"/>
                  <a:gd name="T101" fmla="*/ 147 h 1362"/>
                  <a:gd name="T102" fmla="*/ 1190 w 2640"/>
                  <a:gd name="T103" fmla="*/ 181 h 1362"/>
                  <a:gd name="T104" fmla="*/ 1243 w 2640"/>
                  <a:gd name="T105" fmla="*/ 205 h 1362"/>
                  <a:gd name="T106" fmla="*/ 1242 w 2640"/>
                  <a:gd name="T107" fmla="*/ 203 h 1362"/>
                  <a:gd name="T108" fmla="*/ 1263 w 2640"/>
                  <a:gd name="T109" fmla="*/ 180 h 1362"/>
                  <a:gd name="T110" fmla="*/ 1357 w 2640"/>
                  <a:gd name="T111" fmla="*/ 97 h 1362"/>
                  <a:gd name="T112" fmla="*/ 1598 w 2640"/>
                  <a:gd name="T113" fmla="*/ 4 h 13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2640" h="1362">
                    <a:moveTo>
                      <a:pt x="1652" y="0"/>
                    </a:moveTo>
                    <a:lnTo>
                      <a:pt x="1704" y="1"/>
                    </a:lnTo>
                    <a:lnTo>
                      <a:pt x="1759" y="10"/>
                    </a:lnTo>
                    <a:lnTo>
                      <a:pt x="1811" y="25"/>
                    </a:lnTo>
                    <a:lnTo>
                      <a:pt x="1863" y="45"/>
                    </a:lnTo>
                    <a:lnTo>
                      <a:pt x="1910" y="70"/>
                    </a:lnTo>
                    <a:lnTo>
                      <a:pt x="1929" y="81"/>
                    </a:lnTo>
                    <a:lnTo>
                      <a:pt x="1946" y="94"/>
                    </a:lnTo>
                    <a:lnTo>
                      <a:pt x="1976" y="119"/>
                    </a:lnTo>
                    <a:lnTo>
                      <a:pt x="2005" y="145"/>
                    </a:lnTo>
                    <a:lnTo>
                      <a:pt x="2028" y="168"/>
                    </a:lnTo>
                    <a:lnTo>
                      <a:pt x="2035" y="174"/>
                    </a:lnTo>
                    <a:lnTo>
                      <a:pt x="2043" y="182"/>
                    </a:lnTo>
                    <a:lnTo>
                      <a:pt x="2050" y="188"/>
                    </a:lnTo>
                    <a:lnTo>
                      <a:pt x="2063" y="194"/>
                    </a:lnTo>
                    <a:lnTo>
                      <a:pt x="2076" y="197"/>
                    </a:lnTo>
                    <a:lnTo>
                      <a:pt x="2095" y="198"/>
                    </a:lnTo>
                    <a:lnTo>
                      <a:pt x="2113" y="197"/>
                    </a:lnTo>
                    <a:lnTo>
                      <a:pt x="2165" y="202"/>
                    </a:lnTo>
                    <a:lnTo>
                      <a:pt x="2217" y="211"/>
                    </a:lnTo>
                    <a:lnTo>
                      <a:pt x="2266" y="226"/>
                    </a:lnTo>
                    <a:lnTo>
                      <a:pt x="2313" y="244"/>
                    </a:lnTo>
                    <a:lnTo>
                      <a:pt x="2359" y="268"/>
                    </a:lnTo>
                    <a:lnTo>
                      <a:pt x="2401" y="295"/>
                    </a:lnTo>
                    <a:lnTo>
                      <a:pt x="2441" y="326"/>
                    </a:lnTo>
                    <a:lnTo>
                      <a:pt x="2483" y="367"/>
                    </a:lnTo>
                    <a:lnTo>
                      <a:pt x="2520" y="411"/>
                    </a:lnTo>
                    <a:lnTo>
                      <a:pt x="2553" y="458"/>
                    </a:lnTo>
                    <a:lnTo>
                      <a:pt x="2580" y="508"/>
                    </a:lnTo>
                    <a:lnTo>
                      <a:pt x="2602" y="560"/>
                    </a:lnTo>
                    <a:lnTo>
                      <a:pt x="2619" y="613"/>
                    </a:lnTo>
                    <a:lnTo>
                      <a:pt x="2631" y="668"/>
                    </a:lnTo>
                    <a:lnTo>
                      <a:pt x="2638" y="724"/>
                    </a:lnTo>
                    <a:lnTo>
                      <a:pt x="2640" y="778"/>
                    </a:lnTo>
                    <a:lnTo>
                      <a:pt x="2637" y="834"/>
                    </a:lnTo>
                    <a:lnTo>
                      <a:pt x="2629" y="888"/>
                    </a:lnTo>
                    <a:lnTo>
                      <a:pt x="2616" y="941"/>
                    </a:lnTo>
                    <a:lnTo>
                      <a:pt x="2599" y="994"/>
                    </a:lnTo>
                    <a:lnTo>
                      <a:pt x="2578" y="1043"/>
                    </a:lnTo>
                    <a:lnTo>
                      <a:pt x="2550" y="1091"/>
                    </a:lnTo>
                    <a:lnTo>
                      <a:pt x="2518" y="1135"/>
                    </a:lnTo>
                    <a:lnTo>
                      <a:pt x="2483" y="1176"/>
                    </a:lnTo>
                    <a:lnTo>
                      <a:pt x="2444" y="1214"/>
                    </a:lnTo>
                    <a:lnTo>
                      <a:pt x="2401" y="1247"/>
                    </a:lnTo>
                    <a:lnTo>
                      <a:pt x="2356" y="1275"/>
                    </a:lnTo>
                    <a:lnTo>
                      <a:pt x="2308" y="1298"/>
                    </a:lnTo>
                    <a:lnTo>
                      <a:pt x="2258" y="1315"/>
                    </a:lnTo>
                    <a:lnTo>
                      <a:pt x="2205" y="1325"/>
                    </a:lnTo>
                    <a:lnTo>
                      <a:pt x="2151" y="1330"/>
                    </a:lnTo>
                    <a:lnTo>
                      <a:pt x="2098" y="1329"/>
                    </a:lnTo>
                    <a:lnTo>
                      <a:pt x="2046" y="1321"/>
                    </a:lnTo>
                    <a:lnTo>
                      <a:pt x="1996" y="1307"/>
                    </a:lnTo>
                    <a:lnTo>
                      <a:pt x="1971" y="1298"/>
                    </a:lnTo>
                    <a:lnTo>
                      <a:pt x="1948" y="1289"/>
                    </a:lnTo>
                    <a:lnTo>
                      <a:pt x="1926" y="1282"/>
                    </a:lnTo>
                    <a:lnTo>
                      <a:pt x="1905" y="1277"/>
                    </a:lnTo>
                    <a:lnTo>
                      <a:pt x="1884" y="1277"/>
                    </a:lnTo>
                    <a:lnTo>
                      <a:pt x="1861" y="1282"/>
                    </a:lnTo>
                    <a:lnTo>
                      <a:pt x="1820" y="1305"/>
                    </a:lnTo>
                    <a:lnTo>
                      <a:pt x="1775" y="1325"/>
                    </a:lnTo>
                    <a:lnTo>
                      <a:pt x="1728" y="1342"/>
                    </a:lnTo>
                    <a:lnTo>
                      <a:pt x="1680" y="1355"/>
                    </a:lnTo>
                    <a:lnTo>
                      <a:pt x="1631" y="1362"/>
                    </a:lnTo>
                    <a:lnTo>
                      <a:pt x="1629" y="1361"/>
                    </a:lnTo>
                    <a:lnTo>
                      <a:pt x="1628" y="1359"/>
                    </a:lnTo>
                    <a:lnTo>
                      <a:pt x="1628" y="1358"/>
                    </a:lnTo>
                    <a:lnTo>
                      <a:pt x="1628" y="1357"/>
                    </a:lnTo>
                    <a:lnTo>
                      <a:pt x="1629" y="1357"/>
                    </a:lnTo>
                    <a:lnTo>
                      <a:pt x="1676" y="1346"/>
                    </a:lnTo>
                    <a:lnTo>
                      <a:pt x="1723" y="1330"/>
                    </a:lnTo>
                    <a:lnTo>
                      <a:pt x="1767" y="1309"/>
                    </a:lnTo>
                    <a:lnTo>
                      <a:pt x="1810" y="1285"/>
                    </a:lnTo>
                    <a:lnTo>
                      <a:pt x="1852" y="1257"/>
                    </a:lnTo>
                    <a:lnTo>
                      <a:pt x="1875" y="1249"/>
                    </a:lnTo>
                    <a:lnTo>
                      <a:pt x="1899" y="1247"/>
                    </a:lnTo>
                    <a:lnTo>
                      <a:pt x="1922" y="1248"/>
                    </a:lnTo>
                    <a:lnTo>
                      <a:pt x="1946" y="1251"/>
                    </a:lnTo>
                    <a:lnTo>
                      <a:pt x="1967" y="1257"/>
                    </a:lnTo>
                    <a:lnTo>
                      <a:pt x="1988" y="1264"/>
                    </a:lnTo>
                    <a:lnTo>
                      <a:pt x="2007" y="1269"/>
                    </a:lnTo>
                    <a:lnTo>
                      <a:pt x="2054" y="1277"/>
                    </a:lnTo>
                    <a:lnTo>
                      <a:pt x="2101" y="1280"/>
                    </a:lnTo>
                    <a:lnTo>
                      <a:pt x="2147" y="1276"/>
                    </a:lnTo>
                    <a:lnTo>
                      <a:pt x="2194" y="1268"/>
                    </a:lnTo>
                    <a:lnTo>
                      <a:pt x="2238" y="1255"/>
                    </a:lnTo>
                    <a:lnTo>
                      <a:pt x="2280" y="1236"/>
                    </a:lnTo>
                    <a:lnTo>
                      <a:pt x="2320" y="1214"/>
                    </a:lnTo>
                    <a:lnTo>
                      <a:pt x="2357" y="1186"/>
                    </a:lnTo>
                    <a:lnTo>
                      <a:pt x="2390" y="1154"/>
                    </a:lnTo>
                    <a:lnTo>
                      <a:pt x="2421" y="1120"/>
                    </a:lnTo>
                    <a:lnTo>
                      <a:pt x="2447" y="1083"/>
                    </a:lnTo>
                    <a:lnTo>
                      <a:pt x="2469" y="1044"/>
                    </a:lnTo>
                    <a:lnTo>
                      <a:pt x="2489" y="1002"/>
                    </a:lnTo>
                    <a:lnTo>
                      <a:pt x="2504" y="960"/>
                    </a:lnTo>
                    <a:lnTo>
                      <a:pt x="2513" y="915"/>
                    </a:lnTo>
                    <a:lnTo>
                      <a:pt x="2520" y="867"/>
                    </a:lnTo>
                    <a:lnTo>
                      <a:pt x="2522" y="818"/>
                    </a:lnTo>
                    <a:lnTo>
                      <a:pt x="2520" y="769"/>
                    </a:lnTo>
                    <a:lnTo>
                      <a:pt x="2512" y="721"/>
                    </a:lnTo>
                    <a:lnTo>
                      <a:pt x="2499" y="675"/>
                    </a:lnTo>
                    <a:lnTo>
                      <a:pt x="2483" y="630"/>
                    </a:lnTo>
                    <a:lnTo>
                      <a:pt x="2462" y="588"/>
                    </a:lnTo>
                    <a:lnTo>
                      <a:pt x="2436" y="548"/>
                    </a:lnTo>
                    <a:lnTo>
                      <a:pt x="2408" y="512"/>
                    </a:lnTo>
                    <a:lnTo>
                      <a:pt x="2376" y="479"/>
                    </a:lnTo>
                    <a:lnTo>
                      <a:pt x="2341" y="450"/>
                    </a:lnTo>
                    <a:lnTo>
                      <a:pt x="2306" y="429"/>
                    </a:lnTo>
                    <a:lnTo>
                      <a:pt x="2269" y="410"/>
                    </a:lnTo>
                    <a:lnTo>
                      <a:pt x="2232" y="397"/>
                    </a:lnTo>
                    <a:lnTo>
                      <a:pt x="2193" y="389"/>
                    </a:lnTo>
                    <a:lnTo>
                      <a:pt x="2153" y="384"/>
                    </a:lnTo>
                    <a:lnTo>
                      <a:pt x="2114" y="384"/>
                    </a:lnTo>
                    <a:lnTo>
                      <a:pt x="2106" y="385"/>
                    </a:lnTo>
                    <a:lnTo>
                      <a:pt x="2094" y="386"/>
                    </a:lnTo>
                    <a:lnTo>
                      <a:pt x="2078" y="386"/>
                    </a:lnTo>
                    <a:lnTo>
                      <a:pt x="2058" y="386"/>
                    </a:lnTo>
                    <a:lnTo>
                      <a:pt x="2038" y="385"/>
                    </a:lnTo>
                    <a:lnTo>
                      <a:pt x="2017" y="382"/>
                    </a:lnTo>
                    <a:lnTo>
                      <a:pt x="1988" y="374"/>
                    </a:lnTo>
                    <a:lnTo>
                      <a:pt x="1959" y="362"/>
                    </a:lnTo>
                    <a:lnTo>
                      <a:pt x="1932" y="348"/>
                    </a:lnTo>
                    <a:lnTo>
                      <a:pt x="1908" y="331"/>
                    </a:lnTo>
                    <a:lnTo>
                      <a:pt x="1889" y="313"/>
                    </a:lnTo>
                    <a:lnTo>
                      <a:pt x="1872" y="300"/>
                    </a:lnTo>
                    <a:lnTo>
                      <a:pt x="1858" y="288"/>
                    </a:lnTo>
                    <a:lnTo>
                      <a:pt x="1846" y="279"/>
                    </a:lnTo>
                    <a:lnTo>
                      <a:pt x="1832" y="270"/>
                    </a:lnTo>
                    <a:lnTo>
                      <a:pt x="1818" y="262"/>
                    </a:lnTo>
                    <a:lnTo>
                      <a:pt x="1803" y="254"/>
                    </a:lnTo>
                    <a:lnTo>
                      <a:pt x="1765" y="235"/>
                    </a:lnTo>
                    <a:lnTo>
                      <a:pt x="1725" y="222"/>
                    </a:lnTo>
                    <a:lnTo>
                      <a:pt x="1684" y="214"/>
                    </a:lnTo>
                    <a:lnTo>
                      <a:pt x="1639" y="209"/>
                    </a:lnTo>
                    <a:lnTo>
                      <a:pt x="1594" y="210"/>
                    </a:lnTo>
                    <a:lnTo>
                      <a:pt x="1548" y="217"/>
                    </a:lnTo>
                    <a:lnTo>
                      <a:pt x="1504" y="230"/>
                    </a:lnTo>
                    <a:lnTo>
                      <a:pt x="1461" y="251"/>
                    </a:lnTo>
                    <a:lnTo>
                      <a:pt x="1436" y="267"/>
                    </a:lnTo>
                    <a:lnTo>
                      <a:pt x="1412" y="285"/>
                    </a:lnTo>
                    <a:lnTo>
                      <a:pt x="1399" y="294"/>
                    </a:lnTo>
                    <a:lnTo>
                      <a:pt x="1388" y="304"/>
                    </a:lnTo>
                    <a:lnTo>
                      <a:pt x="1384" y="308"/>
                    </a:lnTo>
                    <a:lnTo>
                      <a:pt x="1380" y="312"/>
                    </a:lnTo>
                    <a:lnTo>
                      <a:pt x="1373" y="319"/>
                    </a:lnTo>
                    <a:lnTo>
                      <a:pt x="1364" y="327"/>
                    </a:lnTo>
                    <a:lnTo>
                      <a:pt x="1353" y="337"/>
                    </a:lnTo>
                    <a:lnTo>
                      <a:pt x="1327" y="353"/>
                    </a:lnTo>
                    <a:lnTo>
                      <a:pt x="1300" y="365"/>
                    </a:lnTo>
                    <a:lnTo>
                      <a:pt x="1272" y="372"/>
                    </a:lnTo>
                    <a:lnTo>
                      <a:pt x="1242" y="373"/>
                    </a:lnTo>
                    <a:lnTo>
                      <a:pt x="1212" y="369"/>
                    </a:lnTo>
                    <a:lnTo>
                      <a:pt x="1198" y="366"/>
                    </a:lnTo>
                    <a:lnTo>
                      <a:pt x="1184" y="360"/>
                    </a:lnTo>
                    <a:lnTo>
                      <a:pt x="1170" y="353"/>
                    </a:lnTo>
                    <a:lnTo>
                      <a:pt x="1159" y="348"/>
                    </a:lnTo>
                    <a:lnTo>
                      <a:pt x="1152" y="343"/>
                    </a:lnTo>
                    <a:lnTo>
                      <a:pt x="1126" y="328"/>
                    </a:lnTo>
                    <a:lnTo>
                      <a:pt x="1088" y="310"/>
                    </a:lnTo>
                    <a:lnTo>
                      <a:pt x="1050" y="296"/>
                    </a:lnTo>
                    <a:lnTo>
                      <a:pt x="1010" y="288"/>
                    </a:lnTo>
                    <a:lnTo>
                      <a:pt x="969" y="285"/>
                    </a:lnTo>
                    <a:lnTo>
                      <a:pt x="927" y="286"/>
                    </a:lnTo>
                    <a:lnTo>
                      <a:pt x="886" y="292"/>
                    </a:lnTo>
                    <a:lnTo>
                      <a:pt x="845" y="303"/>
                    </a:lnTo>
                    <a:lnTo>
                      <a:pt x="805" y="318"/>
                    </a:lnTo>
                    <a:lnTo>
                      <a:pt x="766" y="337"/>
                    </a:lnTo>
                    <a:lnTo>
                      <a:pt x="730" y="362"/>
                    </a:lnTo>
                    <a:lnTo>
                      <a:pt x="697" y="391"/>
                    </a:lnTo>
                    <a:lnTo>
                      <a:pt x="666" y="424"/>
                    </a:lnTo>
                    <a:lnTo>
                      <a:pt x="639" y="459"/>
                    </a:lnTo>
                    <a:lnTo>
                      <a:pt x="615" y="497"/>
                    </a:lnTo>
                    <a:lnTo>
                      <a:pt x="594" y="538"/>
                    </a:lnTo>
                    <a:lnTo>
                      <a:pt x="587" y="554"/>
                    </a:lnTo>
                    <a:lnTo>
                      <a:pt x="581" y="570"/>
                    </a:lnTo>
                    <a:lnTo>
                      <a:pt x="575" y="586"/>
                    </a:lnTo>
                    <a:lnTo>
                      <a:pt x="569" y="605"/>
                    </a:lnTo>
                    <a:lnTo>
                      <a:pt x="560" y="626"/>
                    </a:lnTo>
                    <a:lnTo>
                      <a:pt x="545" y="643"/>
                    </a:lnTo>
                    <a:lnTo>
                      <a:pt x="527" y="656"/>
                    </a:lnTo>
                    <a:lnTo>
                      <a:pt x="507" y="666"/>
                    </a:lnTo>
                    <a:lnTo>
                      <a:pt x="483" y="669"/>
                    </a:lnTo>
                    <a:lnTo>
                      <a:pt x="459" y="666"/>
                    </a:lnTo>
                    <a:lnTo>
                      <a:pt x="443" y="658"/>
                    </a:lnTo>
                    <a:lnTo>
                      <a:pt x="430" y="652"/>
                    </a:lnTo>
                    <a:lnTo>
                      <a:pt x="421" y="646"/>
                    </a:lnTo>
                    <a:lnTo>
                      <a:pt x="413" y="642"/>
                    </a:lnTo>
                    <a:lnTo>
                      <a:pt x="406" y="637"/>
                    </a:lnTo>
                    <a:lnTo>
                      <a:pt x="399" y="634"/>
                    </a:lnTo>
                    <a:lnTo>
                      <a:pt x="389" y="629"/>
                    </a:lnTo>
                    <a:lnTo>
                      <a:pt x="358" y="618"/>
                    </a:lnTo>
                    <a:lnTo>
                      <a:pt x="327" y="612"/>
                    </a:lnTo>
                    <a:lnTo>
                      <a:pt x="294" y="610"/>
                    </a:lnTo>
                    <a:lnTo>
                      <a:pt x="261" y="612"/>
                    </a:lnTo>
                    <a:lnTo>
                      <a:pt x="228" y="619"/>
                    </a:lnTo>
                    <a:lnTo>
                      <a:pt x="196" y="630"/>
                    </a:lnTo>
                    <a:lnTo>
                      <a:pt x="162" y="648"/>
                    </a:lnTo>
                    <a:lnTo>
                      <a:pt x="130" y="671"/>
                    </a:lnTo>
                    <a:lnTo>
                      <a:pt x="101" y="699"/>
                    </a:lnTo>
                    <a:lnTo>
                      <a:pt x="77" y="729"/>
                    </a:lnTo>
                    <a:lnTo>
                      <a:pt x="58" y="764"/>
                    </a:lnTo>
                    <a:lnTo>
                      <a:pt x="42" y="800"/>
                    </a:lnTo>
                    <a:lnTo>
                      <a:pt x="31" y="839"/>
                    </a:lnTo>
                    <a:lnTo>
                      <a:pt x="23" y="879"/>
                    </a:lnTo>
                    <a:lnTo>
                      <a:pt x="20" y="920"/>
                    </a:lnTo>
                    <a:lnTo>
                      <a:pt x="23" y="961"/>
                    </a:lnTo>
                    <a:lnTo>
                      <a:pt x="29" y="1002"/>
                    </a:lnTo>
                    <a:lnTo>
                      <a:pt x="42" y="1040"/>
                    </a:lnTo>
                    <a:lnTo>
                      <a:pt x="59" y="1079"/>
                    </a:lnTo>
                    <a:lnTo>
                      <a:pt x="59" y="1080"/>
                    </a:lnTo>
                    <a:lnTo>
                      <a:pt x="59" y="1081"/>
                    </a:lnTo>
                    <a:lnTo>
                      <a:pt x="58" y="1081"/>
                    </a:lnTo>
                    <a:lnTo>
                      <a:pt x="56" y="1081"/>
                    </a:lnTo>
                    <a:lnTo>
                      <a:pt x="54" y="1080"/>
                    </a:lnTo>
                    <a:lnTo>
                      <a:pt x="35" y="1046"/>
                    </a:lnTo>
                    <a:lnTo>
                      <a:pt x="20" y="1010"/>
                    </a:lnTo>
                    <a:lnTo>
                      <a:pt x="9" y="972"/>
                    </a:lnTo>
                    <a:lnTo>
                      <a:pt x="2" y="932"/>
                    </a:lnTo>
                    <a:lnTo>
                      <a:pt x="0" y="892"/>
                    </a:lnTo>
                    <a:lnTo>
                      <a:pt x="1" y="852"/>
                    </a:lnTo>
                    <a:lnTo>
                      <a:pt x="8" y="811"/>
                    </a:lnTo>
                    <a:lnTo>
                      <a:pt x="18" y="773"/>
                    </a:lnTo>
                    <a:lnTo>
                      <a:pt x="32" y="735"/>
                    </a:lnTo>
                    <a:lnTo>
                      <a:pt x="51" y="699"/>
                    </a:lnTo>
                    <a:lnTo>
                      <a:pt x="75" y="664"/>
                    </a:lnTo>
                    <a:lnTo>
                      <a:pt x="102" y="634"/>
                    </a:lnTo>
                    <a:lnTo>
                      <a:pt x="134" y="606"/>
                    </a:lnTo>
                    <a:lnTo>
                      <a:pt x="171" y="584"/>
                    </a:lnTo>
                    <a:lnTo>
                      <a:pt x="199" y="568"/>
                    </a:lnTo>
                    <a:lnTo>
                      <a:pt x="230" y="557"/>
                    </a:lnTo>
                    <a:lnTo>
                      <a:pt x="263" y="549"/>
                    </a:lnTo>
                    <a:lnTo>
                      <a:pt x="296" y="546"/>
                    </a:lnTo>
                    <a:lnTo>
                      <a:pt x="329" y="546"/>
                    </a:lnTo>
                    <a:lnTo>
                      <a:pt x="362" y="549"/>
                    </a:lnTo>
                    <a:lnTo>
                      <a:pt x="395" y="555"/>
                    </a:lnTo>
                    <a:lnTo>
                      <a:pt x="425" y="563"/>
                    </a:lnTo>
                    <a:lnTo>
                      <a:pt x="453" y="574"/>
                    </a:lnTo>
                    <a:lnTo>
                      <a:pt x="462" y="577"/>
                    </a:lnTo>
                    <a:lnTo>
                      <a:pt x="471" y="578"/>
                    </a:lnTo>
                    <a:lnTo>
                      <a:pt x="479" y="576"/>
                    </a:lnTo>
                    <a:lnTo>
                      <a:pt x="486" y="570"/>
                    </a:lnTo>
                    <a:lnTo>
                      <a:pt x="491" y="563"/>
                    </a:lnTo>
                    <a:lnTo>
                      <a:pt x="495" y="544"/>
                    </a:lnTo>
                    <a:lnTo>
                      <a:pt x="500" y="524"/>
                    </a:lnTo>
                    <a:lnTo>
                      <a:pt x="507" y="506"/>
                    </a:lnTo>
                    <a:lnTo>
                      <a:pt x="526" y="456"/>
                    </a:lnTo>
                    <a:lnTo>
                      <a:pt x="551" y="407"/>
                    </a:lnTo>
                    <a:lnTo>
                      <a:pt x="581" y="360"/>
                    </a:lnTo>
                    <a:lnTo>
                      <a:pt x="610" y="319"/>
                    </a:lnTo>
                    <a:lnTo>
                      <a:pt x="645" y="282"/>
                    </a:lnTo>
                    <a:lnTo>
                      <a:pt x="685" y="249"/>
                    </a:lnTo>
                    <a:lnTo>
                      <a:pt x="729" y="219"/>
                    </a:lnTo>
                    <a:lnTo>
                      <a:pt x="774" y="194"/>
                    </a:lnTo>
                    <a:lnTo>
                      <a:pt x="823" y="173"/>
                    </a:lnTo>
                    <a:lnTo>
                      <a:pt x="873" y="157"/>
                    </a:lnTo>
                    <a:lnTo>
                      <a:pt x="926" y="147"/>
                    </a:lnTo>
                    <a:lnTo>
                      <a:pt x="979" y="141"/>
                    </a:lnTo>
                    <a:lnTo>
                      <a:pt x="1033" y="143"/>
                    </a:lnTo>
                    <a:lnTo>
                      <a:pt x="1086" y="149"/>
                    </a:lnTo>
                    <a:lnTo>
                      <a:pt x="1138" y="162"/>
                    </a:lnTo>
                    <a:lnTo>
                      <a:pt x="1190" y="181"/>
                    </a:lnTo>
                    <a:lnTo>
                      <a:pt x="1209" y="190"/>
                    </a:lnTo>
                    <a:lnTo>
                      <a:pt x="1224" y="197"/>
                    </a:lnTo>
                    <a:lnTo>
                      <a:pt x="1233" y="202"/>
                    </a:lnTo>
                    <a:lnTo>
                      <a:pt x="1240" y="204"/>
                    </a:lnTo>
                    <a:lnTo>
                      <a:pt x="1243" y="205"/>
                    </a:lnTo>
                    <a:lnTo>
                      <a:pt x="1244" y="205"/>
                    </a:lnTo>
                    <a:lnTo>
                      <a:pt x="1244" y="205"/>
                    </a:lnTo>
                    <a:lnTo>
                      <a:pt x="1243" y="204"/>
                    </a:lnTo>
                    <a:lnTo>
                      <a:pt x="1243" y="203"/>
                    </a:lnTo>
                    <a:lnTo>
                      <a:pt x="1242" y="203"/>
                    </a:lnTo>
                    <a:lnTo>
                      <a:pt x="1243" y="202"/>
                    </a:lnTo>
                    <a:lnTo>
                      <a:pt x="1243" y="202"/>
                    </a:lnTo>
                    <a:lnTo>
                      <a:pt x="1247" y="197"/>
                    </a:lnTo>
                    <a:lnTo>
                      <a:pt x="1253" y="189"/>
                    </a:lnTo>
                    <a:lnTo>
                      <a:pt x="1263" y="180"/>
                    </a:lnTo>
                    <a:lnTo>
                      <a:pt x="1272" y="171"/>
                    </a:lnTo>
                    <a:lnTo>
                      <a:pt x="1281" y="161"/>
                    </a:lnTo>
                    <a:lnTo>
                      <a:pt x="1288" y="154"/>
                    </a:lnTo>
                    <a:lnTo>
                      <a:pt x="1321" y="123"/>
                    </a:lnTo>
                    <a:lnTo>
                      <a:pt x="1357" y="97"/>
                    </a:lnTo>
                    <a:lnTo>
                      <a:pt x="1400" y="69"/>
                    </a:lnTo>
                    <a:lnTo>
                      <a:pt x="1447" y="46"/>
                    </a:lnTo>
                    <a:lnTo>
                      <a:pt x="1496" y="26"/>
                    </a:lnTo>
                    <a:lnTo>
                      <a:pt x="1546" y="13"/>
                    </a:lnTo>
                    <a:lnTo>
                      <a:pt x="1598" y="4"/>
                    </a:lnTo>
                    <a:lnTo>
                      <a:pt x="1652" y="0"/>
                    </a:lnTo>
                    <a:close/>
                  </a:path>
                </a:pathLst>
              </a:custGeom>
              <a:solidFill>
                <a:schemeClr val="tx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07972" tIns="107972" rIns="107972" bIns="107972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eaLnBrk="0" fontAlgn="base" hangingPunct="0">
                  <a:spcAft>
                    <a:spcPct val="0"/>
                  </a:spcAft>
                  <a:defRPr/>
                </a:pPr>
                <a:endParaRPr lang="de-DE" sz="1200" dirty="0">
                  <a:solidFill>
                    <a:srgbClr val="3B3B3B"/>
                  </a:solidFill>
                  <a:latin typeface="EnBW DIN Pro"/>
                </a:endParaRPr>
              </a:p>
            </p:txBody>
          </p:sp>
          <p:sp>
            <p:nvSpPr>
              <p:cNvPr id="220" name="Freeform 268">
                <a:extLst>
                  <a:ext uri="{FF2B5EF4-FFF2-40B4-BE49-F238E27FC236}">
                    <a16:creationId xmlns:a16="http://schemas.microsoft.com/office/drawing/2014/main" id="{6A99B128-B9DF-4A12-B93F-1CB20E31CB1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33032" y="2782274"/>
                <a:ext cx="184727" cy="33194"/>
              </a:xfrm>
              <a:custGeom>
                <a:avLst/>
                <a:gdLst>
                  <a:gd name="T0" fmla="*/ 1011 w 1024"/>
                  <a:gd name="T1" fmla="*/ 0 h 180"/>
                  <a:gd name="T2" fmla="*/ 1017 w 1024"/>
                  <a:gd name="T3" fmla="*/ 2 h 180"/>
                  <a:gd name="T4" fmla="*/ 1023 w 1024"/>
                  <a:gd name="T5" fmla="*/ 8 h 180"/>
                  <a:gd name="T6" fmla="*/ 1024 w 1024"/>
                  <a:gd name="T7" fmla="*/ 14 h 180"/>
                  <a:gd name="T8" fmla="*/ 1022 w 1024"/>
                  <a:gd name="T9" fmla="*/ 21 h 180"/>
                  <a:gd name="T10" fmla="*/ 994 w 1024"/>
                  <a:gd name="T11" fmla="*/ 53 h 180"/>
                  <a:gd name="T12" fmla="*/ 964 w 1024"/>
                  <a:gd name="T13" fmla="*/ 82 h 180"/>
                  <a:gd name="T14" fmla="*/ 931 w 1024"/>
                  <a:gd name="T15" fmla="*/ 105 h 180"/>
                  <a:gd name="T16" fmla="*/ 895 w 1024"/>
                  <a:gd name="T17" fmla="*/ 126 h 180"/>
                  <a:gd name="T18" fmla="*/ 858 w 1024"/>
                  <a:gd name="T19" fmla="*/ 143 h 180"/>
                  <a:gd name="T20" fmla="*/ 819 w 1024"/>
                  <a:gd name="T21" fmla="*/ 156 h 180"/>
                  <a:gd name="T22" fmla="*/ 780 w 1024"/>
                  <a:gd name="T23" fmla="*/ 164 h 180"/>
                  <a:gd name="T24" fmla="*/ 739 w 1024"/>
                  <a:gd name="T25" fmla="*/ 169 h 180"/>
                  <a:gd name="T26" fmla="*/ 698 w 1024"/>
                  <a:gd name="T27" fmla="*/ 169 h 180"/>
                  <a:gd name="T28" fmla="*/ 657 w 1024"/>
                  <a:gd name="T29" fmla="*/ 165 h 180"/>
                  <a:gd name="T30" fmla="*/ 617 w 1024"/>
                  <a:gd name="T31" fmla="*/ 156 h 180"/>
                  <a:gd name="T32" fmla="*/ 580 w 1024"/>
                  <a:gd name="T33" fmla="*/ 145 h 180"/>
                  <a:gd name="T34" fmla="*/ 545 w 1024"/>
                  <a:gd name="T35" fmla="*/ 133 h 180"/>
                  <a:gd name="T36" fmla="*/ 514 w 1024"/>
                  <a:gd name="T37" fmla="*/ 121 h 180"/>
                  <a:gd name="T38" fmla="*/ 486 w 1024"/>
                  <a:gd name="T39" fmla="*/ 111 h 180"/>
                  <a:gd name="T40" fmla="*/ 442 w 1024"/>
                  <a:gd name="T41" fmla="*/ 101 h 180"/>
                  <a:gd name="T42" fmla="*/ 395 w 1024"/>
                  <a:gd name="T43" fmla="*/ 92 h 180"/>
                  <a:gd name="T44" fmla="*/ 348 w 1024"/>
                  <a:gd name="T45" fmla="*/ 87 h 180"/>
                  <a:gd name="T46" fmla="*/ 299 w 1024"/>
                  <a:gd name="T47" fmla="*/ 86 h 180"/>
                  <a:gd name="T48" fmla="*/ 249 w 1024"/>
                  <a:gd name="T49" fmla="*/ 88 h 180"/>
                  <a:gd name="T50" fmla="*/ 198 w 1024"/>
                  <a:gd name="T51" fmla="*/ 96 h 180"/>
                  <a:gd name="T52" fmla="*/ 148 w 1024"/>
                  <a:gd name="T53" fmla="*/ 109 h 180"/>
                  <a:gd name="T54" fmla="*/ 99 w 1024"/>
                  <a:gd name="T55" fmla="*/ 126 h 180"/>
                  <a:gd name="T56" fmla="*/ 52 w 1024"/>
                  <a:gd name="T57" fmla="*/ 150 h 180"/>
                  <a:gd name="T58" fmla="*/ 4 w 1024"/>
                  <a:gd name="T59" fmla="*/ 180 h 180"/>
                  <a:gd name="T60" fmla="*/ 3 w 1024"/>
                  <a:gd name="T61" fmla="*/ 180 h 180"/>
                  <a:gd name="T62" fmla="*/ 1 w 1024"/>
                  <a:gd name="T63" fmla="*/ 180 h 180"/>
                  <a:gd name="T64" fmla="*/ 0 w 1024"/>
                  <a:gd name="T65" fmla="*/ 178 h 180"/>
                  <a:gd name="T66" fmla="*/ 0 w 1024"/>
                  <a:gd name="T67" fmla="*/ 176 h 180"/>
                  <a:gd name="T68" fmla="*/ 1 w 1024"/>
                  <a:gd name="T69" fmla="*/ 175 h 180"/>
                  <a:gd name="T70" fmla="*/ 49 w 1024"/>
                  <a:gd name="T71" fmla="*/ 134 h 180"/>
                  <a:gd name="T72" fmla="*/ 99 w 1024"/>
                  <a:gd name="T73" fmla="*/ 99 h 180"/>
                  <a:gd name="T74" fmla="*/ 153 w 1024"/>
                  <a:gd name="T75" fmla="*/ 69 h 180"/>
                  <a:gd name="T76" fmla="*/ 209 w 1024"/>
                  <a:gd name="T77" fmla="*/ 44 h 180"/>
                  <a:gd name="T78" fmla="*/ 267 w 1024"/>
                  <a:gd name="T79" fmla="*/ 25 h 180"/>
                  <a:gd name="T80" fmla="*/ 325 w 1024"/>
                  <a:gd name="T81" fmla="*/ 11 h 180"/>
                  <a:gd name="T82" fmla="*/ 385 w 1024"/>
                  <a:gd name="T83" fmla="*/ 3 h 180"/>
                  <a:gd name="T84" fmla="*/ 447 w 1024"/>
                  <a:gd name="T85" fmla="*/ 1 h 180"/>
                  <a:gd name="T86" fmla="*/ 508 w 1024"/>
                  <a:gd name="T87" fmla="*/ 5 h 180"/>
                  <a:gd name="T88" fmla="*/ 553 w 1024"/>
                  <a:gd name="T89" fmla="*/ 15 h 180"/>
                  <a:gd name="T90" fmla="*/ 592 w 1024"/>
                  <a:gd name="T91" fmla="*/ 26 h 180"/>
                  <a:gd name="T92" fmla="*/ 629 w 1024"/>
                  <a:gd name="T93" fmla="*/ 35 h 180"/>
                  <a:gd name="T94" fmla="*/ 663 w 1024"/>
                  <a:gd name="T95" fmla="*/ 43 h 180"/>
                  <a:gd name="T96" fmla="*/ 697 w 1024"/>
                  <a:gd name="T97" fmla="*/ 50 h 180"/>
                  <a:gd name="T98" fmla="*/ 731 w 1024"/>
                  <a:gd name="T99" fmla="*/ 53 h 180"/>
                  <a:gd name="T100" fmla="*/ 769 w 1024"/>
                  <a:gd name="T101" fmla="*/ 53 h 180"/>
                  <a:gd name="T102" fmla="*/ 813 w 1024"/>
                  <a:gd name="T103" fmla="*/ 51 h 180"/>
                  <a:gd name="T104" fmla="*/ 859 w 1024"/>
                  <a:gd name="T105" fmla="*/ 45 h 180"/>
                  <a:gd name="T106" fmla="*/ 906 w 1024"/>
                  <a:gd name="T107" fmla="*/ 36 h 180"/>
                  <a:gd name="T108" fmla="*/ 954 w 1024"/>
                  <a:gd name="T109" fmla="*/ 21 h 180"/>
                  <a:gd name="T110" fmla="*/ 1003 w 1024"/>
                  <a:gd name="T111" fmla="*/ 1 h 180"/>
                  <a:gd name="T112" fmla="*/ 1011 w 1024"/>
                  <a:gd name="T113" fmla="*/ 0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024" h="180">
                    <a:moveTo>
                      <a:pt x="1011" y="0"/>
                    </a:moveTo>
                    <a:lnTo>
                      <a:pt x="1017" y="2"/>
                    </a:lnTo>
                    <a:lnTo>
                      <a:pt x="1023" y="8"/>
                    </a:lnTo>
                    <a:lnTo>
                      <a:pt x="1024" y="14"/>
                    </a:lnTo>
                    <a:lnTo>
                      <a:pt x="1022" y="21"/>
                    </a:lnTo>
                    <a:lnTo>
                      <a:pt x="994" y="53"/>
                    </a:lnTo>
                    <a:lnTo>
                      <a:pt x="964" y="82"/>
                    </a:lnTo>
                    <a:lnTo>
                      <a:pt x="931" y="105"/>
                    </a:lnTo>
                    <a:lnTo>
                      <a:pt x="895" y="126"/>
                    </a:lnTo>
                    <a:lnTo>
                      <a:pt x="858" y="143"/>
                    </a:lnTo>
                    <a:lnTo>
                      <a:pt x="819" y="156"/>
                    </a:lnTo>
                    <a:lnTo>
                      <a:pt x="780" y="164"/>
                    </a:lnTo>
                    <a:lnTo>
                      <a:pt x="739" y="169"/>
                    </a:lnTo>
                    <a:lnTo>
                      <a:pt x="698" y="169"/>
                    </a:lnTo>
                    <a:lnTo>
                      <a:pt x="657" y="165"/>
                    </a:lnTo>
                    <a:lnTo>
                      <a:pt x="617" y="156"/>
                    </a:lnTo>
                    <a:lnTo>
                      <a:pt x="580" y="145"/>
                    </a:lnTo>
                    <a:lnTo>
                      <a:pt x="545" y="133"/>
                    </a:lnTo>
                    <a:lnTo>
                      <a:pt x="514" y="121"/>
                    </a:lnTo>
                    <a:lnTo>
                      <a:pt x="486" y="111"/>
                    </a:lnTo>
                    <a:lnTo>
                      <a:pt x="442" y="101"/>
                    </a:lnTo>
                    <a:lnTo>
                      <a:pt x="395" y="92"/>
                    </a:lnTo>
                    <a:lnTo>
                      <a:pt x="348" y="87"/>
                    </a:lnTo>
                    <a:lnTo>
                      <a:pt x="299" y="86"/>
                    </a:lnTo>
                    <a:lnTo>
                      <a:pt x="249" y="88"/>
                    </a:lnTo>
                    <a:lnTo>
                      <a:pt x="198" y="96"/>
                    </a:lnTo>
                    <a:lnTo>
                      <a:pt x="148" y="109"/>
                    </a:lnTo>
                    <a:lnTo>
                      <a:pt x="99" y="126"/>
                    </a:lnTo>
                    <a:lnTo>
                      <a:pt x="52" y="150"/>
                    </a:lnTo>
                    <a:lnTo>
                      <a:pt x="4" y="180"/>
                    </a:lnTo>
                    <a:lnTo>
                      <a:pt x="3" y="180"/>
                    </a:lnTo>
                    <a:lnTo>
                      <a:pt x="1" y="180"/>
                    </a:lnTo>
                    <a:lnTo>
                      <a:pt x="0" y="178"/>
                    </a:lnTo>
                    <a:lnTo>
                      <a:pt x="0" y="176"/>
                    </a:lnTo>
                    <a:lnTo>
                      <a:pt x="1" y="175"/>
                    </a:lnTo>
                    <a:lnTo>
                      <a:pt x="49" y="134"/>
                    </a:lnTo>
                    <a:lnTo>
                      <a:pt x="99" y="99"/>
                    </a:lnTo>
                    <a:lnTo>
                      <a:pt x="153" y="69"/>
                    </a:lnTo>
                    <a:lnTo>
                      <a:pt x="209" y="44"/>
                    </a:lnTo>
                    <a:lnTo>
                      <a:pt x="267" y="25"/>
                    </a:lnTo>
                    <a:lnTo>
                      <a:pt x="325" y="11"/>
                    </a:lnTo>
                    <a:lnTo>
                      <a:pt x="385" y="3"/>
                    </a:lnTo>
                    <a:lnTo>
                      <a:pt x="447" y="1"/>
                    </a:lnTo>
                    <a:lnTo>
                      <a:pt x="508" y="5"/>
                    </a:lnTo>
                    <a:lnTo>
                      <a:pt x="553" y="15"/>
                    </a:lnTo>
                    <a:lnTo>
                      <a:pt x="592" y="26"/>
                    </a:lnTo>
                    <a:lnTo>
                      <a:pt x="629" y="35"/>
                    </a:lnTo>
                    <a:lnTo>
                      <a:pt x="663" y="43"/>
                    </a:lnTo>
                    <a:lnTo>
                      <a:pt x="697" y="50"/>
                    </a:lnTo>
                    <a:lnTo>
                      <a:pt x="731" y="53"/>
                    </a:lnTo>
                    <a:lnTo>
                      <a:pt x="769" y="53"/>
                    </a:lnTo>
                    <a:lnTo>
                      <a:pt x="813" y="51"/>
                    </a:lnTo>
                    <a:lnTo>
                      <a:pt x="859" y="45"/>
                    </a:lnTo>
                    <a:lnTo>
                      <a:pt x="906" y="36"/>
                    </a:lnTo>
                    <a:lnTo>
                      <a:pt x="954" y="21"/>
                    </a:lnTo>
                    <a:lnTo>
                      <a:pt x="1003" y="1"/>
                    </a:lnTo>
                    <a:lnTo>
                      <a:pt x="1011" y="0"/>
                    </a:lnTo>
                    <a:close/>
                  </a:path>
                </a:pathLst>
              </a:custGeom>
              <a:solidFill>
                <a:schemeClr val="tx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07972" tIns="107972" rIns="107972" bIns="107972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eaLnBrk="0" fontAlgn="base" hangingPunct="0">
                  <a:spcAft>
                    <a:spcPct val="0"/>
                  </a:spcAft>
                  <a:defRPr/>
                </a:pPr>
                <a:endParaRPr lang="de-DE" sz="1200" dirty="0">
                  <a:solidFill>
                    <a:srgbClr val="3B3B3B"/>
                  </a:solidFill>
                  <a:latin typeface="EnBW DIN Pro"/>
                </a:endParaRPr>
              </a:p>
            </p:txBody>
          </p:sp>
          <p:sp>
            <p:nvSpPr>
              <p:cNvPr id="221" name="Freeform 269">
                <a:extLst>
                  <a:ext uri="{FF2B5EF4-FFF2-40B4-BE49-F238E27FC236}">
                    <a16:creationId xmlns:a16="http://schemas.microsoft.com/office/drawing/2014/main" id="{ADA2543A-FD1B-425A-89E3-3BC741C37280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804589" y="2852990"/>
                <a:ext cx="285750" cy="258330"/>
              </a:xfrm>
              <a:custGeom>
                <a:avLst/>
                <a:gdLst>
                  <a:gd name="T0" fmla="*/ 741 w 1580"/>
                  <a:gd name="T1" fmla="*/ 366 h 1436"/>
                  <a:gd name="T2" fmla="*/ 651 w 1580"/>
                  <a:gd name="T3" fmla="*/ 390 h 1436"/>
                  <a:gd name="T4" fmla="*/ 573 w 1580"/>
                  <a:gd name="T5" fmla="*/ 437 h 1436"/>
                  <a:gd name="T6" fmla="*/ 508 w 1580"/>
                  <a:gd name="T7" fmla="*/ 501 h 1436"/>
                  <a:gd name="T8" fmla="*/ 462 w 1580"/>
                  <a:gd name="T9" fmla="*/ 580 h 1436"/>
                  <a:gd name="T10" fmla="*/ 437 w 1580"/>
                  <a:gd name="T11" fmla="*/ 670 h 1436"/>
                  <a:gd name="T12" fmla="*/ 437 w 1580"/>
                  <a:gd name="T13" fmla="*/ 767 h 1436"/>
                  <a:gd name="T14" fmla="*/ 462 w 1580"/>
                  <a:gd name="T15" fmla="*/ 857 h 1436"/>
                  <a:gd name="T16" fmla="*/ 508 w 1580"/>
                  <a:gd name="T17" fmla="*/ 936 h 1436"/>
                  <a:gd name="T18" fmla="*/ 573 w 1580"/>
                  <a:gd name="T19" fmla="*/ 1000 h 1436"/>
                  <a:gd name="T20" fmla="*/ 651 w 1580"/>
                  <a:gd name="T21" fmla="*/ 1046 h 1436"/>
                  <a:gd name="T22" fmla="*/ 741 w 1580"/>
                  <a:gd name="T23" fmla="*/ 1071 h 1436"/>
                  <a:gd name="T24" fmla="*/ 838 w 1580"/>
                  <a:gd name="T25" fmla="*/ 1071 h 1436"/>
                  <a:gd name="T26" fmla="*/ 928 w 1580"/>
                  <a:gd name="T27" fmla="*/ 1046 h 1436"/>
                  <a:gd name="T28" fmla="*/ 1008 w 1580"/>
                  <a:gd name="T29" fmla="*/ 1000 h 1436"/>
                  <a:gd name="T30" fmla="*/ 1071 w 1580"/>
                  <a:gd name="T31" fmla="*/ 936 h 1436"/>
                  <a:gd name="T32" fmla="*/ 1118 w 1580"/>
                  <a:gd name="T33" fmla="*/ 857 h 1436"/>
                  <a:gd name="T34" fmla="*/ 1142 w 1580"/>
                  <a:gd name="T35" fmla="*/ 767 h 1436"/>
                  <a:gd name="T36" fmla="*/ 1142 w 1580"/>
                  <a:gd name="T37" fmla="*/ 670 h 1436"/>
                  <a:gd name="T38" fmla="*/ 1118 w 1580"/>
                  <a:gd name="T39" fmla="*/ 580 h 1436"/>
                  <a:gd name="T40" fmla="*/ 1071 w 1580"/>
                  <a:gd name="T41" fmla="*/ 501 h 1436"/>
                  <a:gd name="T42" fmla="*/ 1008 w 1580"/>
                  <a:gd name="T43" fmla="*/ 437 h 1436"/>
                  <a:gd name="T44" fmla="*/ 928 w 1580"/>
                  <a:gd name="T45" fmla="*/ 390 h 1436"/>
                  <a:gd name="T46" fmla="*/ 838 w 1580"/>
                  <a:gd name="T47" fmla="*/ 366 h 1436"/>
                  <a:gd name="T48" fmla="*/ 241 w 1580"/>
                  <a:gd name="T49" fmla="*/ 0 h 1436"/>
                  <a:gd name="T50" fmla="*/ 790 w 1580"/>
                  <a:gd name="T51" fmla="*/ 12 h 1436"/>
                  <a:gd name="T52" fmla="*/ 1338 w 1580"/>
                  <a:gd name="T53" fmla="*/ 0 h 1436"/>
                  <a:gd name="T54" fmla="*/ 1347 w 1580"/>
                  <a:gd name="T55" fmla="*/ 4 h 1436"/>
                  <a:gd name="T56" fmla="*/ 1353 w 1580"/>
                  <a:gd name="T57" fmla="*/ 11 h 1436"/>
                  <a:gd name="T58" fmla="*/ 1358 w 1580"/>
                  <a:gd name="T59" fmla="*/ 185 h 1436"/>
                  <a:gd name="T60" fmla="*/ 1388 w 1580"/>
                  <a:gd name="T61" fmla="*/ 524 h 1436"/>
                  <a:gd name="T62" fmla="*/ 1444 w 1580"/>
                  <a:gd name="T63" fmla="*/ 859 h 1436"/>
                  <a:gd name="T64" fmla="*/ 1579 w 1580"/>
                  <a:gd name="T65" fmla="*/ 1421 h 1436"/>
                  <a:gd name="T66" fmla="*/ 1578 w 1580"/>
                  <a:gd name="T67" fmla="*/ 1430 h 1436"/>
                  <a:gd name="T68" fmla="*/ 1572 w 1580"/>
                  <a:gd name="T69" fmla="*/ 1436 h 1436"/>
                  <a:gd name="T70" fmla="*/ 11 w 1580"/>
                  <a:gd name="T71" fmla="*/ 1436 h 1436"/>
                  <a:gd name="T72" fmla="*/ 3 w 1580"/>
                  <a:gd name="T73" fmla="*/ 1434 h 1436"/>
                  <a:gd name="T74" fmla="*/ 0 w 1580"/>
                  <a:gd name="T75" fmla="*/ 1426 h 1436"/>
                  <a:gd name="T76" fmla="*/ 98 w 1580"/>
                  <a:gd name="T77" fmla="*/ 1026 h 1436"/>
                  <a:gd name="T78" fmla="*/ 166 w 1580"/>
                  <a:gd name="T79" fmla="*/ 693 h 1436"/>
                  <a:gd name="T80" fmla="*/ 209 w 1580"/>
                  <a:gd name="T81" fmla="*/ 355 h 1436"/>
                  <a:gd name="T82" fmla="*/ 227 w 1580"/>
                  <a:gd name="T83" fmla="*/ 15 h 1436"/>
                  <a:gd name="T84" fmla="*/ 230 w 1580"/>
                  <a:gd name="T85" fmla="*/ 6 h 1436"/>
                  <a:gd name="T86" fmla="*/ 237 w 1580"/>
                  <a:gd name="T87" fmla="*/ 1 h 14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580" h="1436">
                    <a:moveTo>
                      <a:pt x="790" y="363"/>
                    </a:moveTo>
                    <a:lnTo>
                      <a:pt x="741" y="366"/>
                    </a:lnTo>
                    <a:lnTo>
                      <a:pt x="696" y="375"/>
                    </a:lnTo>
                    <a:lnTo>
                      <a:pt x="651" y="390"/>
                    </a:lnTo>
                    <a:lnTo>
                      <a:pt x="610" y="412"/>
                    </a:lnTo>
                    <a:lnTo>
                      <a:pt x="573" y="437"/>
                    </a:lnTo>
                    <a:lnTo>
                      <a:pt x="539" y="466"/>
                    </a:lnTo>
                    <a:lnTo>
                      <a:pt x="508" y="501"/>
                    </a:lnTo>
                    <a:lnTo>
                      <a:pt x="483" y="539"/>
                    </a:lnTo>
                    <a:lnTo>
                      <a:pt x="462" y="580"/>
                    </a:lnTo>
                    <a:lnTo>
                      <a:pt x="446" y="624"/>
                    </a:lnTo>
                    <a:lnTo>
                      <a:pt x="437" y="670"/>
                    </a:lnTo>
                    <a:lnTo>
                      <a:pt x="434" y="718"/>
                    </a:lnTo>
                    <a:lnTo>
                      <a:pt x="437" y="767"/>
                    </a:lnTo>
                    <a:lnTo>
                      <a:pt x="446" y="813"/>
                    </a:lnTo>
                    <a:lnTo>
                      <a:pt x="462" y="857"/>
                    </a:lnTo>
                    <a:lnTo>
                      <a:pt x="483" y="898"/>
                    </a:lnTo>
                    <a:lnTo>
                      <a:pt x="508" y="936"/>
                    </a:lnTo>
                    <a:lnTo>
                      <a:pt x="539" y="970"/>
                    </a:lnTo>
                    <a:lnTo>
                      <a:pt x="573" y="1000"/>
                    </a:lnTo>
                    <a:lnTo>
                      <a:pt x="610" y="1026"/>
                    </a:lnTo>
                    <a:lnTo>
                      <a:pt x="651" y="1046"/>
                    </a:lnTo>
                    <a:lnTo>
                      <a:pt x="696" y="1061"/>
                    </a:lnTo>
                    <a:lnTo>
                      <a:pt x="741" y="1071"/>
                    </a:lnTo>
                    <a:lnTo>
                      <a:pt x="790" y="1075"/>
                    </a:lnTo>
                    <a:lnTo>
                      <a:pt x="838" y="1071"/>
                    </a:lnTo>
                    <a:lnTo>
                      <a:pt x="885" y="1061"/>
                    </a:lnTo>
                    <a:lnTo>
                      <a:pt x="928" y="1046"/>
                    </a:lnTo>
                    <a:lnTo>
                      <a:pt x="969" y="1026"/>
                    </a:lnTo>
                    <a:lnTo>
                      <a:pt x="1008" y="1000"/>
                    </a:lnTo>
                    <a:lnTo>
                      <a:pt x="1042" y="970"/>
                    </a:lnTo>
                    <a:lnTo>
                      <a:pt x="1071" y="936"/>
                    </a:lnTo>
                    <a:lnTo>
                      <a:pt x="1096" y="898"/>
                    </a:lnTo>
                    <a:lnTo>
                      <a:pt x="1118" y="857"/>
                    </a:lnTo>
                    <a:lnTo>
                      <a:pt x="1133" y="813"/>
                    </a:lnTo>
                    <a:lnTo>
                      <a:pt x="1142" y="767"/>
                    </a:lnTo>
                    <a:lnTo>
                      <a:pt x="1145" y="718"/>
                    </a:lnTo>
                    <a:lnTo>
                      <a:pt x="1142" y="670"/>
                    </a:lnTo>
                    <a:lnTo>
                      <a:pt x="1133" y="624"/>
                    </a:lnTo>
                    <a:lnTo>
                      <a:pt x="1118" y="580"/>
                    </a:lnTo>
                    <a:lnTo>
                      <a:pt x="1096" y="539"/>
                    </a:lnTo>
                    <a:lnTo>
                      <a:pt x="1071" y="501"/>
                    </a:lnTo>
                    <a:lnTo>
                      <a:pt x="1042" y="466"/>
                    </a:lnTo>
                    <a:lnTo>
                      <a:pt x="1008" y="437"/>
                    </a:lnTo>
                    <a:lnTo>
                      <a:pt x="969" y="412"/>
                    </a:lnTo>
                    <a:lnTo>
                      <a:pt x="928" y="390"/>
                    </a:lnTo>
                    <a:lnTo>
                      <a:pt x="885" y="375"/>
                    </a:lnTo>
                    <a:lnTo>
                      <a:pt x="838" y="366"/>
                    </a:lnTo>
                    <a:lnTo>
                      <a:pt x="790" y="363"/>
                    </a:lnTo>
                    <a:close/>
                    <a:moveTo>
                      <a:pt x="241" y="0"/>
                    </a:moveTo>
                    <a:lnTo>
                      <a:pt x="516" y="9"/>
                    </a:lnTo>
                    <a:lnTo>
                      <a:pt x="790" y="12"/>
                    </a:lnTo>
                    <a:lnTo>
                      <a:pt x="1063" y="9"/>
                    </a:lnTo>
                    <a:lnTo>
                      <a:pt x="1338" y="0"/>
                    </a:lnTo>
                    <a:lnTo>
                      <a:pt x="1342" y="1"/>
                    </a:lnTo>
                    <a:lnTo>
                      <a:pt x="1347" y="4"/>
                    </a:lnTo>
                    <a:lnTo>
                      <a:pt x="1350" y="6"/>
                    </a:lnTo>
                    <a:lnTo>
                      <a:pt x="1353" y="11"/>
                    </a:lnTo>
                    <a:lnTo>
                      <a:pt x="1353" y="15"/>
                    </a:lnTo>
                    <a:lnTo>
                      <a:pt x="1358" y="185"/>
                    </a:lnTo>
                    <a:lnTo>
                      <a:pt x="1370" y="355"/>
                    </a:lnTo>
                    <a:lnTo>
                      <a:pt x="1388" y="524"/>
                    </a:lnTo>
                    <a:lnTo>
                      <a:pt x="1413" y="693"/>
                    </a:lnTo>
                    <a:lnTo>
                      <a:pt x="1444" y="859"/>
                    </a:lnTo>
                    <a:lnTo>
                      <a:pt x="1481" y="1026"/>
                    </a:lnTo>
                    <a:lnTo>
                      <a:pt x="1579" y="1421"/>
                    </a:lnTo>
                    <a:lnTo>
                      <a:pt x="1580" y="1426"/>
                    </a:lnTo>
                    <a:lnTo>
                      <a:pt x="1578" y="1430"/>
                    </a:lnTo>
                    <a:lnTo>
                      <a:pt x="1576" y="1434"/>
                    </a:lnTo>
                    <a:lnTo>
                      <a:pt x="1572" y="1436"/>
                    </a:lnTo>
                    <a:lnTo>
                      <a:pt x="1568" y="1436"/>
                    </a:lnTo>
                    <a:lnTo>
                      <a:pt x="11" y="1436"/>
                    </a:lnTo>
                    <a:lnTo>
                      <a:pt x="7" y="1436"/>
                    </a:lnTo>
                    <a:lnTo>
                      <a:pt x="3" y="1434"/>
                    </a:lnTo>
                    <a:lnTo>
                      <a:pt x="1" y="1430"/>
                    </a:lnTo>
                    <a:lnTo>
                      <a:pt x="0" y="1426"/>
                    </a:lnTo>
                    <a:lnTo>
                      <a:pt x="0" y="1421"/>
                    </a:lnTo>
                    <a:lnTo>
                      <a:pt x="98" y="1026"/>
                    </a:lnTo>
                    <a:lnTo>
                      <a:pt x="135" y="859"/>
                    </a:lnTo>
                    <a:lnTo>
                      <a:pt x="166" y="693"/>
                    </a:lnTo>
                    <a:lnTo>
                      <a:pt x="191" y="524"/>
                    </a:lnTo>
                    <a:lnTo>
                      <a:pt x="209" y="355"/>
                    </a:lnTo>
                    <a:lnTo>
                      <a:pt x="221" y="185"/>
                    </a:lnTo>
                    <a:lnTo>
                      <a:pt x="227" y="15"/>
                    </a:lnTo>
                    <a:lnTo>
                      <a:pt x="228" y="11"/>
                    </a:lnTo>
                    <a:lnTo>
                      <a:pt x="230" y="6"/>
                    </a:lnTo>
                    <a:lnTo>
                      <a:pt x="233" y="4"/>
                    </a:lnTo>
                    <a:lnTo>
                      <a:pt x="237" y="1"/>
                    </a:lnTo>
                    <a:lnTo>
                      <a:pt x="241" y="0"/>
                    </a:lnTo>
                    <a:close/>
                  </a:path>
                </a:pathLst>
              </a:custGeom>
              <a:solidFill>
                <a:schemeClr val="tx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07972" tIns="107972" rIns="107972" bIns="107972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eaLnBrk="0" fontAlgn="base" hangingPunct="0">
                  <a:spcAft>
                    <a:spcPct val="0"/>
                  </a:spcAft>
                  <a:defRPr/>
                </a:pPr>
                <a:endParaRPr lang="de-DE" sz="1200" dirty="0">
                  <a:solidFill>
                    <a:srgbClr val="3B3B3B"/>
                  </a:solidFill>
                  <a:latin typeface="EnBW DIN Pro"/>
                </a:endParaRPr>
              </a:p>
            </p:txBody>
          </p:sp>
          <p:sp>
            <p:nvSpPr>
              <p:cNvPr id="222" name="Oval 221">
                <a:extLst>
                  <a:ext uri="{FF2B5EF4-FFF2-40B4-BE49-F238E27FC236}">
                    <a16:creationId xmlns:a16="http://schemas.microsoft.com/office/drawing/2014/main" id="{3B34DABC-6E8E-49C3-8D53-E3DD8D74C2EE}"/>
                  </a:ext>
                </a:extLst>
              </p:cNvPr>
              <p:cNvSpPr/>
              <p:nvPr/>
            </p:nvSpPr>
            <p:spPr bwMode="gray">
              <a:xfrm>
                <a:off x="856369" y="2907261"/>
                <a:ext cx="180000" cy="155931"/>
              </a:xfrm>
              <a:prstGeom prst="ellipse">
                <a:avLst/>
              </a:prstGeom>
              <a:solidFill>
                <a:schemeClr val="tx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07972" tIns="107972" rIns="107972" bIns="107972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eaLnBrk="0" fontAlgn="base" hangingPunct="0">
                  <a:spcAft>
                    <a:spcPct val="0"/>
                  </a:spcAft>
                  <a:defRPr/>
                </a:pPr>
                <a:endParaRPr lang="de-DE" sz="1200" dirty="0">
                  <a:solidFill>
                    <a:srgbClr val="3B3B3B"/>
                  </a:solidFill>
                  <a:latin typeface="EnBW DIN Pro"/>
                </a:endParaRPr>
              </a:p>
            </p:txBody>
          </p:sp>
        </p:grp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7ED83962-A8F8-43E8-B647-708892B0AA2B}"/>
              </a:ext>
            </a:extLst>
          </p:cNvPr>
          <p:cNvSpPr/>
          <p:nvPr/>
        </p:nvSpPr>
        <p:spPr bwMode="gray">
          <a:xfrm>
            <a:off x="469777" y="2851158"/>
            <a:ext cx="1659523" cy="835681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7972" tIns="107972" rIns="107972" bIns="107972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Aft>
                <a:spcPct val="0"/>
              </a:spcAft>
              <a:defRPr/>
            </a:pPr>
            <a:endParaRPr lang="de-DE" sz="1200" dirty="0">
              <a:solidFill>
                <a:srgbClr val="3B3B3B"/>
              </a:solidFill>
              <a:latin typeface="EnBW DIN Pro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88110376-DBA9-4FA2-80BD-756B8AEECD8C}"/>
              </a:ext>
            </a:extLst>
          </p:cNvPr>
          <p:cNvSpPr/>
          <p:nvPr/>
        </p:nvSpPr>
        <p:spPr bwMode="gray">
          <a:xfrm>
            <a:off x="469778" y="3722607"/>
            <a:ext cx="1659523" cy="2522182"/>
          </a:xfrm>
          <a:prstGeom prst="rect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7972" tIns="107972" rIns="107972" bIns="107972" numCol="1" rtlCol="0" anchor="ctr" anchorCtr="0" compatLnSpc="1">
            <a:prstTxWarp prst="textNoShape">
              <a:avLst/>
            </a:prstTxWarp>
          </a:bodyPr>
          <a:lstStyle/>
          <a:p>
            <a:pPr algn="ctr" defTabSz="914126" eaLnBrk="0" fontAlgn="base" hangingPunct="0">
              <a:spcAft>
                <a:spcPct val="0"/>
              </a:spcAft>
              <a:defRPr/>
            </a:pPr>
            <a:endParaRPr lang="de-DE" sz="1400" dirty="0">
              <a:solidFill>
                <a:srgbClr val="3B3B3B"/>
              </a:solidFill>
              <a:latin typeface="EnBW DIN Pro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BDB20545-18C7-42BA-BD09-B2011D6BDE47}"/>
              </a:ext>
            </a:extLst>
          </p:cNvPr>
          <p:cNvSpPr/>
          <p:nvPr/>
        </p:nvSpPr>
        <p:spPr bwMode="gray">
          <a:xfrm>
            <a:off x="498885" y="2886658"/>
            <a:ext cx="1630414" cy="78837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35991" rIns="0" bIns="35991" numCol="1" rtlCol="0" anchor="t" anchorCtr="0" compatLnSpc="1">
            <a:prstTxWarp prst="textNoShape">
              <a:avLst/>
            </a:prstTxWarp>
          </a:bodyPr>
          <a:lstStyle/>
          <a:p>
            <a:pPr algn="ctr" defTabSz="914126" eaLnBrk="0" fontAlgn="base" hangingPunct="0">
              <a:spcBef>
                <a:spcPts val="400"/>
              </a:spcBef>
              <a:spcAft>
                <a:spcPct val="0"/>
              </a:spcAft>
              <a:defRPr/>
            </a:pPr>
            <a:r>
              <a:rPr lang="de-DE" sz="1400" dirty="0">
                <a:solidFill>
                  <a:srgbClr val="FFFFFF"/>
                </a:solidFill>
                <a:latin typeface="EnBW DIN Pro"/>
              </a:rPr>
              <a:t>ÜBER-</a:t>
            </a:r>
            <a:br>
              <a:rPr lang="de-DE" sz="1400" dirty="0">
                <a:solidFill>
                  <a:srgbClr val="FFFFFF"/>
                </a:solidFill>
                <a:latin typeface="EnBW DIN Pro"/>
              </a:rPr>
            </a:br>
            <a:r>
              <a:rPr lang="de-DE" sz="1400" dirty="0">
                <a:solidFill>
                  <a:srgbClr val="FFFFFF"/>
                </a:solidFill>
                <a:latin typeface="EnBW DIN Pro"/>
              </a:rPr>
              <a:t>TRAGUNGS-</a:t>
            </a:r>
            <a:br>
              <a:rPr lang="de-DE" sz="1400" dirty="0">
                <a:solidFill>
                  <a:srgbClr val="FFFFFF"/>
                </a:solidFill>
                <a:latin typeface="EnBW DIN Pro"/>
              </a:rPr>
            </a:br>
            <a:r>
              <a:rPr lang="de-DE" sz="1400" dirty="0">
                <a:solidFill>
                  <a:srgbClr val="FFFFFF"/>
                </a:solidFill>
                <a:latin typeface="EnBW DIN Pro"/>
              </a:rPr>
              <a:t>NETZ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7E7A4565-37E9-43C4-AB97-F192C92FC9AC}"/>
              </a:ext>
            </a:extLst>
          </p:cNvPr>
          <p:cNvSpPr/>
          <p:nvPr/>
        </p:nvSpPr>
        <p:spPr bwMode="gray">
          <a:xfrm>
            <a:off x="515562" y="4322668"/>
            <a:ext cx="1630414" cy="165339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35991" rIns="0" bIns="35991" numCol="1" rtlCol="0" anchor="t" anchorCtr="0" compatLnSpc="1">
            <a:prstTxWarp prst="textNoShape">
              <a:avLst/>
            </a:prstTxWarp>
          </a:bodyPr>
          <a:lstStyle/>
          <a:p>
            <a:pPr algn="ctr" defTabSz="914126" eaLnBrk="0" fontAlgn="base" hangingPunct="0">
              <a:spcBef>
                <a:spcPts val="400"/>
              </a:spcBef>
              <a:spcAft>
                <a:spcPct val="0"/>
              </a:spcAft>
              <a:defRPr/>
            </a:pPr>
            <a:r>
              <a:rPr lang="de-DE" sz="1400" dirty="0">
                <a:solidFill>
                  <a:srgbClr val="FFFFFF"/>
                </a:solidFill>
                <a:latin typeface="EnBW DIN Pro"/>
              </a:rPr>
              <a:t>VERTEILNETZ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530E10E7-38F9-4561-BFC9-788D5AF5BCC8}"/>
              </a:ext>
            </a:extLst>
          </p:cNvPr>
          <p:cNvGrpSpPr>
            <a:grpSpLocks noChangeAspect="1"/>
          </p:cNvGrpSpPr>
          <p:nvPr>
            <p:custDataLst>
              <p:custData r:id="rId4"/>
            </p:custDataLst>
          </p:nvPr>
        </p:nvGrpSpPr>
        <p:grpSpPr>
          <a:xfrm>
            <a:off x="836785" y="5404771"/>
            <a:ext cx="842154" cy="564228"/>
            <a:chOff x="4043363" y="3119166"/>
            <a:chExt cx="720582" cy="552722"/>
          </a:xfrm>
          <a:solidFill>
            <a:schemeClr val="bg1"/>
          </a:solidFill>
        </p:grpSpPr>
        <p:sp>
          <p:nvSpPr>
            <p:cNvPr id="19" name="Freeform 136">
              <a:extLst>
                <a:ext uri="{FF2B5EF4-FFF2-40B4-BE49-F238E27FC236}">
                  <a16:creationId xmlns:a16="http://schemas.microsoft.com/office/drawing/2014/main" id="{FB25F433-D362-47BB-8A74-C01CA9127B0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3363" y="3646488"/>
              <a:ext cx="650875" cy="25400"/>
            </a:xfrm>
            <a:custGeom>
              <a:avLst/>
              <a:gdLst>
                <a:gd name="T0" fmla="*/ 355 w 362"/>
                <a:gd name="T1" fmla="*/ 0 h 14"/>
                <a:gd name="T2" fmla="*/ 6 w 362"/>
                <a:gd name="T3" fmla="*/ 0 h 14"/>
                <a:gd name="T4" fmla="*/ 0 w 362"/>
                <a:gd name="T5" fmla="*/ 4 h 14"/>
                <a:gd name="T6" fmla="*/ 0 w 362"/>
                <a:gd name="T7" fmla="*/ 10 h 14"/>
                <a:gd name="T8" fmla="*/ 6 w 362"/>
                <a:gd name="T9" fmla="*/ 14 h 14"/>
                <a:gd name="T10" fmla="*/ 355 w 362"/>
                <a:gd name="T11" fmla="*/ 14 h 14"/>
                <a:gd name="T12" fmla="*/ 362 w 362"/>
                <a:gd name="T13" fmla="*/ 10 h 14"/>
                <a:gd name="T14" fmla="*/ 362 w 362"/>
                <a:gd name="T15" fmla="*/ 4 h 14"/>
                <a:gd name="T16" fmla="*/ 355 w 362"/>
                <a:gd name="T17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2" h="14">
                  <a:moveTo>
                    <a:pt x="355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4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3" y="14"/>
                    <a:pt x="6" y="14"/>
                  </a:cubicBezTo>
                  <a:cubicBezTo>
                    <a:pt x="355" y="14"/>
                    <a:pt x="355" y="14"/>
                    <a:pt x="355" y="14"/>
                  </a:cubicBezTo>
                  <a:cubicBezTo>
                    <a:pt x="359" y="14"/>
                    <a:pt x="362" y="12"/>
                    <a:pt x="362" y="10"/>
                  </a:cubicBezTo>
                  <a:cubicBezTo>
                    <a:pt x="362" y="4"/>
                    <a:pt x="362" y="4"/>
                    <a:pt x="362" y="4"/>
                  </a:cubicBezTo>
                  <a:cubicBezTo>
                    <a:pt x="362" y="2"/>
                    <a:pt x="359" y="0"/>
                    <a:pt x="35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126">
                <a:defRPr/>
              </a:pPr>
              <a:endParaRPr lang="en-GB" sz="1400" dirty="0">
                <a:solidFill>
                  <a:srgbClr val="FFFFFF"/>
                </a:solidFill>
                <a:latin typeface="EnBW DIN Pro"/>
              </a:endParaRPr>
            </a:p>
          </p:txBody>
        </p:sp>
        <p:sp>
          <p:nvSpPr>
            <p:cNvPr id="20" name="Freeform 137">
              <a:extLst>
                <a:ext uri="{FF2B5EF4-FFF2-40B4-BE49-F238E27FC236}">
                  <a16:creationId xmlns:a16="http://schemas.microsoft.com/office/drawing/2014/main" id="{4E3641E3-2552-44B8-878D-5461F704EF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16388" y="3494088"/>
              <a:ext cx="39687" cy="98425"/>
            </a:xfrm>
            <a:custGeom>
              <a:avLst/>
              <a:gdLst>
                <a:gd name="T0" fmla="*/ 4 w 25"/>
                <a:gd name="T1" fmla="*/ 59 h 62"/>
                <a:gd name="T2" fmla="*/ 21 w 25"/>
                <a:gd name="T3" fmla="*/ 59 h 62"/>
                <a:gd name="T4" fmla="*/ 21 w 25"/>
                <a:gd name="T5" fmla="*/ 62 h 62"/>
                <a:gd name="T6" fmla="*/ 25 w 25"/>
                <a:gd name="T7" fmla="*/ 62 h 62"/>
                <a:gd name="T8" fmla="*/ 25 w 25"/>
                <a:gd name="T9" fmla="*/ 0 h 62"/>
                <a:gd name="T10" fmla="*/ 21 w 25"/>
                <a:gd name="T11" fmla="*/ 0 h 62"/>
                <a:gd name="T12" fmla="*/ 21 w 25"/>
                <a:gd name="T13" fmla="*/ 7 h 62"/>
                <a:gd name="T14" fmla="*/ 4 w 25"/>
                <a:gd name="T15" fmla="*/ 7 h 62"/>
                <a:gd name="T16" fmla="*/ 4 w 25"/>
                <a:gd name="T17" fmla="*/ 0 h 62"/>
                <a:gd name="T18" fmla="*/ 0 w 25"/>
                <a:gd name="T19" fmla="*/ 0 h 62"/>
                <a:gd name="T20" fmla="*/ 0 w 25"/>
                <a:gd name="T21" fmla="*/ 62 h 62"/>
                <a:gd name="T22" fmla="*/ 4 w 25"/>
                <a:gd name="T23" fmla="*/ 62 h 62"/>
                <a:gd name="T24" fmla="*/ 4 w 25"/>
                <a:gd name="T25" fmla="*/ 59 h 62"/>
                <a:gd name="T26" fmla="*/ 4 w 25"/>
                <a:gd name="T27" fmla="*/ 11 h 62"/>
                <a:gd name="T28" fmla="*/ 21 w 25"/>
                <a:gd name="T29" fmla="*/ 11 h 62"/>
                <a:gd name="T30" fmla="*/ 21 w 25"/>
                <a:gd name="T31" fmla="*/ 19 h 62"/>
                <a:gd name="T32" fmla="*/ 4 w 25"/>
                <a:gd name="T33" fmla="*/ 19 h 62"/>
                <a:gd name="T34" fmla="*/ 4 w 25"/>
                <a:gd name="T35" fmla="*/ 11 h 62"/>
                <a:gd name="T36" fmla="*/ 4 w 25"/>
                <a:gd name="T37" fmla="*/ 22 h 62"/>
                <a:gd name="T38" fmla="*/ 21 w 25"/>
                <a:gd name="T39" fmla="*/ 22 h 62"/>
                <a:gd name="T40" fmla="*/ 21 w 25"/>
                <a:gd name="T41" fmla="*/ 30 h 62"/>
                <a:gd name="T42" fmla="*/ 4 w 25"/>
                <a:gd name="T43" fmla="*/ 30 h 62"/>
                <a:gd name="T44" fmla="*/ 4 w 25"/>
                <a:gd name="T45" fmla="*/ 22 h 62"/>
                <a:gd name="T46" fmla="*/ 4 w 25"/>
                <a:gd name="T47" fmla="*/ 35 h 62"/>
                <a:gd name="T48" fmla="*/ 21 w 25"/>
                <a:gd name="T49" fmla="*/ 35 h 62"/>
                <a:gd name="T50" fmla="*/ 21 w 25"/>
                <a:gd name="T51" fmla="*/ 43 h 62"/>
                <a:gd name="T52" fmla="*/ 4 w 25"/>
                <a:gd name="T53" fmla="*/ 43 h 62"/>
                <a:gd name="T54" fmla="*/ 4 w 25"/>
                <a:gd name="T55" fmla="*/ 35 h 62"/>
                <a:gd name="T56" fmla="*/ 4 w 25"/>
                <a:gd name="T57" fmla="*/ 47 h 62"/>
                <a:gd name="T58" fmla="*/ 21 w 25"/>
                <a:gd name="T59" fmla="*/ 47 h 62"/>
                <a:gd name="T60" fmla="*/ 21 w 25"/>
                <a:gd name="T61" fmla="*/ 55 h 62"/>
                <a:gd name="T62" fmla="*/ 4 w 25"/>
                <a:gd name="T63" fmla="*/ 55 h 62"/>
                <a:gd name="T64" fmla="*/ 4 w 25"/>
                <a:gd name="T65" fmla="*/ 47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5" h="62">
                  <a:moveTo>
                    <a:pt x="4" y="59"/>
                  </a:moveTo>
                  <a:lnTo>
                    <a:pt x="21" y="59"/>
                  </a:lnTo>
                  <a:lnTo>
                    <a:pt x="21" y="62"/>
                  </a:lnTo>
                  <a:lnTo>
                    <a:pt x="25" y="62"/>
                  </a:lnTo>
                  <a:lnTo>
                    <a:pt x="25" y="0"/>
                  </a:lnTo>
                  <a:lnTo>
                    <a:pt x="21" y="0"/>
                  </a:lnTo>
                  <a:lnTo>
                    <a:pt x="21" y="7"/>
                  </a:lnTo>
                  <a:lnTo>
                    <a:pt x="4" y="7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62"/>
                  </a:lnTo>
                  <a:lnTo>
                    <a:pt x="4" y="62"/>
                  </a:lnTo>
                  <a:lnTo>
                    <a:pt x="4" y="59"/>
                  </a:lnTo>
                  <a:close/>
                  <a:moveTo>
                    <a:pt x="4" y="11"/>
                  </a:moveTo>
                  <a:lnTo>
                    <a:pt x="21" y="11"/>
                  </a:lnTo>
                  <a:lnTo>
                    <a:pt x="21" y="19"/>
                  </a:lnTo>
                  <a:lnTo>
                    <a:pt x="4" y="19"/>
                  </a:lnTo>
                  <a:lnTo>
                    <a:pt x="4" y="11"/>
                  </a:lnTo>
                  <a:close/>
                  <a:moveTo>
                    <a:pt x="4" y="22"/>
                  </a:moveTo>
                  <a:lnTo>
                    <a:pt x="21" y="22"/>
                  </a:lnTo>
                  <a:lnTo>
                    <a:pt x="21" y="30"/>
                  </a:lnTo>
                  <a:lnTo>
                    <a:pt x="4" y="30"/>
                  </a:lnTo>
                  <a:lnTo>
                    <a:pt x="4" y="22"/>
                  </a:lnTo>
                  <a:close/>
                  <a:moveTo>
                    <a:pt x="4" y="35"/>
                  </a:moveTo>
                  <a:lnTo>
                    <a:pt x="21" y="35"/>
                  </a:lnTo>
                  <a:lnTo>
                    <a:pt x="21" y="43"/>
                  </a:lnTo>
                  <a:lnTo>
                    <a:pt x="4" y="43"/>
                  </a:lnTo>
                  <a:lnTo>
                    <a:pt x="4" y="35"/>
                  </a:lnTo>
                  <a:close/>
                  <a:moveTo>
                    <a:pt x="4" y="47"/>
                  </a:moveTo>
                  <a:lnTo>
                    <a:pt x="21" y="47"/>
                  </a:lnTo>
                  <a:lnTo>
                    <a:pt x="21" y="55"/>
                  </a:lnTo>
                  <a:lnTo>
                    <a:pt x="4" y="55"/>
                  </a:lnTo>
                  <a:lnTo>
                    <a:pt x="4" y="4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126">
                <a:defRPr/>
              </a:pPr>
              <a:endParaRPr lang="en-GB" sz="1400" dirty="0">
                <a:solidFill>
                  <a:srgbClr val="FFFFFF"/>
                </a:solidFill>
                <a:latin typeface="EnBW DIN Pro"/>
              </a:endParaRPr>
            </a:p>
          </p:txBody>
        </p:sp>
        <p:sp>
          <p:nvSpPr>
            <p:cNvPr id="21" name="Freeform 138">
              <a:extLst>
                <a:ext uri="{FF2B5EF4-FFF2-40B4-BE49-F238E27FC236}">
                  <a16:creationId xmlns:a16="http://schemas.microsoft.com/office/drawing/2014/main" id="{2087DE85-A8BE-4FB1-ABEF-700B3AF2199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5003" y="3119166"/>
              <a:ext cx="718942" cy="514622"/>
            </a:xfrm>
            <a:custGeom>
              <a:avLst/>
              <a:gdLst>
                <a:gd name="T0" fmla="*/ 312 w 312"/>
                <a:gd name="T1" fmla="*/ 45 h 230"/>
                <a:gd name="T2" fmla="*/ 262 w 312"/>
                <a:gd name="T3" fmla="*/ 7 h 230"/>
                <a:gd name="T4" fmla="*/ 293 w 312"/>
                <a:gd name="T5" fmla="*/ 14 h 230"/>
                <a:gd name="T6" fmla="*/ 293 w 312"/>
                <a:gd name="T7" fmla="*/ 0 h 230"/>
                <a:gd name="T8" fmla="*/ 192 w 312"/>
                <a:gd name="T9" fmla="*/ 7 h 230"/>
                <a:gd name="T10" fmla="*/ 199 w 312"/>
                <a:gd name="T11" fmla="*/ 7 h 230"/>
                <a:gd name="T12" fmla="*/ 181 w 312"/>
                <a:gd name="T13" fmla="*/ 45 h 230"/>
                <a:gd name="T14" fmla="*/ 179 w 312"/>
                <a:gd name="T15" fmla="*/ 55 h 230"/>
                <a:gd name="T16" fmla="*/ 128 w 312"/>
                <a:gd name="T17" fmla="*/ 127 h 230"/>
                <a:gd name="T18" fmla="*/ 82 w 312"/>
                <a:gd name="T19" fmla="*/ 151 h 230"/>
                <a:gd name="T20" fmla="*/ 40 w 312"/>
                <a:gd name="T21" fmla="*/ 210 h 230"/>
                <a:gd name="T22" fmla="*/ 2 w 312"/>
                <a:gd name="T23" fmla="*/ 156 h 230"/>
                <a:gd name="T24" fmla="*/ 2 w 312"/>
                <a:gd name="T25" fmla="*/ 230 h 230"/>
                <a:gd name="T26" fmla="*/ 141 w 312"/>
                <a:gd name="T27" fmla="*/ 158 h 230"/>
                <a:gd name="T28" fmla="*/ 135 w 312"/>
                <a:gd name="T29" fmla="*/ 151 h 230"/>
                <a:gd name="T30" fmla="*/ 183 w 312"/>
                <a:gd name="T31" fmla="*/ 55 h 230"/>
                <a:gd name="T32" fmla="*/ 218 w 312"/>
                <a:gd name="T33" fmla="*/ 55 h 230"/>
                <a:gd name="T34" fmla="*/ 196 w 312"/>
                <a:gd name="T35" fmla="*/ 159 h 230"/>
                <a:gd name="T36" fmla="*/ 208 w 312"/>
                <a:gd name="T37" fmla="*/ 230 h 230"/>
                <a:gd name="T38" fmla="*/ 240 w 312"/>
                <a:gd name="T39" fmla="*/ 230 h 230"/>
                <a:gd name="T40" fmla="*/ 277 w 312"/>
                <a:gd name="T41" fmla="*/ 226 h 230"/>
                <a:gd name="T42" fmla="*/ 279 w 312"/>
                <a:gd name="T43" fmla="*/ 159 h 230"/>
                <a:gd name="T44" fmla="*/ 278 w 312"/>
                <a:gd name="T45" fmla="*/ 149 h 230"/>
                <a:gd name="T46" fmla="*/ 227 w 312"/>
                <a:gd name="T47" fmla="*/ 62 h 230"/>
                <a:gd name="T48" fmla="*/ 227 w 312"/>
                <a:gd name="T49" fmla="*/ 62 h 230"/>
                <a:gd name="T50" fmla="*/ 204 w 312"/>
                <a:gd name="T51" fmla="*/ 36 h 230"/>
                <a:gd name="T52" fmla="*/ 213 w 312"/>
                <a:gd name="T53" fmla="*/ 45 h 230"/>
                <a:gd name="T54" fmla="*/ 221 w 312"/>
                <a:gd name="T55" fmla="*/ 27 h 230"/>
                <a:gd name="T56" fmla="*/ 222 w 312"/>
                <a:gd name="T57" fmla="*/ 110 h 230"/>
                <a:gd name="T58" fmla="*/ 222 w 312"/>
                <a:gd name="T59" fmla="*/ 110 h 230"/>
                <a:gd name="T60" fmla="*/ 238 w 312"/>
                <a:gd name="T61" fmla="*/ 189 h 230"/>
                <a:gd name="T62" fmla="*/ 217 w 312"/>
                <a:gd name="T63" fmla="*/ 159 h 230"/>
                <a:gd name="T64" fmla="*/ 240 w 312"/>
                <a:gd name="T65" fmla="*/ 149 h 230"/>
                <a:gd name="T66" fmla="*/ 240 w 312"/>
                <a:gd name="T67" fmla="*/ 149 h 230"/>
                <a:gd name="T68" fmla="*/ 240 w 312"/>
                <a:gd name="T69" fmla="*/ 104 h 230"/>
                <a:gd name="T70" fmla="*/ 223 w 312"/>
                <a:gd name="T71" fmla="*/ 99 h 230"/>
                <a:gd name="T72" fmla="*/ 240 w 312"/>
                <a:gd name="T73" fmla="*/ 99 h 230"/>
                <a:gd name="T74" fmla="*/ 240 w 312"/>
                <a:gd name="T75" fmla="*/ 55 h 230"/>
                <a:gd name="T76" fmla="*/ 229 w 312"/>
                <a:gd name="T77" fmla="*/ 45 h 230"/>
                <a:gd name="T78" fmla="*/ 240 w 312"/>
                <a:gd name="T79" fmla="*/ 45 h 230"/>
                <a:gd name="T80" fmla="*/ 282 w 312"/>
                <a:gd name="T81" fmla="*/ 45 h 230"/>
                <a:gd name="T82" fmla="*/ 248 w 312"/>
                <a:gd name="T83" fmla="*/ 74 h 230"/>
                <a:gd name="T84" fmla="*/ 245 w 312"/>
                <a:gd name="T85" fmla="*/ 15 h 230"/>
                <a:gd name="T86" fmla="*/ 254 w 312"/>
                <a:gd name="T87" fmla="*/ 21 h 230"/>
                <a:gd name="T88" fmla="*/ 245 w 312"/>
                <a:gd name="T89" fmla="*/ 45 h 230"/>
                <a:gd name="T90" fmla="*/ 257 w 312"/>
                <a:gd name="T91" fmla="*/ 55 h 230"/>
                <a:gd name="T92" fmla="*/ 245 w 312"/>
                <a:gd name="T93" fmla="*/ 55 h 230"/>
                <a:gd name="T94" fmla="*/ 262 w 312"/>
                <a:gd name="T95" fmla="*/ 99 h 230"/>
                <a:gd name="T96" fmla="*/ 245 w 312"/>
                <a:gd name="T97" fmla="*/ 104 h 230"/>
                <a:gd name="T98" fmla="*/ 245 w 312"/>
                <a:gd name="T99" fmla="*/ 104 h 230"/>
                <a:gd name="T100" fmla="*/ 245 w 312"/>
                <a:gd name="T101" fmla="*/ 149 h 230"/>
                <a:gd name="T102" fmla="*/ 247 w 312"/>
                <a:gd name="T103" fmla="*/ 189 h 230"/>
                <a:gd name="T104" fmla="*/ 245 w 312"/>
                <a:gd name="T105" fmla="*/ 182 h 230"/>
                <a:gd name="T106" fmla="*/ 245 w 312"/>
                <a:gd name="T107" fmla="*/ 182 h 230"/>
                <a:gd name="T108" fmla="*/ 264 w 312"/>
                <a:gd name="T109" fmla="*/ 110 h 230"/>
                <a:gd name="T110" fmla="*/ 264 w 312"/>
                <a:gd name="T111" fmla="*/ 27 h 230"/>
                <a:gd name="T112" fmla="*/ 273 w 312"/>
                <a:gd name="T113" fmla="*/ 45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12" h="230">
                  <a:moveTo>
                    <a:pt x="273" y="55"/>
                  </a:moveTo>
                  <a:cubicBezTo>
                    <a:pt x="312" y="55"/>
                    <a:pt x="312" y="55"/>
                    <a:pt x="312" y="55"/>
                  </a:cubicBezTo>
                  <a:cubicBezTo>
                    <a:pt x="312" y="45"/>
                    <a:pt x="312" y="45"/>
                    <a:pt x="312" y="45"/>
                  </a:cubicBezTo>
                  <a:cubicBezTo>
                    <a:pt x="304" y="45"/>
                    <a:pt x="304" y="45"/>
                    <a:pt x="304" y="45"/>
                  </a:cubicBezTo>
                  <a:cubicBezTo>
                    <a:pt x="264" y="22"/>
                    <a:pt x="264" y="22"/>
                    <a:pt x="264" y="22"/>
                  </a:cubicBezTo>
                  <a:cubicBezTo>
                    <a:pt x="262" y="7"/>
                    <a:pt x="262" y="7"/>
                    <a:pt x="262" y="7"/>
                  </a:cubicBezTo>
                  <a:cubicBezTo>
                    <a:pt x="286" y="7"/>
                    <a:pt x="286" y="7"/>
                    <a:pt x="286" y="7"/>
                  </a:cubicBezTo>
                  <a:cubicBezTo>
                    <a:pt x="286" y="14"/>
                    <a:pt x="286" y="14"/>
                    <a:pt x="286" y="14"/>
                  </a:cubicBezTo>
                  <a:cubicBezTo>
                    <a:pt x="293" y="14"/>
                    <a:pt x="293" y="14"/>
                    <a:pt x="293" y="14"/>
                  </a:cubicBezTo>
                  <a:cubicBezTo>
                    <a:pt x="293" y="7"/>
                    <a:pt x="293" y="7"/>
                    <a:pt x="293" y="7"/>
                  </a:cubicBezTo>
                  <a:cubicBezTo>
                    <a:pt x="293" y="1"/>
                    <a:pt x="293" y="1"/>
                    <a:pt x="293" y="1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192" y="1"/>
                    <a:pt x="192" y="1"/>
                    <a:pt x="192" y="1"/>
                  </a:cubicBezTo>
                  <a:cubicBezTo>
                    <a:pt x="192" y="7"/>
                    <a:pt x="192" y="7"/>
                    <a:pt x="192" y="7"/>
                  </a:cubicBezTo>
                  <a:cubicBezTo>
                    <a:pt x="192" y="14"/>
                    <a:pt x="192" y="14"/>
                    <a:pt x="192" y="14"/>
                  </a:cubicBezTo>
                  <a:cubicBezTo>
                    <a:pt x="199" y="14"/>
                    <a:pt x="199" y="14"/>
                    <a:pt x="199" y="14"/>
                  </a:cubicBezTo>
                  <a:cubicBezTo>
                    <a:pt x="199" y="7"/>
                    <a:pt x="199" y="7"/>
                    <a:pt x="199" y="7"/>
                  </a:cubicBezTo>
                  <a:cubicBezTo>
                    <a:pt x="223" y="7"/>
                    <a:pt x="223" y="7"/>
                    <a:pt x="223" y="7"/>
                  </a:cubicBezTo>
                  <a:cubicBezTo>
                    <a:pt x="221" y="22"/>
                    <a:pt x="221" y="22"/>
                    <a:pt x="221" y="22"/>
                  </a:cubicBezTo>
                  <a:cubicBezTo>
                    <a:pt x="181" y="45"/>
                    <a:pt x="181" y="45"/>
                    <a:pt x="181" y="45"/>
                  </a:cubicBezTo>
                  <a:cubicBezTo>
                    <a:pt x="174" y="45"/>
                    <a:pt x="174" y="45"/>
                    <a:pt x="174" y="45"/>
                  </a:cubicBezTo>
                  <a:cubicBezTo>
                    <a:pt x="174" y="55"/>
                    <a:pt x="174" y="55"/>
                    <a:pt x="174" y="55"/>
                  </a:cubicBezTo>
                  <a:cubicBezTo>
                    <a:pt x="179" y="55"/>
                    <a:pt x="179" y="55"/>
                    <a:pt x="179" y="55"/>
                  </a:cubicBezTo>
                  <a:cubicBezTo>
                    <a:pt x="178" y="64"/>
                    <a:pt x="169" y="106"/>
                    <a:pt x="135" y="128"/>
                  </a:cubicBezTo>
                  <a:cubicBezTo>
                    <a:pt x="135" y="127"/>
                    <a:pt x="135" y="127"/>
                    <a:pt x="135" y="127"/>
                  </a:cubicBezTo>
                  <a:cubicBezTo>
                    <a:pt x="128" y="127"/>
                    <a:pt x="128" y="127"/>
                    <a:pt x="128" y="127"/>
                  </a:cubicBezTo>
                  <a:cubicBezTo>
                    <a:pt x="128" y="149"/>
                    <a:pt x="128" y="149"/>
                    <a:pt x="128" y="149"/>
                  </a:cubicBezTo>
                  <a:cubicBezTo>
                    <a:pt x="83" y="149"/>
                    <a:pt x="83" y="149"/>
                    <a:pt x="83" y="149"/>
                  </a:cubicBezTo>
                  <a:cubicBezTo>
                    <a:pt x="82" y="149"/>
                    <a:pt x="82" y="150"/>
                    <a:pt x="82" y="151"/>
                  </a:cubicBezTo>
                  <a:cubicBezTo>
                    <a:pt x="82" y="156"/>
                    <a:pt x="82" y="156"/>
                    <a:pt x="82" y="156"/>
                  </a:cubicBezTo>
                  <a:cubicBezTo>
                    <a:pt x="40" y="156"/>
                    <a:pt x="40" y="156"/>
                    <a:pt x="40" y="156"/>
                  </a:cubicBezTo>
                  <a:cubicBezTo>
                    <a:pt x="40" y="210"/>
                    <a:pt x="40" y="210"/>
                    <a:pt x="40" y="210"/>
                  </a:cubicBezTo>
                  <a:cubicBezTo>
                    <a:pt x="13" y="210"/>
                    <a:pt x="13" y="210"/>
                    <a:pt x="13" y="210"/>
                  </a:cubicBezTo>
                  <a:cubicBezTo>
                    <a:pt x="13" y="156"/>
                    <a:pt x="13" y="156"/>
                    <a:pt x="13" y="156"/>
                  </a:cubicBezTo>
                  <a:cubicBezTo>
                    <a:pt x="2" y="156"/>
                    <a:pt x="2" y="156"/>
                    <a:pt x="2" y="156"/>
                  </a:cubicBezTo>
                  <a:cubicBezTo>
                    <a:pt x="1" y="156"/>
                    <a:pt x="0" y="157"/>
                    <a:pt x="0" y="158"/>
                  </a:cubicBezTo>
                  <a:cubicBezTo>
                    <a:pt x="0" y="228"/>
                    <a:pt x="0" y="228"/>
                    <a:pt x="0" y="228"/>
                  </a:cubicBezTo>
                  <a:cubicBezTo>
                    <a:pt x="0" y="229"/>
                    <a:pt x="1" y="230"/>
                    <a:pt x="2" y="230"/>
                  </a:cubicBezTo>
                  <a:cubicBezTo>
                    <a:pt x="139" y="230"/>
                    <a:pt x="139" y="230"/>
                    <a:pt x="139" y="230"/>
                  </a:cubicBezTo>
                  <a:cubicBezTo>
                    <a:pt x="140" y="230"/>
                    <a:pt x="141" y="229"/>
                    <a:pt x="141" y="228"/>
                  </a:cubicBezTo>
                  <a:cubicBezTo>
                    <a:pt x="141" y="158"/>
                    <a:pt x="141" y="158"/>
                    <a:pt x="141" y="158"/>
                  </a:cubicBezTo>
                  <a:cubicBezTo>
                    <a:pt x="141" y="157"/>
                    <a:pt x="140" y="156"/>
                    <a:pt x="139" y="156"/>
                  </a:cubicBezTo>
                  <a:cubicBezTo>
                    <a:pt x="135" y="156"/>
                    <a:pt x="135" y="156"/>
                    <a:pt x="135" y="156"/>
                  </a:cubicBezTo>
                  <a:cubicBezTo>
                    <a:pt x="135" y="151"/>
                    <a:pt x="135" y="151"/>
                    <a:pt x="135" y="151"/>
                  </a:cubicBezTo>
                  <a:cubicBezTo>
                    <a:pt x="135" y="151"/>
                    <a:pt x="135" y="151"/>
                    <a:pt x="135" y="150"/>
                  </a:cubicBezTo>
                  <a:cubicBezTo>
                    <a:pt x="135" y="132"/>
                    <a:pt x="135" y="132"/>
                    <a:pt x="135" y="132"/>
                  </a:cubicBezTo>
                  <a:cubicBezTo>
                    <a:pt x="173" y="110"/>
                    <a:pt x="182" y="63"/>
                    <a:pt x="183" y="55"/>
                  </a:cubicBezTo>
                  <a:cubicBezTo>
                    <a:pt x="213" y="55"/>
                    <a:pt x="213" y="55"/>
                    <a:pt x="213" y="55"/>
                  </a:cubicBezTo>
                  <a:cubicBezTo>
                    <a:pt x="213" y="55"/>
                    <a:pt x="213" y="55"/>
                    <a:pt x="213" y="55"/>
                  </a:cubicBezTo>
                  <a:cubicBezTo>
                    <a:pt x="218" y="55"/>
                    <a:pt x="218" y="55"/>
                    <a:pt x="218" y="55"/>
                  </a:cubicBezTo>
                  <a:cubicBezTo>
                    <a:pt x="207" y="149"/>
                    <a:pt x="207" y="149"/>
                    <a:pt x="207" y="149"/>
                  </a:cubicBezTo>
                  <a:cubicBezTo>
                    <a:pt x="196" y="149"/>
                    <a:pt x="196" y="149"/>
                    <a:pt x="196" y="149"/>
                  </a:cubicBezTo>
                  <a:cubicBezTo>
                    <a:pt x="196" y="159"/>
                    <a:pt x="196" y="159"/>
                    <a:pt x="196" y="159"/>
                  </a:cubicBezTo>
                  <a:cubicBezTo>
                    <a:pt x="206" y="159"/>
                    <a:pt x="206" y="159"/>
                    <a:pt x="206" y="159"/>
                  </a:cubicBezTo>
                  <a:cubicBezTo>
                    <a:pt x="198" y="230"/>
                    <a:pt x="198" y="230"/>
                    <a:pt x="198" y="230"/>
                  </a:cubicBezTo>
                  <a:cubicBezTo>
                    <a:pt x="208" y="230"/>
                    <a:pt x="208" y="230"/>
                    <a:pt x="208" y="230"/>
                  </a:cubicBezTo>
                  <a:cubicBezTo>
                    <a:pt x="209" y="226"/>
                    <a:pt x="209" y="226"/>
                    <a:pt x="209" y="226"/>
                  </a:cubicBezTo>
                  <a:cubicBezTo>
                    <a:pt x="240" y="195"/>
                    <a:pt x="240" y="195"/>
                    <a:pt x="240" y="195"/>
                  </a:cubicBezTo>
                  <a:cubicBezTo>
                    <a:pt x="240" y="230"/>
                    <a:pt x="240" y="230"/>
                    <a:pt x="240" y="230"/>
                  </a:cubicBezTo>
                  <a:cubicBezTo>
                    <a:pt x="245" y="230"/>
                    <a:pt x="245" y="230"/>
                    <a:pt x="245" y="230"/>
                  </a:cubicBezTo>
                  <a:cubicBezTo>
                    <a:pt x="245" y="195"/>
                    <a:pt x="245" y="195"/>
                    <a:pt x="245" y="195"/>
                  </a:cubicBezTo>
                  <a:cubicBezTo>
                    <a:pt x="277" y="226"/>
                    <a:pt x="277" y="226"/>
                    <a:pt x="277" y="226"/>
                  </a:cubicBezTo>
                  <a:cubicBezTo>
                    <a:pt x="277" y="230"/>
                    <a:pt x="277" y="230"/>
                    <a:pt x="277" y="230"/>
                  </a:cubicBezTo>
                  <a:cubicBezTo>
                    <a:pt x="287" y="230"/>
                    <a:pt x="287" y="230"/>
                    <a:pt x="287" y="230"/>
                  </a:cubicBezTo>
                  <a:cubicBezTo>
                    <a:pt x="279" y="159"/>
                    <a:pt x="279" y="159"/>
                    <a:pt x="279" y="159"/>
                  </a:cubicBezTo>
                  <a:cubicBezTo>
                    <a:pt x="289" y="159"/>
                    <a:pt x="289" y="159"/>
                    <a:pt x="289" y="159"/>
                  </a:cubicBezTo>
                  <a:cubicBezTo>
                    <a:pt x="289" y="149"/>
                    <a:pt x="289" y="149"/>
                    <a:pt x="289" y="149"/>
                  </a:cubicBezTo>
                  <a:cubicBezTo>
                    <a:pt x="278" y="149"/>
                    <a:pt x="278" y="149"/>
                    <a:pt x="278" y="149"/>
                  </a:cubicBezTo>
                  <a:cubicBezTo>
                    <a:pt x="267" y="55"/>
                    <a:pt x="267" y="55"/>
                    <a:pt x="267" y="55"/>
                  </a:cubicBezTo>
                  <a:cubicBezTo>
                    <a:pt x="273" y="55"/>
                    <a:pt x="273" y="55"/>
                    <a:pt x="273" y="55"/>
                  </a:cubicBezTo>
                  <a:close/>
                  <a:moveTo>
                    <a:pt x="227" y="62"/>
                  </a:moveTo>
                  <a:cubicBezTo>
                    <a:pt x="239" y="74"/>
                    <a:pt x="239" y="74"/>
                    <a:pt x="239" y="74"/>
                  </a:cubicBezTo>
                  <a:cubicBezTo>
                    <a:pt x="224" y="89"/>
                    <a:pt x="224" y="89"/>
                    <a:pt x="224" y="89"/>
                  </a:cubicBezTo>
                  <a:lnTo>
                    <a:pt x="227" y="62"/>
                  </a:lnTo>
                  <a:close/>
                  <a:moveTo>
                    <a:pt x="204" y="45"/>
                  </a:moveTo>
                  <a:cubicBezTo>
                    <a:pt x="189" y="45"/>
                    <a:pt x="189" y="45"/>
                    <a:pt x="189" y="45"/>
                  </a:cubicBezTo>
                  <a:cubicBezTo>
                    <a:pt x="204" y="36"/>
                    <a:pt x="204" y="36"/>
                    <a:pt x="204" y="36"/>
                  </a:cubicBezTo>
                  <a:lnTo>
                    <a:pt x="204" y="45"/>
                  </a:lnTo>
                  <a:close/>
                  <a:moveTo>
                    <a:pt x="213" y="45"/>
                  </a:moveTo>
                  <a:cubicBezTo>
                    <a:pt x="213" y="45"/>
                    <a:pt x="213" y="45"/>
                    <a:pt x="213" y="45"/>
                  </a:cubicBezTo>
                  <a:cubicBezTo>
                    <a:pt x="208" y="45"/>
                    <a:pt x="208" y="45"/>
                    <a:pt x="208" y="45"/>
                  </a:cubicBezTo>
                  <a:cubicBezTo>
                    <a:pt x="208" y="34"/>
                    <a:pt x="208" y="34"/>
                    <a:pt x="208" y="34"/>
                  </a:cubicBezTo>
                  <a:cubicBezTo>
                    <a:pt x="221" y="27"/>
                    <a:pt x="221" y="27"/>
                    <a:pt x="221" y="27"/>
                  </a:cubicBezTo>
                  <a:cubicBezTo>
                    <a:pt x="219" y="45"/>
                    <a:pt x="219" y="45"/>
                    <a:pt x="219" y="45"/>
                  </a:cubicBezTo>
                  <a:lnTo>
                    <a:pt x="213" y="45"/>
                  </a:lnTo>
                  <a:close/>
                  <a:moveTo>
                    <a:pt x="222" y="110"/>
                  </a:moveTo>
                  <a:cubicBezTo>
                    <a:pt x="238" y="126"/>
                    <a:pt x="238" y="126"/>
                    <a:pt x="238" y="126"/>
                  </a:cubicBezTo>
                  <a:cubicBezTo>
                    <a:pt x="218" y="145"/>
                    <a:pt x="218" y="145"/>
                    <a:pt x="218" y="145"/>
                  </a:cubicBezTo>
                  <a:lnTo>
                    <a:pt x="222" y="110"/>
                  </a:lnTo>
                  <a:close/>
                  <a:moveTo>
                    <a:pt x="210" y="216"/>
                  </a:moveTo>
                  <a:cubicBezTo>
                    <a:pt x="215" y="167"/>
                    <a:pt x="215" y="167"/>
                    <a:pt x="215" y="167"/>
                  </a:cubicBezTo>
                  <a:cubicBezTo>
                    <a:pt x="238" y="189"/>
                    <a:pt x="238" y="189"/>
                    <a:pt x="238" y="189"/>
                  </a:cubicBezTo>
                  <a:lnTo>
                    <a:pt x="210" y="216"/>
                  </a:lnTo>
                  <a:close/>
                  <a:moveTo>
                    <a:pt x="240" y="182"/>
                  </a:moveTo>
                  <a:cubicBezTo>
                    <a:pt x="217" y="159"/>
                    <a:pt x="217" y="159"/>
                    <a:pt x="217" y="159"/>
                  </a:cubicBezTo>
                  <a:cubicBezTo>
                    <a:pt x="240" y="159"/>
                    <a:pt x="240" y="159"/>
                    <a:pt x="240" y="159"/>
                  </a:cubicBezTo>
                  <a:lnTo>
                    <a:pt x="240" y="182"/>
                  </a:lnTo>
                  <a:close/>
                  <a:moveTo>
                    <a:pt x="240" y="149"/>
                  </a:moveTo>
                  <a:cubicBezTo>
                    <a:pt x="223" y="149"/>
                    <a:pt x="223" y="149"/>
                    <a:pt x="223" y="149"/>
                  </a:cubicBezTo>
                  <a:cubicBezTo>
                    <a:pt x="240" y="132"/>
                    <a:pt x="240" y="132"/>
                    <a:pt x="240" y="132"/>
                  </a:cubicBezTo>
                  <a:lnTo>
                    <a:pt x="240" y="149"/>
                  </a:lnTo>
                  <a:close/>
                  <a:moveTo>
                    <a:pt x="240" y="119"/>
                  </a:moveTo>
                  <a:cubicBezTo>
                    <a:pt x="225" y="104"/>
                    <a:pt x="225" y="104"/>
                    <a:pt x="225" y="104"/>
                  </a:cubicBezTo>
                  <a:cubicBezTo>
                    <a:pt x="240" y="104"/>
                    <a:pt x="240" y="104"/>
                    <a:pt x="240" y="104"/>
                  </a:cubicBezTo>
                  <a:lnTo>
                    <a:pt x="240" y="119"/>
                  </a:lnTo>
                  <a:close/>
                  <a:moveTo>
                    <a:pt x="240" y="99"/>
                  </a:moveTo>
                  <a:cubicBezTo>
                    <a:pt x="223" y="99"/>
                    <a:pt x="223" y="99"/>
                    <a:pt x="223" y="99"/>
                  </a:cubicBezTo>
                  <a:cubicBezTo>
                    <a:pt x="223" y="98"/>
                    <a:pt x="223" y="98"/>
                    <a:pt x="223" y="98"/>
                  </a:cubicBezTo>
                  <a:cubicBezTo>
                    <a:pt x="240" y="81"/>
                    <a:pt x="240" y="81"/>
                    <a:pt x="240" y="81"/>
                  </a:cubicBezTo>
                  <a:lnTo>
                    <a:pt x="240" y="99"/>
                  </a:lnTo>
                  <a:close/>
                  <a:moveTo>
                    <a:pt x="240" y="67"/>
                  </a:moveTo>
                  <a:cubicBezTo>
                    <a:pt x="228" y="55"/>
                    <a:pt x="228" y="55"/>
                    <a:pt x="228" y="55"/>
                  </a:cubicBezTo>
                  <a:cubicBezTo>
                    <a:pt x="240" y="55"/>
                    <a:pt x="240" y="55"/>
                    <a:pt x="240" y="55"/>
                  </a:cubicBezTo>
                  <a:lnTo>
                    <a:pt x="240" y="67"/>
                  </a:lnTo>
                  <a:close/>
                  <a:moveTo>
                    <a:pt x="240" y="45"/>
                  </a:moveTo>
                  <a:cubicBezTo>
                    <a:pt x="229" y="45"/>
                    <a:pt x="229" y="45"/>
                    <a:pt x="229" y="45"/>
                  </a:cubicBezTo>
                  <a:cubicBezTo>
                    <a:pt x="232" y="15"/>
                    <a:pt x="232" y="15"/>
                    <a:pt x="232" y="15"/>
                  </a:cubicBezTo>
                  <a:cubicBezTo>
                    <a:pt x="240" y="15"/>
                    <a:pt x="240" y="15"/>
                    <a:pt x="240" y="15"/>
                  </a:cubicBezTo>
                  <a:lnTo>
                    <a:pt x="240" y="45"/>
                  </a:lnTo>
                  <a:close/>
                  <a:moveTo>
                    <a:pt x="282" y="37"/>
                  </a:moveTo>
                  <a:cubicBezTo>
                    <a:pt x="296" y="45"/>
                    <a:pt x="296" y="45"/>
                    <a:pt x="296" y="45"/>
                  </a:cubicBezTo>
                  <a:cubicBezTo>
                    <a:pt x="282" y="45"/>
                    <a:pt x="282" y="45"/>
                    <a:pt x="282" y="45"/>
                  </a:cubicBezTo>
                  <a:lnTo>
                    <a:pt x="282" y="37"/>
                  </a:lnTo>
                  <a:close/>
                  <a:moveTo>
                    <a:pt x="261" y="87"/>
                  </a:moveTo>
                  <a:cubicBezTo>
                    <a:pt x="248" y="74"/>
                    <a:pt x="248" y="74"/>
                    <a:pt x="248" y="74"/>
                  </a:cubicBezTo>
                  <a:cubicBezTo>
                    <a:pt x="258" y="64"/>
                    <a:pt x="258" y="64"/>
                    <a:pt x="258" y="64"/>
                  </a:cubicBezTo>
                  <a:lnTo>
                    <a:pt x="261" y="87"/>
                  </a:lnTo>
                  <a:close/>
                  <a:moveTo>
                    <a:pt x="245" y="15"/>
                  </a:moveTo>
                  <a:cubicBezTo>
                    <a:pt x="253" y="15"/>
                    <a:pt x="253" y="15"/>
                    <a:pt x="253" y="15"/>
                  </a:cubicBezTo>
                  <a:cubicBezTo>
                    <a:pt x="254" y="21"/>
                    <a:pt x="254" y="21"/>
                    <a:pt x="254" y="21"/>
                  </a:cubicBezTo>
                  <a:cubicBezTo>
                    <a:pt x="254" y="21"/>
                    <a:pt x="254" y="21"/>
                    <a:pt x="254" y="21"/>
                  </a:cubicBezTo>
                  <a:cubicBezTo>
                    <a:pt x="254" y="21"/>
                    <a:pt x="254" y="21"/>
                    <a:pt x="254" y="21"/>
                  </a:cubicBezTo>
                  <a:cubicBezTo>
                    <a:pt x="256" y="45"/>
                    <a:pt x="256" y="45"/>
                    <a:pt x="256" y="45"/>
                  </a:cubicBezTo>
                  <a:cubicBezTo>
                    <a:pt x="245" y="45"/>
                    <a:pt x="245" y="45"/>
                    <a:pt x="245" y="45"/>
                  </a:cubicBezTo>
                  <a:lnTo>
                    <a:pt x="245" y="15"/>
                  </a:lnTo>
                  <a:close/>
                  <a:moveTo>
                    <a:pt x="245" y="55"/>
                  </a:moveTo>
                  <a:cubicBezTo>
                    <a:pt x="257" y="55"/>
                    <a:pt x="257" y="55"/>
                    <a:pt x="257" y="55"/>
                  </a:cubicBezTo>
                  <a:cubicBezTo>
                    <a:pt x="258" y="56"/>
                    <a:pt x="258" y="56"/>
                    <a:pt x="258" y="56"/>
                  </a:cubicBezTo>
                  <a:cubicBezTo>
                    <a:pt x="245" y="68"/>
                    <a:pt x="245" y="68"/>
                    <a:pt x="245" y="68"/>
                  </a:cubicBezTo>
                  <a:lnTo>
                    <a:pt x="245" y="55"/>
                  </a:lnTo>
                  <a:close/>
                  <a:moveTo>
                    <a:pt x="245" y="80"/>
                  </a:moveTo>
                  <a:cubicBezTo>
                    <a:pt x="262" y="96"/>
                    <a:pt x="262" y="96"/>
                    <a:pt x="262" y="96"/>
                  </a:cubicBezTo>
                  <a:cubicBezTo>
                    <a:pt x="262" y="99"/>
                    <a:pt x="262" y="99"/>
                    <a:pt x="262" y="99"/>
                  </a:cubicBezTo>
                  <a:cubicBezTo>
                    <a:pt x="245" y="99"/>
                    <a:pt x="245" y="99"/>
                    <a:pt x="245" y="99"/>
                  </a:cubicBezTo>
                  <a:lnTo>
                    <a:pt x="245" y="80"/>
                  </a:lnTo>
                  <a:close/>
                  <a:moveTo>
                    <a:pt x="245" y="104"/>
                  </a:moveTo>
                  <a:cubicBezTo>
                    <a:pt x="260" y="104"/>
                    <a:pt x="260" y="104"/>
                    <a:pt x="260" y="104"/>
                  </a:cubicBezTo>
                  <a:cubicBezTo>
                    <a:pt x="245" y="119"/>
                    <a:pt x="245" y="119"/>
                    <a:pt x="245" y="119"/>
                  </a:cubicBezTo>
                  <a:lnTo>
                    <a:pt x="245" y="104"/>
                  </a:lnTo>
                  <a:close/>
                  <a:moveTo>
                    <a:pt x="245" y="132"/>
                  </a:moveTo>
                  <a:cubicBezTo>
                    <a:pt x="262" y="149"/>
                    <a:pt x="262" y="149"/>
                    <a:pt x="262" y="149"/>
                  </a:cubicBezTo>
                  <a:cubicBezTo>
                    <a:pt x="245" y="149"/>
                    <a:pt x="245" y="149"/>
                    <a:pt x="245" y="149"/>
                  </a:cubicBezTo>
                  <a:lnTo>
                    <a:pt x="245" y="132"/>
                  </a:lnTo>
                  <a:close/>
                  <a:moveTo>
                    <a:pt x="275" y="216"/>
                  </a:moveTo>
                  <a:cubicBezTo>
                    <a:pt x="247" y="189"/>
                    <a:pt x="247" y="189"/>
                    <a:pt x="247" y="189"/>
                  </a:cubicBezTo>
                  <a:cubicBezTo>
                    <a:pt x="270" y="167"/>
                    <a:pt x="270" y="167"/>
                    <a:pt x="270" y="167"/>
                  </a:cubicBezTo>
                  <a:lnTo>
                    <a:pt x="275" y="216"/>
                  </a:lnTo>
                  <a:close/>
                  <a:moveTo>
                    <a:pt x="245" y="182"/>
                  </a:moveTo>
                  <a:cubicBezTo>
                    <a:pt x="245" y="159"/>
                    <a:pt x="245" y="159"/>
                    <a:pt x="245" y="159"/>
                  </a:cubicBezTo>
                  <a:cubicBezTo>
                    <a:pt x="269" y="159"/>
                    <a:pt x="269" y="159"/>
                    <a:pt x="269" y="159"/>
                  </a:cubicBezTo>
                  <a:lnTo>
                    <a:pt x="245" y="182"/>
                  </a:lnTo>
                  <a:close/>
                  <a:moveTo>
                    <a:pt x="268" y="145"/>
                  </a:moveTo>
                  <a:cubicBezTo>
                    <a:pt x="247" y="126"/>
                    <a:pt x="247" y="126"/>
                    <a:pt x="247" y="126"/>
                  </a:cubicBezTo>
                  <a:cubicBezTo>
                    <a:pt x="264" y="110"/>
                    <a:pt x="264" y="110"/>
                    <a:pt x="264" y="110"/>
                  </a:cubicBezTo>
                  <a:lnTo>
                    <a:pt x="268" y="145"/>
                  </a:lnTo>
                  <a:close/>
                  <a:moveTo>
                    <a:pt x="266" y="45"/>
                  </a:moveTo>
                  <a:cubicBezTo>
                    <a:pt x="264" y="27"/>
                    <a:pt x="264" y="27"/>
                    <a:pt x="264" y="27"/>
                  </a:cubicBezTo>
                  <a:cubicBezTo>
                    <a:pt x="278" y="35"/>
                    <a:pt x="278" y="35"/>
                    <a:pt x="278" y="35"/>
                  </a:cubicBezTo>
                  <a:cubicBezTo>
                    <a:pt x="278" y="45"/>
                    <a:pt x="278" y="45"/>
                    <a:pt x="278" y="45"/>
                  </a:cubicBezTo>
                  <a:cubicBezTo>
                    <a:pt x="273" y="45"/>
                    <a:pt x="273" y="45"/>
                    <a:pt x="273" y="45"/>
                  </a:cubicBezTo>
                  <a:cubicBezTo>
                    <a:pt x="273" y="45"/>
                    <a:pt x="273" y="45"/>
                    <a:pt x="273" y="45"/>
                  </a:cubicBezTo>
                  <a:lnTo>
                    <a:pt x="266" y="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126">
                <a:defRPr/>
              </a:pPr>
              <a:endParaRPr lang="en-GB" sz="1400" dirty="0">
                <a:solidFill>
                  <a:srgbClr val="FFFFFF"/>
                </a:solidFill>
                <a:latin typeface="EnBW DIN Pro"/>
              </a:endParaRPr>
            </a:p>
          </p:txBody>
        </p:sp>
      </p:grpSp>
      <p:sp>
        <p:nvSpPr>
          <p:cNvPr id="111" name="Rectangle 110">
            <a:extLst>
              <a:ext uri="{FF2B5EF4-FFF2-40B4-BE49-F238E27FC236}">
                <a16:creationId xmlns:a16="http://schemas.microsoft.com/office/drawing/2014/main" id="{9997ED85-AA97-4A95-8472-36240C804C02}"/>
              </a:ext>
            </a:extLst>
          </p:cNvPr>
          <p:cNvSpPr/>
          <p:nvPr/>
        </p:nvSpPr>
        <p:spPr bwMode="auto">
          <a:xfrm>
            <a:off x="2173819" y="2034787"/>
            <a:ext cx="1101666" cy="4195784"/>
          </a:xfrm>
          <a:prstGeom prst="rect">
            <a:avLst/>
          </a:prstGeom>
          <a:solidFill>
            <a:schemeClr val="bg1">
              <a:alpha val="51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7972" tIns="107972" rIns="107972" bIns="107972" numCol="1" rtlCol="0" anchor="ctr" anchorCtr="0" compatLnSpc="1">
            <a:prstTxWarp prst="textNoShape">
              <a:avLst/>
            </a:prstTxWarp>
          </a:bodyPr>
          <a:lstStyle/>
          <a:p>
            <a:pPr algn="ctr" defTabSz="914126" eaLnBrk="0" fontAlgn="base" hangingPunct="0">
              <a:spcAft>
                <a:spcPct val="0"/>
              </a:spcAft>
              <a:defRPr/>
            </a:pPr>
            <a:endParaRPr lang="de-DE" sz="1400" dirty="0">
              <a:solidFill>
                <a:srgbClr val="3B3B3B"/>
              </a:solidFill>
              <a:latin typeface="EnBW DIN Pro"/>
            </a:endParaRP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34A4806C-AC2D-4DA7-9B9E-CB34DF197FE8}"/>
              </a:ext>
            </a:extLst>
          </p:cNvPr>
          <p:cNvSpPr txBox="1"/>
          <p:nvPr/>
        </p:nvSpPr>
        <p:spPr bwMode="gray">
          <a:xfrm>
            <a:off x="2170957" y="2865498"/>
            <a:ext cx="1099642" cy="81188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1981" tIns="0" rIns="0" bIns="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ctr" eaLnBrk="0" fontAlgn="base" hangingPunct="0">
              <a:spcBef>
                <a:spcPts val="400"/>
              </a:spcBef>
              <a:spcAft>
                <a:spcPct val="0"/>
              </a:spcAft>
              <a:defRPr kumimoji="0" sz="1600" b="1" i="0" u="none" strike="noStrike" cap="none" normalizeH="0" baseline="30000">
                <a:ln>
                  <a:noFill/>
                </a:ln>
                <a:solidFill>
                  <a:schemeClr val="bg1"/>
                </a:solidFill>
                <a:effectLst/>
              </a:defRPr>
            </a:lvl1pPr>
          </a:lstStyle>
          <a:p>
            <a:pPr defTabSz="914126">
              <a:defRPr/>
            </a:pPr>
            <a:r>
              <a:rPr lang="de-DE" sz="1400" b="0" baseline="0" dirty="0" err="1">
                <a:solidFill>
                  <a:srgbClr val="686868"/>
                </a:solidFill>
                <a:latin typeface="EnBW DIN Pro"/>
              </a:rPr>
              <a:t>HöS</a:t>
            </a:r>
            <a:endParaRPr lang="de-DE" sz="1400" b="0" baseline="0" dirty="0">
              <a:solidFill>
                <a:srgbClr val="686868"/>
              </a:solidFill>
              <a:latin typeface="EnBW DIN Pro"/>
            </a:endParaRP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0BC479EC-25DE-428D-8691-02D1F5AAF422}"/>
              </a:ext>
            </a:extLst>
          </p:cNvPr>
          <p:cNvSpPr txBox="1"/>
          <p:nvPr/>
        </p:nvSpPr>
        <p:spPr bwMode="gray">
          <a:xfrm>
            <a:off x="2186186" y="3710183"/>
            <a:ext cx="1099642" cy="81188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1981" tIns="0" rIns="0" bIns="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ctr" eaLnBrk="0" fontAlgn="base" hangingPunct="0">
              <a:spcBef>
                <a:spcPts val="400"/>
              </a:spcBef>
              <a:spcAft>
                <a:spcPct val="0"/>
              </a:spcAft>
              <a:defRPr kumimoji="0" sz="1600" b="1" i="0" u="none" strike="noStrike" cap="none" normalizeH="0" baseline="30000">
                <a:ln>
                  <a:noFill/>
                </a:ln>
                <a:solidFill>
                  <a:schemeClr val="bg1"/>
                </a:solidFill>
                <a:effectLst/>
              </a:defRPr>
            </a:lvl1pPr>
          </a:lstStyle>
          <a:p>
            <a:pPr defTabSz="914126">
              <a:defRPr/>
            </a:pPr>
            <a:r>
              <a:rPr lang="de-DE" sz="1400" b="0" baseline="0">
                <a:solidFill>
                  <a:srgbClr val="686868"/>
                </a:solidFill>
                <a:latin typeface="EnBW DIN Pro"/>
              </a:rPr>
              <a:t>HS</a:t>
            </a:r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35F09D05-8539-430D-B10C-6E22643F1A70}"/>
              </a:ext>
            </a:extLst>
          </p:cNvPr>
          <p:cNvSpPr txBox="1"/>
          <p:nvPr/>
        </p:nvSpPr>
        <p:spPr bwMode="gray">
          <a:xfrm>
            <a:off x="2170729" y="4558470"/>
            <a:ext cx="1099642" cy="81188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1981" tIns="0" rIns="0" bIns="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ctr" eaLnBrk="0" fontAlgn="base" hangingPunct="0">
              <a:spcBef>
                <a:spcPts val="400"/>
              </a:spcBef>
              <a:spcAft>
                <a:spcPct val="0"/>
              </a:spcAft>
              <a:defRPr kumimoji="0" sz="1600" b="1" i="0" u="none" strike="noStrike" cap="none" normalizeH="0" baseline="30000">
                <a:ln>
                  <a:noFill/>
                </a:ln>
                <a:solidFill>
                  <a:schemeClr val="bg1"/>
                </a:solidFill>
                <a:effectLst/>
              </a:defRPr>
            </a:lvl1pPr>
          </a:lstStyle>
          <a:p>
            <a:pPr defTabSz="914126">
              <a:defRPr/>
            </a:pPr>
            <a:r>
              <a:rPr lang="de-DE" sz="1400" b="0" baseline="0">
                <a:solidFill>
                  <a:srgbClr val="686868"/>
                </a:solidFill>
                <a:latin typeface="EnBW DIN Pro"/>
              </a:rPr>
              <a:t>MS</a:t>
            </a: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B21C8BBF-5A74-4019-94FF-C7B1748B5655}"/>
              </a:ext>
            </a:extLst>
          </p:cNvPr>
          <p:cNvSpPr txBox="1"/>
          <p:nvPr/>
        </p:nvSpPr>
        <p:spPr bwMode="gray">
          <a:xfrm>
            <a:off x="2170729" y="5412140"/>
            <a:ext cx="1099642" cy="81188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1981" tIns="0" rIns="0" bIns="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ctr" eaLnBrk="0" fontAlgn="base" hangingPunct="0">
              <a:spcBef>
                <a:spcPts val="400"/>
              </a:spcBef>
              <a:spcAft>
                <a:spcPct val="0"/>
              </a:spcAft>
              <a:defRPr kumimoji="0" sz="1600" b="1" i="0" u="none" strike="noStrike" cap="none" normalizeH="0" baseline="30000">
                <a:ln>
                  <a:noFill/>
                </a:ln>
                <a:solidFill>
                  <a:schemeClr val="bg1"/>
                </a:solidFill>
                <a:effectLst/>
              </a:defRPr>
            </a:lvl1pPr>
          </a:lstStyle>
          <a:p>
            <a:pPr defTabSz="914126">
              <a:defRPr/>
            </a:pPr>
            <a:r>
              <a:rPr lang="de-DE" sz="1400" b="0" baseline="0">
                <a:solidFill>
                  <a:srgbClr val="686868"/>
                </a:solidFill>
                <a:latin typeface="EnBW DIN Pro"/>
              </a:rPr>
              <a:t>NS</a:t>
            </a:r>
          </a:p>
        </p:txBody>
      </p:sp>
      <p:cxnSp>
        <p:nvCxnSpPr>
          <p:cNvPr id="122" name="Straight Connector 121">
            <a:extLst>
              <a:ext uri="{FF2B5EF4-FFF2-40B4-BE49-F238E27FC236}">
                <a16:creationId xmlns:a16="http://schemas.microsoft.com/office/drawing/2014/main" id="{294232F2-FBD3-43CC-BCC7-ED7ED59AA487}"/>
              </a:ext>
            </a:extLst>
          </p:cNvPr>
          <p:cNvCxnSpPr>
            <a:cxnSpLocks/>
          </p:cNvCxnSpPr>
          <p:nvPr/>
        </p:nvCxnSpPr>
        <p:spPr bwMode="gray">
          <a:xfrm flipH="1">
            <a:off x="2173819" y="3686837"/>
            <a:ext cx="1040712" cy="0"/>
          </a:xfrm>
          <a:prstGeom prst="line">
            <a:avLst/>
          </a:prstGeom>
          <a:solidFill>
            <a:srgbClr val="F0F0F0"/>
          </a:solidFill>
          <a:ln w="9525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id="{5D3FCD27-DEC4-4EAE-82CF-01272286C922}"/>
              </a:ext>
            </a:extLst>
          </p:cNvPr>
          <p:cNvCxnSpPr>
            <a:cxnSpLocks/>
          </p:cNvCxnSpPr>
          <p:nvPr/>
        </p:nvCxnSpPr>
        <p:spPr bwMode="gray">
          <a:xfrm flipH="1">
            <a:off x="2173819" y="5394890"/>
            <a:ext cx="1040712" cy="0"/>
          </a:xfrm>
          <a:prstGeom prst="line">
            <a:avLst/>
          </a:prstGeom>
          <a:solidFill>
            <a:srgbClr val="F0F0F0"/>
          </a:solidFill>
          <a:ln w="9525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9" name="TextBox 118">
            <a:extLst>
              <a:ext uri="{FF2B5EF4-FFF2-40B4-BE49-F238E27FC236}">
                <a16:creationId xmlns:a16="http://schemas.microsoft.com/office/drawing/2014/main" id="{09F3B8B5-8523-4CE1-882D-2E4D0327BD0F}"/>
              </a:ext>
            </a:extLst>
          </p:cNvPr>
          <p:cNvSpPr txBox="1"/>
          <p:nvPr/>
        </p:nvSpPr>
        <p:spPr bwMode="gray">
          <a:xfrm>
            <a:off x="2170958" y="2054284"/>
            <a:ext cx="1199669" cy="60906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5991" tIns="107972" rIns="0" bIns="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ctr" eaLnBrk="0" fontAlgn="base" hangingPunct="0">
              <a:spcBef>
                <a:spcPts val="400"/>
              </a:spcBef>
              <a:spcAft>
                <a:spcPct val="0"/>
              </a:spcAft>
              <a:defRPr kumimoji="0" sz="1600" b="1" i="0" u="none" strike="noStrike" cap="none" normalizeH="0" baseline="30000">
                <a:ln>
                  <a:noFill/>
                </a:ln>
                <a:solidFill>
                  <a:schemeClr val="bg1"/>
                </a:solidFill>
                <a:effectLst/>
              </a:defRPr>
            </a:lvl1pPr>
          </a:lstStyle>
          <a:p>
            <a:pPr algn="l" defTabSz="914126">
              <a:defRPr/>
            </a:pPr>
            <a:r>
              <a:rPr lang="de-DE" sz="1400" b="0" baseline="0">
                <a:solidFill>
                  <a:srgbClr val="686868"/>
                </a:solidFill>
                <a:latin typeface="EnBW DIN Pro"/>
              </a:rPr>
              <a:t>Spannungs-ebene</a:t>
            </a: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6FE2254C-F07C-41CC-9DBA-3F9DCCA6C12B}"/>
              </a:ext>
            </a:extLst>
          </p:cNvPr>
          <p:cNvSpPr/>
          <p:nvPr/>
        </p:nvSpPr>
        <p:spPr bwMode="auto">
          <a:xfrm>
            <a:off x="8479046" y="4319008"/>
            <a:ext cx="3325116" cy="1744509"/>
          </a:xfrm>
          <a:prstGeom prst="rect">
            <a:avLst/>
          </a:prstGeom>
          <a:solidFill>
            <a:schemeClr val="bg1">
              <a:alpha val="51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7972" tIns="107972" rIns="107972" bIns="107972" numCol="1" rtlCol="0" anchor="ctr" anchorCtr="0" compatLnSpc="1">
            <a:prstTxWarp prst="textNoShape">
              <a:avLst/>
            </a:prstTxWarp>
          </a:bodyPr>
          <a:lstStyle/>
          <a:p>
            <a:pPr algn="ctr" defTabSz="914126" eaLnBrk="0" fontAlgn="base" hangingPunct="0">
              <a:spcAft>
                <a:spcPct val="0"/>
              </a:spcAft>
              <a:defRPr/>
            </a:pPr>
            <a:endParaRPr lang="de-DE" sz="1200">
              <a:solidFill>
                <a:srgbClr val="3B3B3B"/>
              </a:solidFill>
              <a:latin typeface="EnBW DIN Pro"/>
            </a:endParaRPr>
          </a:p>
        </p:txBody>
      </p:sp>
      <p:grpSp>
        <p:nvGrpSpPr>
          <p:cNvPr id="250" name="Group 249">
            <a:extLst>
              <a:ext uri="{FF2B5EF4-FFF2-40B4-BE49-F238E27FC236}">
                <a16:creationId xmlns:a16="http://schemas.microsoft.com/office/drawing/2014/main" id="{516DAFFE-C88B-46C2-A89A-E5502F77A773}"/>
              </a:ext>
            </a:extLst>
          </p:cNvPr>
          <p:cNvGrpSpPr/>
          <p:nvPr/>
        </p:nvGrpSpPr>
        <p:grpSpPr>
          <a:xfrm>
            <a:off x="8814524" y="4906465"/>
            <a:ext cx="435982" cy="367724"/>
            <a:chOff x="6696237" y="4659926"/>
            <a:chExt cx="337713" cy="284820"/>
          </a:xfrm>
          <a:solidFill>
            <a:schemeClr val="accent6">
              <a:lumMod val="40000"/>
              <a:lumOff val="60000"/>
            </a:schemeClr>
          </a:solidFill>
        </p:grpSpPr>
        <p:grpSp>
          <p:nvGrpSpPr>
            <p:cNvPr id="251" name="Group 25">
              <a:extLst>
                <a:ext uri="{FF2B5EF4-FFF2-40B4-BE49-F238E27FC236}">
                  <a16:creationId xmlns:a16="http://schemas.microsoft.com/office/drawing/2014/main" id="{2AB6F1BB-0DD4-47C1-B1CA-FF7B6DB88B1C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6696237" y="4659926"/>
              <a:ext cx="288203" cy="284820"/>
              <a:chOff x="3298" y="1621"/>
              <a:chExt cx="1080" cy="1078"/>
            </a:xfrm>
            <a:grpFill/>
          </p:grpSpPr>
          <p:sp>
            <p:nvSpPr>
              <p:cNvPr id="253" name="Freeform 26">
                <a:extLst>
                  <a:ext uri="{FF2B5EF4-FFF2-40B4-BE49-F238E27FC236}">
                    <a16:creationId xmlns:a16="http://schemas.microsoft.com/office/drawing/2014/main" id="{98B26F1B-6305-4262-BE70-093FDAB46256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3302" y="2076"/>
                <a:ext cx="1076" cy="623"/>
              </a:xfrm>
              <a:custGeom>
                <a:avLst/>
                <a:gdLst>
                  <a:gd name="T0" fmla="*/ 504 w 512"/>
                  <a:gd name="T1" fmla="*/ 0 h 296"/>
                  <a:gd name="T2" fmla="*/ 8 w 512"/>
                  <a:gd name="T3" fmla="*/ 0 h 296"/>
                  <a:gd name="T4" fmla="*/ 0 w 512"/>
                  <a:gd name="T5" fmla="*/ 8 h 296"/>
                  <a:gd name="T6" fmla="*/ 8 w 512"/>
                  <a:gd name="T7" fmla="*/ 16 h 296"/>
                  <a:gd name="T8" fmla="*/ 37 w 512"/>
                  <a:gd name="T9" fmla="*/ 16 h 296"/>
                  <a:gd name="T10" fmla="*/ 37 w 512"/>
                  <a:gd name="T11" fmla="*/ 296 h 296"/>
                  <a:gd name="T12" fmla="*/ 468 w 512"/>
                  <a:gd name="T13" fmla="*/ 296 h 296"/>
                  <a:gd name="T14" fmla="*/ 468 w 512"/>
                  <a:gd name="T15" fmla="*/ 16 h 296"/>
                  <a:gd name="T16" fmla="*/ 504 w 512"/>
                  <a:gd name="T17" fmla="*/ 16 h 296"/>
                  <a:gd name="T18" fmla="*/ 512 w 512"/>
                  <a:gd name="T19" fmla="*/ 8 h 296"/>
                  <a:gd name="T20" fmla="*/ 504 w 512"/>
                  <a:gd name="T21" fmla="*/ 0 h 296"/>
                  <a:gd name="T22" fmla="*/ 284 w 512"/>
                  <a:gd name="T23" fmla="*/ 278 h 296"/>
                  <a:gd name="T24" fmla="*/ 220 w 512"/>
                  <a:gd name="T25" fmla="*/ 278 h 296"/>
                  <a:gd name="T26" fmla="*/ 220 w 512"/>
                  <a:gd name="T27" fmla="*/ 166 h 296"/>
                  <a:gd name="T28" fmla="*/ 284 w 512"/>
                  <a:gd name="T29" fmla="*/ 166 h 296"/>
                  <a:gd name="T30" fmla="*/ 284 w 512"/>
                  <a:gd name="T31" fmla="*/ 278 h 296"/>
                  <a:gd name="T32" fmla="*/ 384 w 512"/>
                  <a:gd name="T33" fmla="*/ 96 h 296"/>
                  <a:gd name="T34" fmla="*/ 352 w 512"/>
                  <a:gd name="T35" fmla="*/ 96 h 296"/>
                  <a:gd name="T36" fmla="*/ 352 w 512"/>
                  <a:gd name="T37" fmla="*/ 64 h 296"/>
                  <a:gd name="T38" fmla="*/ 384 w 512"/>
                  <a:gd name="T39" fmla="*/ 64 h 296"/>
                  <a:gd name="T40" fmla="*/ 384 w 512"/>
                  <a:gd name="T41" fmla="*/ 96 h 296"/>
                  <a:gd name="T42" fmla="*/ 420 w 512"/>
                  <a:gd name="T43" fmla="*/ 96 h 296"/>
                  <a:gd name="T44" fmla="*/ 388 w 512"/>
                  <a:gd name="T45" fmla="*/ 96 h 296"/>
                  <a:gd name="T46" fmla="*/ 388 w 512"/>
                  <a:gd name="T47" fmla="*/ 64 h 296"/>
                  <a:gd name="T48" fmla="*/ 420 w 512"/>
                  <a:gd name="T49" fmla="*/ 64 h 296"/>
                  <a:gd name="T50" fmla="*/ 420 w 512"/>
                  <a:gd name="T51" fmla="*/ 96 h 296"/>
                  <a:gd name="T52" fmla="*/ 420 w 512"/>
                  <a:gd name="T53" fmla="*/ 132 h 296"/>
                  <a:gd name="T54" fmla="*/ 388 w 512"/>
                  <a:gd name="T55" fmla="*/ 132 h 296"/>
                  <a:gd name="T56" fmla="*/ 388 w 512"/>
                  <a:gd name="T57" fmla="*/ 100 h 296"/>
                  <a:gd name="T58" fmla="*/ 420 w 512"/>
                  <a:gd name="T59" fmla="*/ 100 h 296"/>
                  <a:gd name="T60" fmla="*/ 420 w 512"/>
                  <a:gd name="T61" fmla="*/ 132 h 296"/>
                  <a:gd name="T62" fmla="*/ 384 w 512"/>
                  <a:gd name="T63" fmla="*/ 132 h 296"/>
                  <a:gd name="T64" fmla="*/ 352 w 512"/>
                  <a:gd name="T65" fmla="*/ 132 h 296"/>
                  <a:gd name="T66" fmla="*/ 352 w 512"/>
                  <a:gd name="T67" fmla="*/ 100 h 296"/>
                  <a:gd name="T68" fmla="*/ 384 w 512"/>
                  <a:gd name="T69" fmla="*/ 100 h 296"/>
                  <a:gd name="T70" fmla="*/ 384 w 512"/>
                  <a:gd name="T71" fmla="*/ 132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512" h="296">
                    <a:moveTo>
                      <a:pt x="504" y="0"/>
                    </a:moveTo>
                    <a:cubicBezTo>
                      <a:pt x="8" y="0"/>
                      <a:pt x="8" y="0"/>
                      <a:pt x="8" y="0"/>
                    </a:cubicBezTo>
                    <a:cubicBezTo>
                      <a:pt x="4" y="0"/>
                      <a:pt x="0" y="4"/>
                      <a:pt x="0" y="8"/>
                    </a:cubicBezTo>
                    <a:cubicBezTo>
                      <a:pt x="0" y="13"/>
                      <a:pt x="4" y="16"/>
                      <a:pt x="8" y="16"/>
                    </a:cubicBezTo>
                    <a:cubicBezTo>
                      <a:pt x="37" y="16"/>
                      <a:pt x="37" y="16"/>
                      <a:pt x="37" y="16"/>
                    </a:cubicBezTo>
                    <a:cubicBezTo>
                      <a:pt x="37" y="296"/>
                      <a:pt x="37" y="296"/>
                      <a:pt x="37" y="296"/>
                    </a:cubicBezTo>
                    <a:cubicBezTo>
                      <a:pt x="468" y="296"/>
                      <a:pt x="468" y="296"/>
                      <a:pt x="468" y="296"/>
                    </a:cubicBezTo>
                    <a:cubicBezTo>
                      <a:pt x="468" y="16"/>
                      <a:pt x="468" y="16"/>
                      <a:pt x="468" y="16"/>
                    </a:cubicBezTo>
                    <a:cubicBezTo>
                      <a:pt x="504" y="16"/>
                      <a:pt x="504" y="16"/>
                      <a:pt x="504" y="16"/>
                    </a:cubicBezTo>
                    <a:cubicBezTo>
                      <a:pt x="508" y="16"/>
                      <a:pt x="512" y="13"/>
                      <a:pt x="512" y="8"/>
                    </a:cubicBezTo>
                    <a:cubicBezTo>
                      <a:pt x="512" y="4"/>
                      <a:pt x="508" y="0"/>
                      <a:pt x="504" y="0"/>
                    </a:cubicBezTo>
                    <a:close/>
                    <a:moveTo>
                      <a:pt x="284" y="278"/>
                    </a:moveTo>
                    <a:cubicBezTo>
                      <a:pt x="220" y="278"/>
                      <a:pt x="220" y="278"/>
                      <a:pt x="220" y="278"/>
                    </a:cubicBezTo>
                    <a:cubicBezTo>
                      <a:pt x="220" y="166"/>
                      <a:pt x="220" y="166"/>
                      <a:pt x="220" y="166"/>
                    </a:cubicBezTo>
                    <a:cubicBezTo>
                      <a:pt x="284" y="166"/>
                      <a:pt x="284" y="166"/>
                      <a:pt x="284" y="166"/>
                    </a:cubicBezTo>
                    <a:lnTo>
                      <a:pt x="284" y="278"/>
                    </a:lnTo>
                    <a:close/>
                    <a:moveTo>
                      <a:pt x="384" y="96"/>
                    </a:moveTo>
                    <a:cubicBezTo>
                      <a:pt x="352" y="96"/>
                      <a:pt x="352" y="96"/>
                      <a:pt x="352" y="96"/>
                    </a:cubicBezTo>
                    <a:cubicBezTo>
                      <a:pt x="352" y="64"/>
                      <a:pt x="352" y="64"/>
                      <a:pt x="352" y="64"/>
                    </a:cubicBezTo>
                    <a:cubicBezTo>
                      <a:pt x="384" y="64"/>
                      <a:pt x="384" y="64"/>
                      <a:pt x="384" y="64"/>
                    </a:cubicBezTo>
                    <a:lnTo>
                      <a:pt x="384" y="96"/>
                    </a:lnTo>
                    <a:close/>
                    <a:moveTo>
                      <a:pt x="420" y="96"/>
                    </a:moveTo>
                    <a:cubicBezTo>
                      <a:pt x="388" y="96"/>
                      <a:pt x="388" y="96"/>
                      <a:pt x="388" y="96"/>
                    </a:cubicBezTo>
                    <a:cubicBezTo>
                      <a:pt x="388" y="64"/>
                      <a:pt x="388" y="64"/>
                      <a:pt x="388" y="64"/>
                    </a:cubicBezTo>
                    <a:cubicBezTo>
                      <a:pt x="420" y="64"/>
                      <a:pt x="420" y="64"/>
                      <a:pt x="420" y="64"/>
                    </a:cubicBezTo>
                    <a:lnTo>
                      <a:pt x="420" y="96"/>
                    </a:lnTo>
                    <a:close/>
                    <a:moveTo>
                      <a:pt x="420" y="132"/>
                    </a:moveTo>
                    <a:cubicBezTo>
                      <a:pt x="388" y="132"/>
                      <a:pt x="388" y="132"/>
                      <a:pt x="388" y="132"/>
                    </a:cubicBezTo>
                    <a:cubicBezTo>
                      <a:pt x="388" y="100"/>
                      <a:pt x="388" y="100"/>
                      <a:pt x="388" y="100"/>
                    </a:cubicBezTo>
                    <a:cubicBezTo>
                      <a:pt x="420" y="100"/>
                      <a:pt x="420" y="100"/>
                      <a:pt x="420" y="100"/>
                    </a:cubicBezTo>
                    <a:lnTo>
                      <a:pt x="420" y="132"/>
                    </a:lnTo>
                    <a:close/>
                    <a:moveTo>
                      <a:pt x="384" y="132"/>
                    </a:moveTo>
                    <a:cubicBezTo>
                      <a:pt x="352" y="132"/>
                      <a:pt x="352" y="132"/>
                      <a:pt x="352" y="132"/>
                    </a:cubicBezTo>
                    <a:cubicBezTo>
                      <a:pt x="352" y="100"/>
                      <a:pt x="352" y="100"/>
                      <a:pt x="352" y="100"/>
                    </a:cubicBezTo>
                    <a:cubicBezTo>
                      <a:pt x="384" y="100"/>
                      <a:pt x="384" y="100"/>
                      <a:pt x="384" y="100"/>
                    </a:cubicBezTo>
                    <a:lnTo>
                      <a:pt x="384" y="13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914126">
                  <a:defRPr/>
                </a:pPr>
                <a:endParaRPr lang="en-GB">
                  <a:solidFill>
                    <a:srgbClr val="3B3B3B"/>
                  </a:solidFill>
                  <a:latin typeface="EnBW DIN Pro"/>
                </a:endParaRPr>
              </a:p>
            </p:txBody>
          </p:sp>
          <p:sp>
            <p:nvSpPr>
              <p:cNvPr id="274" name="Freeform 27">
                <a:extLst>
                  <a:ext uri="{FF2B5EF4-FFF2-40B4-BE49-F238E27FC236}">
                    <a16:creationId xmlns:a16="http://schemas.microsoft.com/office/drawing/2014/main" id="{9163CD5E-F560-4487-BAAC-FE66CCD36013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3298" y="1621"/>
                <a:ext cx="1080" cy="432"/>
              </a:xfrm>
              <a:custGeom>
                <a:avLst/>
                <a:gdLst>
                  <a:gd name="T0" fmla="*/ 162 w 514"/>
                  <a:gd name="T1" fmla="*/ 0 h 205"/>
                  <a:gd name="T2" fmla="*/ 5 w 514"/>
                  <a:gd name="T3" fmla="*/ 181 h 205"/>
                  <a:gd name="T4" fmla="*/ 512 w 514"/>
                  <a:gd name="T5" fmla="*/ 180 h 205"/>
                  <a:gd name="T6" fmla="*/ 402 w 514"/>
                  <a:gd name="T7" fmla="*/ 134 h 205"/>
                  <a:gd name="T8" fmla="*/ 378 w 514"/>
                  <a:gd name="T9" fmla="*/ 72 h 205"/>
                  <a:gd name="T10" fmla="*/ 392 w 514"/>
                  <a:gd name="T11" fmla="*/ 104 h 205"/>
                  <a:gd name="T12" fmla="*/ 316 w 514"/>
                  <a:gd name="T13" fmla="*/ 72 h 205"/>
                  <a:gd name="T14" fmla="*/ 308 w 514"/>
                  <a:gd name="T15" fmla="*/ 104 h 205"/>
                  <a:gd name="T16" fmla="*/ 182 w 514"/>
                  <a:gd name="T17" fmla="*/ 96 h 205"/>
                  <a:gd name="T18" fmla="*/ 214 w 514"/>
                  <a:gd name="T19" fmla="*/ 80 h 205"/>
                  <a:gd name="T20" fmla="*/ 182 w 514"/>
                  <a:gd name="T21" fmla="*/ 96 h 205"/>
                  <a:gd name="T22" fmla="*/ 139 w 514"/>
                  <a:gd name="T23" fmla="*/ 16 h 205"/>
                  <a:gd name="T24" fmla="*/ 136 w 514"/>
                  <a:gd name="T25" fmla="*/ 80 h 205"/>
                  <a:gd name="T26" fmla="*/ 76 w 514"/>
                  <a:gd name="T27" fmla="*/ 134 h 205"/>
                  <a:gd name="T28" fmla="*/ 109 w 514"/>
                  <a:gd name="T29" fmla="*/ 134 h 205"/>
                  <a:gd name="T30" fmla="*/ 57 w 514"/>
                  <a:gd name="T31" fmla="*/ 179 h 205"/>
                  <a:gd name="T32" fmla="*/ 96 w 514"/>
                  <a:gd name="T33" fmla="*/ 152 h 205"/>
                  <a:gd name="T34" fmla="*/ 133 w 514"/>
                  <a:gd name="T35" fmla="*/ 171 h 205"/>
                  <a:gd name="T36" fmla="*/ 114 w 514"/>
                  <a:gd name="T37" fmla="*/ 148 h 205"/>
                  <a:gd name="T38" fmla="*/ 149 w 514"/>
                  <a:gd name="T39" fmla="*/ 134 h 205"/>
                  <a:gd name="T40" fmla="*/ 122 w 514"/>
                  <a:gd name="T41" fmla="*/ 118 h 205"/>
                  <a:gd name="T42" fmla="*/ 155 w 514"/>
                  <a:gd name="T43" fmla="*/ 104 h 205"/>
                  <a:gd name="T44" fmla="*/ 165 w 514"/>
                  <a:gd name="T45" fmla="*/ 72 h 205"/>
                  <a:gd name="T46" fmla="*/ 201 w 514"/>
                  <a:gd name="T47" fmla="*/ 171 h 205"/>
                  <a:gd name="T48" fmla="*/ 178 w 514"/>
                  <a:gd name="T49" fmla="*/ 148 h 205"/>
                  <a:gd name="T50" fmla="*/ 179 w 514"/>
                  <a:gd name="T51" fmla="*/ 142 h 205"/>
                  <a:gd name="T52" fmla="*/ 202 w 514"/>
                  <a:gd name="T53" fmla="*/ 110 h 205"/>
                  <a:gd name="T54" fmla="*/ 245 w 514"/>
                  <a:gd name="T55" fmla="*/ 171 h 205"/>
                  <a:gd name="T56" fmla="*/ 219 w 514"/>
                  <a:gd name="T57" fmla="*/ 148 h 205"/>
                  <a:gd name="T58" fmla="*/ 246 w 514"/>
                  <a:gd name="T59" fmla="*/ 134 h 205"/>
                  <a:gd name="T60" fmla="*/ 215 w 514"/>
                  <a:gd name="T61" fmla="*/ 118 h 205"/>
                  <a:gd name="T62" fmla="*/ 246 w 514"/>
                  <a:gd name="T63" fmla="*/ 134 h 205"/>
                  <a:gd name="T64" fmla="*/ 217 w 514"/>
                  <a:gd name="T65" fmla="*/ 96 h 205"/>
                  <a:gd name="T66" fmla="*/ 248 w 514"/>
                  <a:gd name="T67" fmla="*/ 80 h 205"/>
                  <a:gd name="T68" fmla="*/ 284 w 514"/>
                  <a:gd name="T69" fmla="*/ 72 h 205"/>
                  <a:gd name="T70" fmla="*/ 272 w 514"/>
                  <a:gd name="T71" fmla="*/ 104 h 205"/>
                  <a:gd name="T72" fmla="*/ 272 w 514"/>
                  <a:gd name="T73" fmla="*/ 110 h 205"/>
                  <a:gd name="T74" fmla="*/ 290 w 514"/>
                  <a:gd name="T75" fmla="*/ 142 h 205"/>
                  <a:gd name="T76" fmla="*/ 276 w 514"/>
                  <a:gd name="T77" fmla="*/ 179 h 205"/>
                  <a:gd name="T78" fmla="*/ 292 w 514"/>
                  <a:gd name="T79" fmla="*/ 148 h 205"/>
                  <a:gd name="T80" fmla="*/ 302 w 514"/>
                  <a:gd name="T81" fmla="*/ 118 h 205"/>
                  <a:gd name="T82" fmla="*/ 338 w 514"/>
                  <a:gd name="T83" fmla="*/ 134 h 205"/>
                  <a:gd name="T84" fmla="*/ 340 w 514"/>
                  <a:gd name="T85" fmla="*/ 179 h 205"/>
                  <a:gd name="T86" fmla="*/ 315 w 514"/>
                  <a:gd name="T87" fmla="*/ 148 h 205"/>
                  <a:gd name="T88" fmla="*/ 346 w 514"/>
                  <a:gd name="T89" fmla="*/ 96 h 205"/>
                  <a:gd name="T90" fmla="*/ 376 w 514"/>
                  <a:gd name="T91" fmla="*/ 96 h 205"/>
                  <a:gd name="T92" fmla="*/ 357 w 514"/>
                  <a:gd name="T93" fmla="*/ 118 h 205"/>
                  <a:gd name="T94" fmla="*/ 395 w 514"/>
                  <a:gd name="T95" fmla="*/ 134 h 205"/>
                  <a:gd name="T96" fmla="*/ 409 w 514"/>
                  <a:gd name="T97" fmla="*/ 179 h 205"/>
                  <a:gd name="T98" fmla="*/ 379 w 514"/>
                  <a:gd name="T99" fmla="*/ 148 h 205"/>
                  <a:gd name="T100" fmla="*/ 454 w 514"/>
                  <a:gd name="T101" fmla="*/ 179 h 205"/>
                  <a:gd name="T102" fmla="*/ 420 w 514"/>
                  <a:gd name="T103" fmla="*/ 148 h 2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514" h="205">
                    <a:moveTo>
                      <a:pt x="512" y="180"/>
                    </a:moveTo>
                    <a:cubicBezTo>
                      <a:pt x="430" y="52"/>
                      <a:pt x="430" y="52"/>
                      <a:pt x="430" y="52"/>
                    </a:cubicBezTo>
                    <a:cubicBezTo>
                      <a:pt x="427" y="47"/>
                      <a:pt x="422" y="44"/>
                      <a:pt x="416" y="44"/>
                    </a:cubicBezTo>
                    <a:cubicBezTo>
                      <a:pt x="171" y="44"/>
                      <a:pt x="171" y="44"/>
                      <a:pt x="171" y="44"/>
                    </a:cubicBezTo>
                    <a:cubicBezTo>
                      <a:pt x="162" y="0"/>
                      <a:pt x="162" y="0"/>
                      <a:pt x="162" y="0"/>
                    </a:cubicBezTo>
                    <a:cubicBezTo>
                      <a:pt x="126" y="0"/>
                      <a:pt x="126" y="0"/>
                      <a:pt x="126" y="0"/>
                    </a:cubicBezTo>
                    <a:cubicBezTo>
                      <a:pt x="115" y="44"/>
                      <a:pt x="115" y="44"/>
                      <a:pt x="115" y="44"/>
                    </a:cubicBezTo>
                    <a:cubicBezTo>
                      <a:pt x="97" y="44"/>
                      <a:pt x="97" y="44"/>
                      <a:pt x="97" y="44"/>
                    </a:cubicBezTo>
                    <a:cubicBezTo>
                      <a:pt x="91" y="44"/>
                      <a:pt x="86" y="47"/>
                      <a:pt x="83" y="52"/>
                    </a:cubicBezTo>
                    <a:cubicBezTo>
                      <a:pt x="5" y="181"/>
                      <a:pt x="5" y="181"/>
                      <a:pt x="5" y="181"/>
                    </a:cubicBezTo>
                    <a:cubicBezTo>
                      <a:pt x="0" y="188"/>
                      <a:pt x="3" y="198"/>
                      <a:pt x="11" y="203"/>
                    </a:cubicBezTo>
                    <a:cubicBezTo>
                      <a:pt x="13" y="204"/>
                      <a:pt x="16" y="205"/>
                      <a:pt x="19" y="205"/>
                    </a:cubicBezTo>
                    <a:cubicBezTo>
                      <a:pt x="498" y="205"/>
                      <a:pt x="498" y="205"/>
                      <a:pt x="498" y="205"/>
                    </a:cubicBezTo>
                    <a:cubicBezTo>
                      <a:pt x="507" y="205"/>
                      <a:pt x="514" y="198"/>
                      <a:pt x="514" y="189"/>
                    </a:cubicBezTo>
                    <a:cubicBezTo>
                      <a:pt x="514" y="186"/>
                      <a:pt x="513" y="183"/>
                      <a:pt x="512" y="180"/>
                    </a:cubicBezTo>
                    <a:close/>
                    <a:moveTo>
                      <a:pt x="426" y="118"/>
                    </a:moveTo>
                    <a:cubicBezTo>
                      <a:pt x="435" y="134"/>
                      <a:pt x="435" y="134"/>
                      <a:pt x="435" y="134"/>
                    </a:cubicBezTo>
                    <a:cubicBezTo>
                      <a:pt x="437" y="138"/>
                      <a:pt x="435" y="142"/>
                      <a:pt x="430" y="142"/>
                    </a:cubicBezTo>
                    <a:cubicBezTo>
                      <a:pt x="414" y="142"/>
                      <a:pt x="414" y="142"/>
                      <a:pt x="414" y="142"/>
                    </a:cubicBezTo>
                    <a:cubicBezTo>
                      <a:pt x="408" y="141"/>
                      <a:pt x="404" y="138"/>
                      <a:pt x="402" y="134"/>
                    </a:cubicBezTo>
                    <a:cubicBezTo>
                      <a:pt x="395" y="118"/>
                      <a:pt x="395" y="118"/>
                      <a:pt x="395" y="118"/>
                    </a:cubicBezTo>
                    <a:cubicBezTo>
                      <a:pt x="393" y="114"/>
                      <a:pt x="395" y="110"/>
                      <a:pt x="399" y="110"/>
                    </a:cubicBezTo>
                    <a:cubicBezTo>
                      <a:pt x="414" y="110"/>
                      <a:pt x="414" y="110"/>
                      <a:pt x="414" y="110"/>
                    </a:cubicBezTo>
                    <a:cubicBezTo>
                      <a:pt x="420" y="110"/>
                      <a:pt x="424" y="114"/>
                      <a:pt x="426" y="118"/>
                    </a:cubicBezTo>
                    <a:close/>
                    <a:moveTo>
                      <a:pt x="378" y="72"/>
                    </a:moveTo>
                    <a:cubicBezTo>
                      <a:pt x="392" y="72"/>
                      <a:pt x="392" y="72"/>
                      <a:pt x="392" y="72"/>
                    </a:cubicBezTo>
                    <a:cubicBezTo>
                      <a:pt x="397" y="73"/>
                      <a:pt x="401" y="76"/>
                      <a:pt x="403" y="80"/>
                    </a:cubicBezTo>
                    <a:cubicBezTo>
                      <a:pt x="411" y="96"/>
                      <a:pt x="411" y="96"/>
                      <a:pt x="411" y="96"/>
                    </a:cubicBezTo>
                    <a:cubicBezTo>
                      <a:pt x="414" y="100"/>
                      <a:pt x="412" y="104"/>
                      <a:pt x="408" y="104"/>
                    </a:cubicBezTo>
                    <a:cubicBezTo>
                      <a:pt x="392" y="104"/>
                      <a:pt x="392" y="104"/>
                      <a:pt x="392" y="104"/>
                    </a:cubicBezTo>
                    <a:cubicBezTo>
                      <a:pt x="388" y="104"/>
                      <a:pt x="383" y="100"/>
                      <a:pt x="381" y="96"/>
                    </a:cubicBezTo>
                    <a:cubicBezTo>
                      <a:pt x="375" y="80"/>
                      <a:pt x="375" y="80"/>
                      <a:pt x="375" y="80"/>
                    </a:cubicBezTo>
                    <a:cubicBezTo>
                      <a:pt x="373" y="76"/>
                      <a:pt x="375" y="72"/>
                      <a:pt x="378" y="72"/>
                    </a:cubicBezTo>
                    <a:close/>
                    <a:moveTo>
                      <a:pt x="303" y="72"/>
                    </a:moveTo>
                    <a:cubicBezTo>
                      <a:pt x="316" y="72"/>
                      <a:pt x="316" y="72"/>
                      <a:pt x="316" y="72"/>
                    </a:cubicBezTo>
                    <a:cubicBezTo>
                      <a:pt x="321" y="73"/>
                      <a:pt x="324" y="76"/>
                      <a:pt x="325" y="80"/>
                    </a:cubicBezTo>
                    <a:cubicBezTo>
                      <a:pt x="329" y="96"/>
                      <a:pt x="329" y="96"/>
                      <a:pt x="329" y="96"/>
                    </a:cubicBezTo>
                    <a:cubicBezTo>
                      <a:pt x="330" y="99"/>
                      <a:pt x="329" y="102"/>
                      <a:pt x="326" y="104"/>
                    </a:cubicBezTo>
                    <a:cubicBezTo>
                      <a:pt x="325" y="104"/>
                      <a:pt x="324" y="104"/>
                      <a:pt x="324" y="104"/>
                    </a:cubicBezTo>
                    <a:cubicBezTo>
                      <a:pt x="308" y="104"/>
                      <a:pt x="308" y="104"/>
                      <a:pt x="308" y="104"/>
                    </a:cubicBezTo>
                    <a:cubicBezTo>
                      <a:pt x="304" y="104"/>
                      <a:pt x="300" y="100"/>
                      <a:pt x="300" y="96"/>
                    </a:cubicBezTo>
                    <a:cubicBezTo>
                      <a:pt x="297" y="80"/>
                      <a:pt x="297" y="80"/>
                      <a:pt x="297" y="80"/>
                    </a:cubicBezTo>
                    <a:cubicBezTo>
                      <a:pt x="296" y="77"/>
                      <a:pt x="298" y="74"/>
                      <a:pt x="302" y="73"/>
                    </a:cubicBezTo>
                    <a:cubicBezTo>
                      <a:pt x="302" y="73"/>
                      <a:pt x="302" y="72"/>
                      <a:pt x="303" y="72"/>
                    </a:cubicBezTo>
                    <a:close/>
                    <a:moveTo>
                      <a:pt x="182" y="96"/>
                    </a:moveTo>
                    <a:cubicBezTo>
                      <a:pt x="186" y="80"/>
                      <a:pt x="186" y="80"/>
                      <a:pt x="186" y="80"/>
                    </a:cubicBezTo>
                    <a:cubicBezTo>
                      <a:pt x="187" y="76"/>
                      <a:pt x="190" y="73"/>
                      <a:pt x="195" y="72"/>
                    </a:cubicBezTo>
                    <a:cubicBezTo>
                      <a:pt x="208" y="72"/>
                      <a:pt x="208" y="72"/>
                      <a:pt x="208" y="72"/>
                    </a:cubicBezTo>
                    <a:cubicBezTo>
                      <a:pt x="212" y="73"/>
                      <a:pt x="214" y="76"/>
                      <a:pt x="214" y="79"/>
                    </a:cubicBezTo>
                    <a:cubicBezTo>
                      <a:pt x="214" y="80"/>
                      <a:pt x="214" y="80"/>
                      <a:pt x="214" y="80"/>
                    </a:cubicBezTo>
                    <a:cubicBezTo>
                      <a:pt x="212" y="96"/>
                      <a:pt x="212" y="96"/>
                      <a:pt x="212" y="96"/>
                    </a:cubicBezTo>
                    <a:cubicBezTo>
                      <a:pt x="211" y="100"/>
                      <a:pt x="207" y="104"/>
                      <a:pt x="203" y="104"/>
                    </a:cubicBezTo>
                    <a:cubicBezTo>
                      <a:pt x="188" y="104"/>
                      <a:pt x="188" y="104"/>
                      <a:pt x="188" y="104"/>
                    </a:cubicBezTo>
                    <a:cubicBezTo>
                      <a:pt x="184" y="104"/>
                      <a:pt x="182" y="102"/>
                      <a:pt x="182" y="98"/>
                    </a:cubicBezTo>
                    <a:cubicBezTo>
                      <a:pt x="182" y="98"/>
                      <a:pt x="182" y="97"/>
                      <a:pt x="182" y="96"/>
                    </a:cubicBezTo>
                    <a:close/>
                    <a:moveTo>
                      <a:pt x="139" y="16"/>
                    </a:moveTo>
                    <a:cubicBezTo>
                      <a:pt x="150" y="16"/>
                      <a:pt x="150" y="16"/>
                      <a:pt x="150" y="16"/>
                    </a:cubicBezTo>
                    <a:cubicBezTo>
                      <a:pt x="155" y="44"/>
                      <a:pt x="155" y="44"/>
                      <a:pt x="155" y="44"/>
                    </a:cubicBezTo>
                    <a:cubicBezTo>
                      <a:pt x="132" y="44"/>
                      <a:pt x="132" y="44"/>
                      <a:pt x="132" y="44"/>
                    </a:cubicBezTo>
                    <a:lnTo>
                      <a:pt x="139" y="16"/>
                    </a:lnTo>
                    <a:close/>
                    <a:moveTo>
                      <a:pt x="100" y="96"/>
                    </a:moveTo>
                    <a:cubicBezTo>
                      <a:pt x="108" y="80"/>
                      <a:pt x="108" y="80"/>
                      <a:pt x="108" y="80"/>
                    </a:cubicBezTo>
                    <a:cubicBezTo>
                      <a:pt x="110" y="76"/>
                      <a:pt x="114" y="73"/>
                      <a:pt x="119" y="72"/>
                    </a:cubicBezTo>
                    <a:cubicBezTo>
                      <a:pt x="132" y="72"/>
                      <a:pt x="132" y="72"/>
                      <a:pt x="132" y="72"/>
                    </a:cubicBezTo>
                    <a:cubicBezTo>
                      <a:pt x="136" y="72"/>
                      <a:pt x="138" y="76"/>
                      <a:pt x="136" y="80"/>
                    </a:cubicBezTo>
                    <a:cubicBezTo>
                      <a:pt x="130" y="96"/>
                      <a:pt x="130" y="96"/>
                      <a:pt x="130" y="96"/>
                    </a:cubicBezTo>
                    <a:cubicBezTo>
                      <a:pt x="128" y="100"/>
                      <a:pt x="124" y="104"/>
                      <a:pt x="118" y="104"/>
                    </a:cubicBezTo>
                    <a:cubicBezTo>
                      <a:pt x="103" y="104"/>
                      <a:pt x="103" y="104"/>
                      <a:pt x="103" y="104"/>
                    </a:cubicBezTo>
                    <a:cubicBezTo>
                      <a:pt x="99" y="104"/>
                      <a:pt x="98" y="100"/>
                      <a:pt x="100" y="96"/>
                    </a:cubicBezTo>
                    <a:close/>
                    <a:moveTo>
                      <a:pt x="76" y="134"/>
                    </a:moveTo>
                    <a:cubicBezTo>
                      <a:pt x="84" y="118"/>
                      <a:pt x="84" y="118"/>
                      <a:pt x="84" y="118"/>
                    </a:cubicBezTo>
                    <a:cubicBezTo>
                      <a:pt x="87" y="114"/>
                      <a:pt x="91" y="110"/>
                      <a:pt x="96" y="110"/>
                    </a:cubicBezTo>
                    <a:cubicBezTo>
                      <a:pt x="112" y="110"/>
                      <a:pt x="112" y="110"/>
                      <a:pt x="112" y="110"/>
                    </a:cubicBezTo>
                    <a:cubicBezTo>
                      <a:pt x="116" y="110"/>
                      <a:pt x="118" y="114"/>
                      <a:pt x="116" y="118"/>
                    </a:cubicBezTo>
                    <a:cubicBezTo>
                      <a:pt x="109" y="134"/>
                      <a:pt x="109" y="134"/>
                      <a:pt x="109" y="134"/>
                    </a:cubicBezTo>
                    <a:cubicBezTo>
                      <a:pt x="107" y="138"/>
                      <a:pt x="102" y="141"/>
                      <a:pt x="97" y="142"/>
                    </a:cubicBezTo>
                    <a:cubicBezTo>
                      <a:pt x="80" y="142"/>
                      <a:pt x="80" y="142"/>
                      <a:pt x="80" y="142"/>
                    </a:cubicBezTo>
                    <a:cubicBezTo>
                      <a:pt x="76" y="142"/>
                      <a:pt x="74" y="138"/>
                      <a:pt x="76" y="134"/>
                    </a:cubicBezTo>
                    <a:close/>
                    <a:moveTo>
                      <a:pt x="76" y="179"/>
                    </a:moveTo>
                    <a:cubicBezTo>
                      <a:pt x="57" y="179"/>
                      <a:pt x="57" y="179"/>
                      <a:pt x="57" y="179"/>
                    </a:cubicBezTo>
                    <a:cubicBezTo>
                      <a:pt x="52" y="179"/>
                      <a:pt x="49" y="176"/>
                      <a:pt x="52" y="171"/>
                    </a:cubicBezTo>
                    <a:cubicBezTo>
                      <a:pt x="60" y="156"/>
                      <a:pt x="60" y="156"/>
                      <a:pt x="60" y="156"/>
                    </a:cubicBezTo>
                    <a:cubicBezTo>
                      <a:pt x="63" y="151"/>
                      <a:pt x="68" y="148"/>
                      <a:pt x="73" y="148"/>
                    </a:cubicBezTo>
                    <a:cubicBezTo>
                      <a:pt x="90" y="148"/>
                      <a:pt x="90" y="148"/>
                      <a:pt x="90" y="148"/>
                    </a:cubicBezTo>
                    <a:cubicBezTo>
                      <a:pt x="93" y="147"/>
                      <a:pt x="96" y="149"/>
                      <a:pt x="96" y="152"/>
                    </a:cubicBezTo>
                    <a:cubicBezTo>
                      <a:pt x="96" y="153"/>
                      <a:pt x="96" y="154"/>
                      <a:pt x="96" y="156"/>
                    </a:cubicBezTo>
                    <a:cubicBezTo>
                      <a:pt x="89" y="171"/>
                      <a:pt x="89" y="171"/>
                      <a:pt x="89" y="171"/>
                    </a:cubicBezTo>
                    <a:cubicBezTo>
                      <a:pt x="86" y="176"/>
                      <a:pt x="81" y="179"/>
                      <a:pt x="76" y="179"/>
                    </a:cubicBezTo>
                    <a:close/>
                    <a:moveTo>
                      <a:pt x="138" y="156"/>
                    </a:moveTo>
                    <a:cubicBezTo>
                      <a:pt x="133" y="171"/>
                      <a:pt x="133" y="171"/>
                      <a:pt x="133" y="171"/>
                    </a:cubicBezTo>
                    <a:cubicBezTo>
                      <a:pt x="131" y="176"/>
                      <a:pt x="126" y="179"/>
                      <a:pt x="121" y="179"/>
                    </a:cubicBezTo>
                    <a:cubicBezTo>
                      <a:pt x="102" y="179"/>
                      <a:pt x="102" y="179"/>
                      <a:pt x="102" y="179"/>
                    </a:cubicBezTo>
                    <a:cubicBezTo>
                      <a:pt x="97" y="179"/>
                      <a:pt x="94" y="176"/>
                      <a:pt x="96" y="171"/>
                    </a:cubicBezTo>
                    <a:cubicBezTo>
                      <a:pt x="102" y="156"/>
                      <a:pt x="102" y="156"/>
                      <a:pt x="102" y="156"/>
                    </a:cubicBezTo>
                    <a:cubicBezTo>
                      <a:pt x="105" y="151"/>
                      <a:pt x="109" y="148"/>
                      <a:pt x="114" y="148"/>
                    </a:cubicBezTo>
                    <a:cubicBezTo>
                      <a:pt x="132" y="148"/>
                      <a:pt x="132" y="148"/>
                      <a:pt x="132" y="148"/>
                    </a:cubicBezTo>
                    <a:cubicBezTo>
                      <a:pt x="135" y="147"/>
                      <a:pt x="138" y="149"/>
                      <a:pt x="138" y="152"/>
                    </a:cubicBezTo>
                    <a:cubicBezTo>
                      <a:pt x="138" y="154"/>
                      <a:pt x="138" y="154"/>
                      <a:pt x="138" y="156"/>
                    </a:cubicBezTo>
                    <a:close/>
                    <a:moveTo>
                      <a:pt x="154" y="118"/>
                    </a:moveTo>
                    <a:cubicBezTo>
                      <a:pt x="149" y="134"/>
                      <a:pt x="149" y="134"/>
                      <a:pt x="149" y="134"/>
                    </a:cubicBezTo>
                    <a:cubicBezTo>
                      <a:pt x="148" y="138"/>
                      <a:pt x="143" y="142"/>
                      <a:pt x="138" y="142"/>
                    </a:cubicBezTo>
                    <a:cubicBezTo>
                      <a:pt x="121" y="142"/>
                      <a:pt x="121" y="142"/>
                      <a:pt x="121" y="142"/>
                    </a:cubicBezTo>
                    <a:cubicBezTo>
                      <a:pt x="118" y="142"/>
                      <a:pt x="116" y="140"/>
                      <a:pt x="115" y="137"/>
                    </a:cubicBezTo>
                    <a:cubicBezTo>
                      <a:pt x="115" y="136"/>
                      <a:pt x="115" y="135"/>
                      <a:pt x="116" y="134"/>
                    </a:cubicBezTo>
                    <a:cubicBezTo>
                      <a:pt x="122" y="118"/>
                      <a:pt x="122" y="118"/>
                      <a:pt x="122" y="118"/>
                    </a:cubicBezTo>
                    <a:cubicBezTo>
                      <a:pt x="124" y="114"/>
                      <a:pt x="129" y="110"/>
                      <a:pt x="134" y="110"/>
                    </a:cubicBezTo>
                    <a:cubicBezTo>
                      <a:pt x="149" y="110"/>
                      <a:pt x="149" y="110"/>
                      <a:pt x="149" y="110"/>
                    </a:cubicBezTo>
                    <a:cubicBezTo>
                      <a:pt x="152" y="110"/>
                      <a:pt x="154" y="112"/>
                      <a:pt x="155" y="115"/>
                    </a:cubicBezTo>
                    <a:cubicBezTo>
                      <a:pt x="155" y="116"/>
                      <a:pt x="154" y="117"/>
                      <a:pt x="154" y="118"/>
                    </a:cubicBezTo>
                    <a:close/>
                    <a:moveTo>
                      <a:pt x="155" y="104"/>
                    </a:moveTo>
                    <a:cubicBezTo>
                      <a:pt x="140" y="104"/>
                      <a:pt x="140" y="104"/>
                      <a:pt x="140" y="104"/>
                    </a:cubicBezTo>
                    <a:cubicBezTo>
                      <a:pt x="135" y="104"/>
                      <a:pt x="133" y="100"/>
                      <a:pt x="135" y="96"/>
                    </a:cubicBezTo>
                    <a:cubicBezTo>
                      <a:pt x="142" y="80"/>
                      <a:pt x="142" y="80"/>
                      <a:pt x="142" y="80"/>
                    </a:cubicBezTo>
                    <a:cubicBezTo>
                      <a:pt x="143" y="76"/>
                      <a:pt x="147" y="73"/>
                      <a:pt x="152" y="72"/>
                    </a:cubicBezTo>
                    <a:cubicBezTo>
                      <a:pt x="165" y="72"/>
                      <a:pt x="165" y="72"/>
                      <a:pt x="165" y="72"/>
                    </a:cubicBezTo>
                    <a:cubicBezTo>
                      <a:pt x="169" y="72"/>
                      <a:pt x="171" y="76"/>
                      <a:pt x="170" y="80"/>
                    </a:cubicBezTo>
                    <a:cubicBezTo>
                      <a:pt x="165" y="96"/>
                      <a:pt x="165" y="96"/>
                      <a:pt x="165" y="96"/>
                    </a:cubicBezTo>
                    <a:cubicBezTo>
                      <a:pt x="164" y="100"/>
                      <a:pt x="160" y="104"/>
                      <a:pt x="155" y="104"/>
                    </a:cubicBezTo>
                    <a:close/>
                    <a:moveTo>
                      <a:pt x="203" y="156"/>
                    </a:moveTo>
                    <a:cubicBezTo>
                      <a:pt x="201" y="171"/>
                      <a:pt x="201" y="171"/>
                      <a:pt x="201" y="171"/>
                    </a:cubicBezTo>
                    <a:cubicBezTo>
                      <a:pt x="200" y="176"/>
                      <a:pt x="195" y="180"/>
                      <a:pt x="190" y="179"/>
                    </a:cubicBezTo>
                    <a:cubicBezTo>
                      <a:pt x="171" y="179"/>
                      <a:pt x="171" y="179"/>
                      <a:pt x="171" y="179"/>
                    </a:cubicBezTo>
                    <a:cubicBezTo>
                      <a:pt x="166" y="179"/>
                      <a:pt x="162" y="176"/>
                      <a:pt x="164" y="171"/>
                    </a:cubicBezTo>
                    <a:cubicBezTo>
                      <a:pt x="168" y="156"/>
                      <a:pt x="168" y="156"/>
                      <a:pt x="168" y="156"/>
                    </a:cubicBezTo>
                    <a:cubicBezTo>
                      <a:pt x="169" y="151"/>
                      <a:pt x="174" y="148"/>
                      <a:pt x="178" y="148"/>
                    </a:cubicBezTo>
                    <a:cubicBezTo>
                      <a:pt x="196" y="148"/>
                      <a:pt x="196" y="148"/>
                      <a:pt x="196" y="148"/>
                    </a:cubicBezTo>
                    <a:cubicBezTo>
                      <a:pt x="200" y="147"/>
                      <a:pt x="203" y="150"/>
                      <a:pt x="203" y="154"/>
                    </a:cubicBezTo>
                    <a:cubicBezTo>
                      <a:pt x="203" y="155"/>
                      <a:pt x="203" y="155"/>
                      <a:pt x="203" y="156"/>
                    </a:cubicBezTo>
                    <a:close/>
                    <a:moveTo>
                      <a:pt x="196" y="142"/>
                    </a:moveTo>
                    <a:cubicBezTo>
                      <a:pt x="179" y="142"/>
                      <a:pt x="179" y="142"/>
                      <a:pt x="179" y="142"/>
                    </a:cubicBezTo>
                    <a:cubicBezTo>
                      <a:pt x="176" y="142"/>
                      <a:pt x="173" y="140"/>
                      <a:pt x="172" y="136"/>
                    </a:cubicBezTo>
                    <a:cubicBezTo>
                      <a:pt x="172" y="135"/>
                      <a:pt x="172" y="134"/>
                      <a:pt x="173" y="134"/>
                    </a:cubicBezTo>
                    <a:cubicBezTo>
                      <a:pt x="177" y="118"/>
                      <a:pt x="177" y="118"/>
                      <a:pt x="177" y="118"/>
                    </a:cubicBezTo>
                    <a:cubicBezTo>
                      <a:pt x="178" y="114"/>
                      <a:pt x="182" y="110"/>
                      <a:pt x="187" y="110"/>
                    </a:cubicBezTo>
                    <a:cubicBezTo>
                      <a:pt x="202" y="110"/>
                      <a:pt x="202" y="110"/>
                      <a:pt x="202" y="110"/>
                    </a:cubicBezTo>
                    <a:cubicBezTo>
                      <a:pt x="206" y="110"/>
                      <a:pt x="209" y="113"/>
                      <a:pt x="209" y="116"/>
                    </a:cubicBezTo>
                    <a:cubicBezTo>
                      <a:pt x="209" y="117"/>
                      <a:pt x="209" y="117"/>
                      <a:pt x="209" y="118"/>
                    </a:cubicBezTo>
                    <a:cubicBezTo>
                      <a:pt x="206" y="134"/>
                      <a:pt x="206" y="134"/>
                      <a:pt x="206" y="134"/>
                    </a:cubicBezTo>
                    <a:cubicBezTo>
                      <a:pt x="205" y="138"/>
                      <a:pt x="201" y="142"/>
                      <a:pt x="196" y="142"/>
                    </a:cubicBezTo>
                    <a:close/>
                    <a:moveTo>
                      <a:pt x="245" y="171"/>
                    </a:moveTo>
                    <a:cubicBezTo>
                      <a:pt x="244" y="176"/>
                      <a:pt x="240" y="180"/>
                      <a:pt x="235" y="179"/>
                    </a:cubicBezTo>
                    <a:cubicBezTo>
                      <a:pt x="216" y="179"/>
                      <a:pt x="216" y="179"/>
                      <a:pt x="216" y="179"/>
                    </a:cubicBezTo>
                    <a:cubicBezTo>
                      <a:pt x="211" y="179"/>
                      <a:pt x="207" y="176"/>
                      <a:pt x="207" y="171"/>
                    </a:cubicBezTo>
                    <a:cubicBezTo>
                      <a:pt x="209" y="156"/>
                      <a:pt x="209" y="156"/>
                      <a:pt x="209" y="156"/>
                    </a:cubicBezTo>
                    <a:cubicBezTo>
                      <a:pt x="210" y="151"/>
                      <a:pt x="214" y="148"/>
                      <a:pt x="219" y="148"/>
                    </a:cubicBezTo>
                    <a:cubicBezTo>
                      <a:pt x="236" y="148"/>
                      <a:pt x="236" y="148"/>
                      <a:pt x="236" y="148"/>
                    </a:cubicBezTo>
                    <a:cubicBezTo>
                      <a:pt x="241" y="147"/>
                      <a:pt x="245" y="150"/>
                      <a:pt x="245" y="155"/>
                    </a:cubicBezTo>
                    <a:cubicBezTo>
                      <a:pt x="245" y="155"/>
                      <a:pt x="245" y="155"/>
                      <a:pt x="245" y="156"/>
                    </a:cubicBezTo>
                    <a:lnTo>
                      <a:pt x="245" y="171"/>
                    </a:lnTo>
                    <a:close/>
                    <a:moveTo>
                      <a:pt x="246" y="134"/>
                    </a:moveTo>
                    <a:cubicBezTo>
                      <a:pt x="246" y="138"/>
                      <a:pt x="242" y="142"/>
                      <a:pt x="237" y="142"/>
                    </a:cubicBezTo>
                    <a:cubicBezTo>
                      <a:pt x="220" y="142"/>
                      <a:pt x="220" y="142"/>
                      <a:pt x="220" y="142"/>
                    </a:cubicBezTo>
                    <a:cubicBezTo>
                      <a:pt x="216" y="142"/>
                      <a:pt x="213" y="139"/>
                      <a:pt x="213" y="135"/>
                    </a:cubicBezTo>
                    <a:cubicBezTo>
                      <a:pt x="213" y="134"/>
                      <a:pt x="213" y="134"/>
                      <a:pt x="213" y="134"/>
                    </a:cubicBezTo>
                    <a:cubicBezTo>
                      <a:pt x="215" y="118"/>
                      <a:pt x="215" y="118"/>
                      <a:pt x="215" y="118"/>
                    </a:cubicBezTo>
                    <a:cubicBezTo>
                      <a:pt x="216" y="114"/>
                      <a:pt x="219" y="110"/>
                      <a:pt x="224" y="110"/>
                    </a:cubicBezTo>
                    <a:cubicBezTo>
                      <a:pt x="239" y="110"/>
                      <a:pt x="239" y="110"/>
                      <a:pt x="239" y="110"/>
                    </a:cubicBezTo>
                    <a:cubicBezTo>
                      <a:pt x="243" y="110"/>
                      <a:pt x="246" y="114"/>
                      <a:pt x="246" y="118"/>
                    </a:cubicBezTo>
                    <a:cubicBezTo>
                      <a:pt x="246" y="118"/>
                      <a:pt x="246" y="118"/>
                      <a:pt x="246" y="118"/>
                    </a:cubicBezTo>
                    <a:lnTo>
                      <a:pt x="246" y="134"/>
                    </a:lnTo>
                    <a:close/>
                    <a:moveTo>
                      <a:pt x="247" y="96"/>
                    </a:moveTo>
                    <a:cubicBezTo>
                      <a:pt x="247" y="100"/>
                      <a:pt x="243" y="104"/>
                      <a:pt x="239" y="104"/>
                    </a:cubicBezTo>
                    <a:cubicBezTo>
                      <a:pt x="224" y="104"/>
                      <a:pt x="224" y="104"/>
                      <a:pt x="224" y="104"/>
                    </a:cubicBezTo>
                    <a:cubicBezTo>
                      <a:pt x="220" y="104"/>
                      <a:pt x="217" y="101"/>
                      <a:pt x="217" y="97"/>
                    </a:cubicBezTo>
                    <a:cubicBezTo>
                      <a:pt x="217" y="97"/>
                      <a:pt x="217" y="96"/>
                      <a:pt x="217" y="96"/>
                    </a:cubicBezTo>
                    <a:cubicBezTo>
                      <a:pt x="219" y="80"/>
                      <a:pt x="219" y="80"/>
                      <a:pt x="219" y="80"/>
                    </a:cubicBezTo>
                    <a:cubicBezTo>
                      <a:pt x="220" y="76"/>
                      <a:pt x="223" y="73"/>
                      <a:pt x="227" y="72"/>
                    </a:cubicBezTo>
                    <a:cubicBezTo>
                      <a:pt x="241" y="72"/>
                      <a:pt x="241" y="72"/>
                      <a:pt x="241" y="72"/>
                    </a:cubicBezTo>
                    <a:cubicBezTo>
                      <a:pt x="245" y="73"/>
                      <a:pt x="248" y="76"/>
                      <a:pt x="248" y="80"/>
                    </a:cubicBezTo>
                    <a:cubicBezTo>
                      <a:pt x="248" y="80"/>
                      <a:pt x="248" y="80"/>
                      <a:pt x="248" y="80"/>
                    </a:cubicBezTo>
                    <a:lnTo>
                      <a:pt x="247" y="96"/>
                    </a:lnTo>
                    <a:close/>
                    <a:moveTo>
                      <a:pt x="264" y="80"/>
                    </a:moveTo>
                    <a:cubicBezTo>
                      <a:pt x="263" y="76"/>
                      <a:pt x="266" y="73"/>
                      <a:pt x="270" y="72"/>
                    </a:cubicBezTo>
                    <a:cubicBezTo>
                      <a:pt x="270" y="72"/>
                      <a:pt x="270" y="72"/>
                      <a:pt x="270" y="72"/>
                    </a:cubicBezTo>
                    <a:cubicBezTo>
                      <a:pt x="284" y="72"/>
                      <a:pt x="284" y="72"/>
                      <a:pt x="284" y="72"/>
                    </a:cubicBezTo>
                    <a:cubicBezTo>
                      <a:pt x="288" y="73"/>
                      <a:pt x="292" y="76"/>
                      <a:pt x="292" y="80"/>
                    </a:cubicBezTo>
                    <a:cubicBezTo>
                      <a:pt x="294" y="96"/>
                      <a:pt x="294" y="96"/>
                      <a:pt x="294" y="96"/>
                    </a:cubicBezTo>
                    <a:cubicBezTo>
                      <a:pt x="295" y="100"/>
                      <a:pt x="292" y="103"/>
                      <a:pt x="288" y="104"/>
                    </a:cubicBezTo>
                    <a:cubicBezTo>
                      <a:pt x="288" y="104"/>
                      <a:pt x="288" y="104"/>
                      <a:pt x="287" y="104"/>
                    </a:cubicBezTo>
                    <a:cubicBezTo>
                      <a:pt x="272" y="104"/>
                      <a:pt x="272" y="104"/>
                      <a:pt x="272" y="104"/>
                    </a:cubicBezTo>
                    <a:cubicBezTo>
                      <a:pt x="268" y="104"/>
                      <a:pt x="264" y="100"/>
                      <a:pt x="264" y="96"/>
                    </a:cubicBezTo>
                    <a:lnTo>
                      <a:pt x="264" y="80"/>
                    </a:lnTo>
                    <a:close/>
                    <a:moveTo>
                      <a:pt x="264" y="118"/>
                    </a:moveTo>
                    <a:cubicBezTo>
                      <a:pt x="264" y="114"/>
                      <a:pt x="268" y="110"/>
                      <a:pt x="272" y="110"/>
                    </a:cubicBezTo>
                    <a:cubicBezTo>
                      <a:pt x="272" y="110"/>
                      <a:pt x="272" y="110"/>
                      <a:pt x="272" y="110"/>
                    </a:cubicBezTo>
                    <a:cubicBezTo>
                      <a:pt x="287" y="110"/>
                      <a:pt x="287" y="110"/>
                      <a:pt x="287" y="110"/>
                    </a:cubicBezTo>
                    <a:cubicBezTo>
                      <a:pt x="292" y="110"/>
                      <a:pt x="296" y="114"/>
                      <a:pt x="296" y="118"/>
                    </a:cubicBezTo>
                    <a:cubicBezTo>
                      <a:pt x="298" y="134"/>
                      <a:pt x="298" y="134"/>
                      <a:pt x="298" y="134"/>
                    </a:cubicBezTo>
                    <a:cubicBezTo>
                      <a:pt x="298" y="138"/>
                      <a:pt x="296" y="141"/>
                      <a:pt x="292" y="142"/>
                    </a:cubicBezTo>
                    <a:cubicBezTo>
                      <a:pt x="291" y="142"/>
                      <a:pt x="291" y="142"/>
                      <a:pt x="290" y="142"/>
                    </a:cubicBezTo>
                    <a:cubicBezTo>
                      <a:pt x="274" y="142"/>
                      <a:pt x="274" y="142"/>
                      <a:pt x="274" y="142"/>
                    </a:cubicBezTo>
                    <a:cubicBezTo>
                      <a:pt x="269" y="142"/>
                      <a:pt x="266" y="138"/>
                      <a:pt x="265" y="134"/>
                    </a:cubicBezTo>
                    <a:lnTo>
                      <a:pt x="264" y="118"/>
                    </a:lnTo>
                    <a:close/>
                    <a:moveTo>
                      <a:pt x="295" y="179"/>
                    </a:moveTo>
                    <a:cubicBezTo>
                      <a:pt x="276" y="179"/>
                      <a:pt x="276" y="179"/>
                      <a:pt x="276" y="179"/>
                    </a:cubicBezTo>
                    <a:cubicBezTo>
                      <a:pt x="271" y="180"/>
                      <a:pt x="267" y="176"/>
                      <a:pt x="266" y="171"/>
                    </a:cubicBezTo>
                    <a:cubicBezTo>
                      <a:pt x="266" y="156"/>
                      <a:pt x="266" y="156"/>
                      <a:pt x="266" y="156"/>
                    </a:cubicBezTo>
                    <a:cubicBezTo>
                      <a:pt x="266" y="151"/>
                      <a:pt x="270" y="148"/>
                      <a:pt x="274" y="148"/>
                    </a:cubicBezTo>
                    <a:cubicBezTo>
                      <a:pt x="274" y="148"/>
                      <a:pt x="274" y="148"/>
                      <a:pt x="274" y="148"/>
                    </a:cubicBezTo>
                    <a:cubicBezTo>
                      <a:pt x="292" y="148"/>
                      <a:pt x="292" y="148"/>
                      <a:pt x="292" y="148"/>
                    </a:cubicBezTo>
                    <a:cubicBezTo>
                      <a:pt x="296" y="148"/>
                      <a:pt x="300" y="151"/>
                      <a:pt x="301" y="156"/>
                    </a:cubicBezTo>
                    <a:cubicBezTo>
                      <a:pt x="303" y="171"/>
                      <a:pt x="303" y="171"/>
                      <a:pt x="303" y="171"/>
                    </a:cubicBezTo>
                    <a:cubicBezTo>
                      <a:pt x="304" y="176"/>
                      <a:pt x="300" y="179"/>
                      <a:pt x="295" y="179"/>
                    </a:cubicBezTo>
                    <a:close/>
                    <a:moveTo>
                      <a:pt x="305" y="134"/>
                    </a:moveTo>
                    <a:cubicBezTo>
                      <a:pt x="302" y="118"/>
                      <a:pt x="302" y="118"/>
                      <a:pt x="302" y="118"/>
                    </a:cubicBezTo>
                    <a:cubicBezTo>
                      <a:pt x="302" y="114"/>
                      <a:pt x="304" y="111"/>
                      <a:pt x="308" y="110"/>
                    </a:cubicBezTo>
                    <a:cubicBezTo>
                      <a:pt x="308" y="110"/>
                      <a:pt x="308" y="110"/>
                      <a:pt x="309" y="110"/>
                    </a:cubicBezTo>
                    <a:cubicBezTo>
                      <a:pt x="324" y="110"/>
                      <a:pt x="324" y="110"/>
                      <a:pt x="324" y="110"/>
                    </a:cubicBezTo>
                    <a:cubicBezTo>
                      <a:pt x="329" y="110"/>
                      <a:pt x="333" y="114"/>
                      <a:pt x="334" y="118"/>
                    </a:cubicBezTo>
                    <a:cubicBezTo>
                      <a:pt x="338" y="134"/>
                      <a:pt x="338" y="134"/>
                      <a:pt x="338" y="134"/>
                    </a:cubicBezTo>
                    <a:cubicBezTo>
                      <a:pt x="339" y="137"/>
                      <a:pt x="337" y="140"/>
                      <a:pt x="334" y="141"/>
                    </a:cubicBezTo>
                    <a:cubicBezTo>
                      <a:pt x="333" y="142"/>
                      <a:pt x="332" y="142"/>
                      <a:pt x="331" y="142"/>
                    </a:cubicBezTo>
                    <a:cubicBezTo>
                      <a:pt x="314" y="142"/>
                      <a:pt x="314" y="142"/>
                      <a:pt x="314" y="142"/>
                    </a:cubicBezTo>
                    <a:cubicBezTo>
                      <a:pt x="310" y="142"/>
                      <a:pt x="306" y="138"/>
                      <a:pt x="305" y="134"/>
                    </a:cubicBezTo>
                    <a:close/>
                    <a:moveTo>
                      <a:pt x="340" y="179"/>
                    </a:moveTo>
                    <a:cubicBezTo>
                      <a:pt x="321" y="179"/>
                      <a:pt x="321" y="179"/>
                      <a:pt x="321" y="179"/>
                    </a:cubicBezTo>
                    <a:cubicBezTo>
                      <a:pt x="316" y="180"/>
                      <a:pt x="311" y="176"/>
                      <a:pt x="310" y="171"/>
                    </a:cubicBezTo>
                    <a:cubicBezTo>
                      <a:pt x="308" y="156"/>
                      <a:pt x="308" y="156"/>
                      <a:pt x="308" y="156"/>
                    </a:cubicBezTo>
                    <a:cubicBezTo>
                      <a:pt x="307" y="152"/>
                      <a:pt x="310" y="148"/>
                      <a:pt x="314" y="148"/>
                    </a:cubicBezTo>
                    <a:cubicBezTo>
                      <a:pt x="314" y="148"/>
                      <a:pt x="314" y="148"/>
                      <a:pt x="315" y="148"/>
                    </a:cubicBezTo>
                    <a:cubicBezTo>
                      <a:pt x="332" y="148"/>
                      <a:pt x="332" y="148"/>
                      <a:pt x="332" y="148"/>
                    </a:cubicBezTo>
                    <a:cubicBezTo>
                      <a:pt x="337" y="148"/>
                      <a:pt x="342" y="151"/>
                      <a:pt x="343" y="156"/>
                    </a:cubicBezTo>
                    <a:cubicBezTo>
                      <a:pt x="347" y="171"/>
                      <a:pt x="347" y="171"/>
                      <a:pt x="347" y="171"/>
                    </a:cubicBezTo>
                    <a:cubicBezTo>
                      <a:pt x="348" y="176"/>
                      <a:pt x="345" y="179"/>
                      <a:pt x="340" y="179"/>
                    </a:cubicBezTo>
                    <a:close/>
                    <a:moveTo>
                      <a:pt x="346" y="96"/>
                    </a:moveTo>
                    <a:cubicBezTo>
                      <a:pt x="341" y="80"/>
                      <a:pt x="341" y="80"/>
                      <a:pt x="341" y="80"/>
                    </a:cubicBezTo>
                    <a:cubicBezTo>
                      <a:pt x="340" y="76"/>
                      <a:pt x="342" y="72"/>
                      <a:pt x="346" y="72"/>
                    </a:cubicBezTo>
                    <a:cubicBezTo>
                      <a:pt x="359" y="72"/>
                      <a:pt x="359" y="72"/>
                      <a:pt x="359" y="72"/>
                    </a:cubicBezTo>
                    <a:cubicBezTo>
                      <a:pt x="364" y="73"/>
                      <a:pt x="368" y="76"/>
                      <a:pt x="369" y="80"/>
                    </a:cubicBezTo>
                    <a:cubicBezTo>
                      <a:pt x="376" y="96"/>
                      <a:pt x="376" y="96"/>
                      <a:pt x="376" y="96"/>
                    </a:cubicBezTo>
                    <a:cubicBezTo>
                      <a:pt x="377" y="100"/>
                      <a:pt x="375" y="104"/>
                      <a:pt x="371" y="104"/>
                    </a:cubicBezTo>
                    <a:cubicBezTo>
                      <a:pt x="356" y="104"/>
                      <a:pt x="356" y="104"/>
                      <a:pt x="356" y="104"/>
                    </a:cubicBezTo>
                    <a:cubicBezTo>
                      <a:pt x="352" y="104"/>
                      <a:pt x="348" y="100"/>
                      <a:pt x="346" y="96"/>
                    </a:cubicBezTo>
                    <a:close/>
                    <a:moveTo>
                      <a:pt x="362" y="134"/>
                    </a:moveTo>
                    <a:cubicBezTo>
                      <a:pt x="357" y="118"/>
                      <a:pt x="357" y="118"/>
                      <a:pt x="357" y="118"/>
                    </a:cubicBezTo>
                    <a:cubicBezTo>
                      <a:pt x="356" y="115"/>
                      <a:pt x="357" y="112"/>
                      <a:pt x="360" y="110"/>
                    </a:cubicBezTo>
                    <a:cubicBezTo>
                      <a:pt x="360" y="110"/>
                      <a:pt x="361" y="110"/>
                      <a:pt x="362" y="110"/>
                    </a:cubicBezTo>
                    <a:cubicBezTo>
                      <a:pt x="378" y="110"/>
                      <a:pt x="378" y="110"/>
                      <a:pt x="378" y="110"/>
                    </a:cubicBezTo>
                    <a:cubicBezTo>
                      <a:pt x="382" y="110"/>
                      <a:pt x="387" y="114"/>
                      <a:pt x="389" y="118"/>
                    </a:cubicBezTo>
                    <a:cubicBezTo>
                      <a:pt x="395" y="134"/>
                      <a:pt x="395" y="134"/>
                      <a:pt x="395" y="134"/>
                    </a:cubicBezTo>
                    <a:cubicBezTo>
                      <a:pt x="397" y="136"/>
                      <a:pt x="396" y="140"/>
                      <a:pt x="393" y="141"/>
                    </a:cubicBezTo>
                    <a:cubicBezTo>
                      <a:pt x="392" y="141"/>
                      <a:pt x="391" y="142"/>
                      <a:pt x="390" y="142"/>
                    </a:cubicBezTo>
                    <a:cubicBezTo>
                      <a:pt x="373" y="142"/>
                      <a:pt x="373" y="142"/>
                      <a:pt x="373" y="142"/>
                    </a:cubicBezTo>
                    <a:cubicBezTo>
                      <a:pt x="368" y="142"/>
                      <a:pt x="363" y="138"/>
                      <a:pt x="362" y="134"/>
                    </a:cubicBezTo>
                    <a:close/>
                    <a:moveTo>
                      <a:pt x="409" y="179"/>
                    </a:moveTo>
                    <a:cubicBezTo>
                      <a:pt x="390" y="179"/>
                      <a:pt x="390" y="179"/>
                      <a:pt x="390" y="179"/>
                    </a:cubicBezTo>
                    <a:cubicBezTo>
                      <a:pt x="385" y="179"/>
                      <a:pt x="380" y="176"/>
                      <a:pt x="378" y="171"/>
                    </a:cubicBezTo>
                    <a:cubicBezTo>
                      <a:pt x="373" y="156"/>
                      <a:pt x="373" y="156"/>
                      <a:pt x="373" y="156"/>
                    </a:cubicBezTo>
                    <a:cubicBezTo>
                      <a:pt x="372" y="152"/>
                      <a:pt x="373" y="149"/>
                      <a:pt x="376" y="148"/>
                    </a:cubicBezTo>
                    <a:cubicBezTo>
                      <a:pt x="377" y="148"/>
                      <a:pt x="378" y="148"/>
                      <a:pt x="379" y="148"/>
                    </a:cubicBezTo>
                    <a:cubicBezTo>
                      <a:pt x="396" y="148"/>
                      <a:pt x="396" y="148"/>
                      <a:pt x="396" y="148"/>
                    </a:cubicBezTo>
                    <a:cubicBezTo>
                      <a:pt x="401" y="148"/>
                      <a:pt x="406" y="151"/>
                      <a:pt x="408" y="156"/>
                    </a:cubicBezTo>
                    <a:cubicBezTo>
                      <a:pt x="415" y="171"/>
                      <a:pt x="415" y="171"/>
                      <a:pt x="415" y="171"/>
                    </a:cubicBezTo>
                    <a:cubicBezTo>
                      <a:pt x="417" y="176"/>
                      <a:pt x="414" y="179"/>
                      <a:pt x="409" y="179"/>
                    </a:cubicBezTo>
                    <a:close/>
                    <a:moveTo>
                      <a:pt x="454" y="179"/>
                    </a:moveTo>
                    <a:cubicBezTo>
                      <a:pt x="435" y="179"/>
                      <a:pt x="435" y="179"/>
                      <a:pt x="435" y="179"/>
                    </a:cubicBezTo>
                    <a:cubicBezTo>
                      <a:pt x="430" y="179"/>
                      <a:pt x="425" y="176"/>
                      <a:pt x="422" y="171"/>
                    </a:cubicBezTo>
                    <a:cubicBezTo>
                      <a:pt x="415" y="156"/>
                      <a:pt x="415" y="156"/>
                      <a:pt x="415" y="156"/>
                    </a:cubicBezTo>
                    <a:cubicBezTo>
                      <a:pt x="414" y="153"/>
                      <a:pt x="414" y="150"/>
                      <a:pt x="417" y="148"/>
                    </a:cubicBezTo>
                    <a:cubicBezTo>
                      <a:pt x="418" y="148"/>
                      <a:pt x="419" y="148"/>
                      <a:pt x="420" y="148"/>
                    </a:cubicBezTo>
                    <a:cubicBezTo>
                      <a:pt x="438" y="148"/>
                      <a:pt x="438" y="148"/>
                      <a:pt x="438" y="148"/>
                    </a:cubicBezTo>
                    <a:cubicBezTo>
                      <a:pt x="443" y="148"/>
                      <a:pt x="448" y="151"/>
                      <a:pt x="451" y="156"/>
                    </a:cubicBezTo>
                    <a:cubicBezTo>
                      <a:pt x="459" y="171"/>
                      <a:pt x="459" y="171"/>
                      <a:pt x="459" y="171"/>
                    </a:cubicBezTo>
                    <a:cubicBezTo>
                      <a:pt x="462" y="176"/>
                      <a:pt x="460" y="179"/>
                      <a:pt x="454" y="17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914126">
                  <a:defRPr/>
                </a:pPr>
                <a:endParaRPr lang="en-GB">
                  <a:solidFill>
                    <a:srgbClr val="3B3B3B"/>
                  </a:solidFill>
                  <a:latin typeface="EnBW DIN Pro"/>
                </a:endParaRPr>
              </a:p>
            </p:txBody>
          </p:sp>
        </p:grpSp>
        <p:sp>
          <p:nvSpPr>
            <p:cNvPr id="252" name="Freeform 14">
              <a:extLst>
                <a:ext uri="{FF2B5EF4-FFF2-40B4-BE49-F238E27FC236}">
                  <a16:creationId xmlns:a16="http://schemas.microsoft.com/office/drawing/2014/main" id="{0236BA0E-5DA6-4972-8E97-EBB7D6E59D93}"/>
                </a:ext>
              </a:extLst>
            </p:cNvPr>
            <p:cNvSpPr>
              <a:spLocks noChangeAspect="1" noEditPoints="1"/>
            </p:cNvSpPr>
            <p:nvPr>
              <p:custDataLst>
                <p:custData r:id="rId12"/>
              </p:custDataLst>
            </p:nvPr>
          </p:nvSpPr>
          <p:spPr bwMode="auto">
            <a:xfrm flipH="1">
              <a:off x="6975209" y="4829185"/>
              <a:ext cx="58741" cy="115561"/>
            </a:xfrm>
            <a:custGeom>
              <a:avLst/>
              <a:gdLst>
                <a:gd name="T0" fmla="*/ 129 w 172"/>
                <a:gd name="T1" fmla="*/ 9 h 342"/>
                <a:gd name="T2" fmla="*/ 120 w 172"/>
                <a:gd name="T3" fmla="*/ 9 h 342"/>
                <a:gd name="T4" fmla="*/ 120 w 172"/>
                <a:gd name="T5" fmla="*/ 0 h 342"/>
                <a:gd name="T6" fmla="*/ 52 w 172"/>
                <a:gd name="T7" fmla="*/ 0 h 342"/>
                <a:gd name="T8" fmla="*/ 52 w 172"/>
                <a:gd name="T9" fmla="*/ 9 h 342"/>
                <a:gd name="T10" fmla="*/ 43 w 172"/>
                <a:gd name="T11" fmla="*/ 9 h 342"/>
                <a:gd name="T12" fmla="*/ 43 w 172"/>
                <a:gd name="T13" fmla="*/ 22 h 342"/>
                <a:gd name="T14" fmla="*/ 129 w 172"/>
                <a:gd name="T15" fmla="*/ 22 h 342"/>
                <a:gd name="T16" fmla="*/ 129 w 172"/>
                <a:gd name="T17" fmla="*/ 9 h 342"/>
                <a:gd name="T18" fmla="*/ 162 w 172"/>
                <a:gd name="T19" fmla="*/ 30 h 342"/>
                <a:gd name="T20" fmla="*/ 10 w 172"/>
                <a:gd name="T21" fmla="*/ 30 h 342"/>
                <a:gd name="T22" fmla="*/ 0 w 172"/>
                <a:gd name="T23" fmla="*/ 40 h 342"/>
                <a:gd name="T24" fmla="*/ 0 w 172"/>
                <a:gd name="T25" fmla="*/ 332 h 342"/>
                <a:gd name="T26" fmla="*/ 10 w 172"/>
                <a:gd name="T27" fmla="*/ 342 h 342"/>
                <a:gd name="T28" fmla="*/ 162 w 172"/>
                <a:gd name="T29" fmla="*/ 342 h 342"/>
                <a:gd name="T30" fmla="*/ 172 w 172"/>
                <a:gd name="T31" fmla="*/ 332 h 342"/>
                <a:gd name="T32" fmla="*/ 172 w 172"/>
                <a:gd name="T33" fmla="*/ 40 h 342"/>
                <a:gd name="T34" fmla="*/ 162 w 172"/>
                <a:gd name="T35" fmla="*/ 30 h 342"/>
                <a:gd name="T36" fmla="*/ 160 w 172"/>
                <a:gd name="T37" fmla="*/ 330 h 342"/>
                <a:gd name="T38" fmla="*/ 12 w 172"/>
                <a:gd name="T39" fmla="*/ 330 h 342"/>
                <a:gd name="T40" fmla="*/ 12 w 172"/>
                <a:gd name="T41" fmla="*/ 42 h 342"/>
                <a:gd name="T42" fmla="*/ 160 w 172"/>
                <a:gd name="T43" fmla="*/ 42 h 342"/>
                <a:gd name="T44" fmla="*/ 160 w 172"/>
                <a:gd name="T45" fmla="*/ 330 h 342"/>
                <a:gd name="T46" fmla="*/ 140 w 172"/>
                <a:gd name="T47" fmla="*/ 64 h 342"/>
                <a:gd name="T48" fmla="*/ 32 w 172"/>
                <a:gd name="T49" fmla="*/ 64 h 342"/>
                <a:gd name="T50" fmla="*/ 32 w 172"/>
                <a:gd name="T51" fmla="*/ 309 h 342"/>
                <a:gd name="T52" fmla="*/ 140 w 172"/>
                <a:gd name="T53" fmla="*/ 309 h 342"/>
                <a:gd name="T54" fmla="*/ 140 w 172"/>
                <a:gd name="T55" fmla="*/ 64 h 342"/>
                <a:gd name="T56" fmla="*/ 109 w 172"/>
                <a:gd name="T57" fmla="*/ 273 h 342"/>
                <a:gd name="T58" fmla="*/ 63 w 172"/>
                <a:gd name="T59" fmla="*/ 273 h 342"/>
                <a:gd name="T60" fmla="*/ 56 w 172"/>
                <a:gd name="T61" fmla="*/ 266 h 342"/>
                <a:gd name="T62" fmla="*/ 63 w 172"/>
                <a:gd name="T63" fmla="*/ 260 h 342"/>
                <a:gd name="T64" fmla="*/ 109 w 172"/>
                <a:gd name="T65" fmla="*/ 260 h 342"/>
                <a:gd name="T66" fmla="*/ 116 w 172"/>
                <a:gd name="T67" fmla="*/ 266 h 342"/>
                <a:gd name="T68" fmla="*/ 109 w 172"/>
                <a:gd name="T69" fmla="*/ 273 h 342"/>
                <a:gd name="T70" fmla="*/ 109 w 172"/>
                <a:gd name="T71" fmla="*/ 128 h 342"/>
                <a:gd name="T72" fmla="*/ 93 w 172"/>
                <a:gd name="T73" fmla="*/ 128 h 342"/>
                <a:gd name="T74" fmla="*/ 93 w 172"/>
                <a:gd name="T75" fmla="*/ 145 h 342"/>
                <a:gd name="T76" fmla="*/ 86 w 172"/>
                <a:gd name="T77" fmla="*/ 151 h 342"/>
                <a:gd name="T78" fmla="*/ 79 w 172"/>
                <a:gd name="T79" fmla="*/ 145 h 342"/>
                <a:gd name="T80" fmla="*/ 79 w 172"/>
                <a:gd name="T81" fmla="*/ 128 h 342"/>
                <a:gd name="T82" fmla="*/ 63 w 172"/>
                <a:gd name="T83" fmla="*/ 128 h 342"/>
                <a:gd name="T84" fmla="*/ 56 w 172"/>
                <a:gd name="T85" fmla="*/ 122 h 342"/>
                <a:gd name="T86" fmla="*/ 63 w 172"/>
                <a:gd name="T87" fmla="*/ 115 h 342"/>
                <a:gd name="T88" fmla="*/ 79 w 172"/>
                <a:gd name="T89" fmla="*/ 115 h 342"/>
                <a:gd name="T90" fmla="*/ 79 w 172"/>
                <a:gd name="T91" fmla="*/ 98 h 342"/>
                <a:gd name="T92" fmla="*/ 86 w 172"/>
                <a:gd name="T93" fmla="*/ 92 h 342"/>
                <a:gd name="T94" fmla="*/ 93 w 172"/>
                <a:gd name="T95" fmla="*/ 98 h 342"/>
                <a:gd name="T96" fmla="*/ 93 w 172"/>
                <a:gd name="T97" fmla="*/ 115 h 342"/>
                <a:gd name="T98" fmla="*/ 109 w 172"/>
                <a:gd name="T99" fmla="*/ 115 h 342"/>
                <a:gd name="T100" fmla="*/ 116 w 172"/>
                <a:gd name="T101" fmla="*/ 122 h 342"/>
                <a:gd name="T102" fmla="*/ 109 w 172"/>
                <a:gd name="T103" fmla="*/ 128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72" h="342">
                  <a:moveTo>
                    <a:pt x="129" y="9"/>
                  </a:moveTo>
                  <a:cubicBezTo>
                    <a:pt x="120" y="9"/>
                    <a:pt x="120" y="9"/>
                    <a:pt x="120" y="9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2" y="9"/>
                    <a:pt x="52" y="9"/>
                    <a:pt x="52" y="9"/>
                  </a:cubicBezTo>
                  <a:cubicBezTo>
                    <a:pt x="43" y="9"/>
                    <a:pt x="43" y="9"/>
                    <a:pt x="43" y="9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129" y="22"/>
                    <a:pt x="129" y="22"/>
                    <a:pt x="129" y="22"/>
                  </a:cubicBezTo>
                  <a:lnTo>
                    <a:pt x="129" y="9"/>
                  </a:lnTo>
                  <a:close/>
                  <a:moveTo>
                    <a:pt x="162" y="30"/>
                  </a:moveTo>
                  <a:cubicBezTo>
                    <a:pt x="10" y="30"/>
                    <a:pt x="10" y="30"/>
                    <a:pt x="10" y="30"/>
                  </a:cubicBezTo>
                  <a:cubicBezTo>
                    <a:pt x="4" y="30"/>
                    <a:pt x="0" y="35"/>
                    <a:pt x="0" y="40"/>
                  </a:cubicBezTo>
                  <a:cubicBezTo>
                    <a:pt x="0" y="332"/>
                    <a:pt x="0" y="332"/>
                    <a:pt x="0" y="332"/>
                  </a:cubicBezTo>
                  <a:cubicBezTo>
                    <a:pt x="0" y="338"/>
                    <a:pt x="4" y="342"/>
                    <a:pt x="10" y="342"/>
                  </a:cubicBezTo>
                  <a:cubicBezTo>
                    <a:pt x="162" y="342"/>
                    <a:pt x="162" y="342"/>
                    <a:pt x="162" y="342"/>
                  </a:cubicBezTo>
                  <a:cubicBezTo>
                    <a:pt x="168" y="342"/>
                    <a:pt x="172" y="338"/>
                    <a:pt x="172" y="332"/>
                  </a:cubicBezTo>
                  <a:cubicBezTo>
                    <a:pt x="172" y="40"/>
                    <a:pt x="172" y="40"/>
                    <a:pt x="172" y="40"/>
                  </a:cubicBezTo>
                  <a:cubicBezTo>
                    <a:pt x="172" y="35"/>
                    <a:pt x="168" y="30"/>
                    <a:pt x="162" y="30"/>
                  </a:cubicBezTo>
                  <a:close/>
                  <a:moveTo>
                    <a:pt x="160" y="330"/>
                  </a:moveTo>
                  <a:cubicBezTo>
                    <a:pt x="12" y="330"/>
                    <a:pt x="12" y="330"/>
                    <a:pt x="12" y="330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60" y="42"/>
                    <a:pt x="160" y="42"/>
                    <a:pt x="160" y="42"/>
                  </a:cubicBezTo>
                  <a:lnTo>
                    <a:pt x="160" y="330"/>
                  </a:lnTo>
                  <a:close/>
                  <a:moveTo>
                    <a:pt x="140" y="64"/>
                  </a:moveTo>
                  <a:cubicBezTo>
                    <a:pt x="32" y="64"/>
                    <a:pt x="32" y="64"/>
                    <a:pt x="32" y="64"/>
                  </a:cubicBezTo>
                  <a:cubicBezTo>
                    <a:pt x="32" y="309"/>
                    <a:pt x="32" y="309"/>
                    <a:pt x="32" y="309"/>
                  </a:cubicBezTo>
                  <a:cubicBezTo>
                    <a:pt x="140" y="309"/>
                    <a:pt x="140" y="309"/>
                    <a:pt x="140" y="309"/>
                  </a:cubicBezTo>
                  <a:lnTo>
                    <a:pt x="140" y="64"/>
                  </a:lnTo>
                  <a:close/>
                  <a:moveTo>
                    <a:pt x="109" y="273"/>
                  </a:moveTo>
                  <a:cubicBezTo>
                    <a:pt x="63" y="273"/>
                    <a:pt x="63" y="273"/>
                    <a:pt x="63" y="273"/>
                  </a:cubicBezTo>
                  <a:cubicBezTo>
                    <a:pt x="59" y="273"/>
                    <a:pt x="56" y="270"/>
                    <a:pt x="56" y="266"/>
                  </a:cubicBezTo>
                  <a:cubicBezTo>
                    <a:pt x="56" y="263"/>
                    <a:pt x="59" y="260"/>
                    <a:pt x="63" y="260"/>
                  </a:cubicBezTo>
                  <a:cubicBezTo>
                    <a:pt x="109" y="260"/>
                    <a:pt x="109" y="260"/>
                    <a:pt x="109" y="260"/>
                  </a:cubicBezTo>
                  <a:cubicBezTo>
                    <a:pt x="113" y="260"/>
                    <a:pt x="116" y="263"/>
                    <a:pt x="116" y="266"/>
                  </a:cubicBezTo>
                  <a:cubicBezTo>
                    <a:pt x="116" y="270"/>
                    <a:pt x="113" y="273"/>
                    <a:pt x="109" y="273"/>
                  </a:cubicBezTo>
                  <a:close/>
                  <a:moveTo>
                    <a:pt x="109" y="128"/>
                  </a:moveTo>
                  <a:cubicBezTo>
                    <a:pt x="93" y="128"/>
                    <a:pt x="93" y="128"/>
                    <a:pt x="93" y="128"/>
                  </a:cubicBezTo>
                  <a:cubicBezTo>
                    <a:pt x="93" y="145"/>
                    <a:pt x="93" y="145"/>
                    <a:pt x="93" y="145"/>
                  </a:cubicBezTo>
                  <a:cubicBezTo>
                    <a:pt x="93" y="148"/>
                    <a:pt x="90" y="151"/>
                    <a:pt x="86" y="151"/>
                  </a:cubicBezTo>
                  <a:cubicBezTo>
                    <a:pt x="82" y="151"/>
                    <a:pt x="79" y="148"/>
                    <a:pt x="79" y="145"/>
                  </a:cubicBezTo>
                  <a:cubicBezTo>
                    <a:pt x="79" y="128"/>
                    <a:pt x="79" y="128"/>
                    <a:pt x="79" y="128"/>
                  </a:cubicBezTo>
                  <a:cubicBezTo>
                    <a:pt x="63" y="128"/>
                    <a:pt x="63" y="128"/>
                    <a:pt x="63" y="128"/>
                  </a:cubicBezTo>
                  <a:cubicBezTo>
                    <a:pt x="59" y="128"/>
                    <a:pt x="56" y="125"/>
                    <a:pt x="56" y="122"/>
                  </a:cubicBezTo>
                  <a:cubicBezTo>
                    <a:pt x="56" y="118"/>
                    <a:pt x="59" y="115"/>
                    <a:pt x="63" y="115"/>
                  </a:cubicBezTo>
                  <a:cubicBezTo>
                    <a:pt x="79" y="115"/>
                    <a:pt x="79" y="115"/>
                    <a:pt x="79" y="115"/>
                  </a:cubicBezTo>
                  <a:cubicBezTo>
                    <a:pt x="79" y="98"/>
                    <a:pt x="79" y="98"/>
                    <a:pt x="79" y="98"/>
                  </a:cubicBezTo>
                  <a:cubicBezTo>
                    <a:pt x="79" y="95"/>
                    <a:pt x="82" y="92"/>
                    <a:pt x="86" y="92"/>
                  </a:cubicBezTo>
                  <a:cubicBezTo>
                    <a:pt x="90" y="92"/>
                    <a:pt x="93" y="95"/>
                    <a:pt x="93" y="98"/>
                  </a:cubicBezTo>
                  <a:cubicBezTo>
                    <a:pt x="93" y="115"/>
                    <a:pt x="93" y="115"/>
                    <a:pt x="93" y="115"/>
                  </a:cubicBezTo>
                  <a:cubicBezTo>
                    <a:pt x="109" y="115"/>
                    <a:pt x="109" y="115"/>
                    <a:pt x="109" y="115"/>
                  </a:cubicBezTo>
                  <a:cubicBezTo>
                    <a:pt x="113" y="115"/>
                    <a:pt x="116" y="118"/>
                    <a:pt x="116" y="122"/>
                  </a:cubicBezTo>
                  <a:cubicBezTo>
                    <a:pt x="116" y="125"/>
                    <a:pt x="113" y="128"/>
                    <a:pt x="109" y="12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algn="ctr" defTabSz="914126">
                <a:defRPr/>
              </a:pPr>
              <a:endParaRPr lang="en-GB">
                <a:solidFill>
                  <a:srgbClr val="3B3B3B"/>
                </a:solidFill>
                <a:latin typeface="EnBW DIN Pro"/>
              </a:endParaRPr>
            </a:p>
          </p:txBody>
        </p:sp>
      </p:grpSp>
      <p:sp>
        <p:nvSpPr>
          <p:cNvPr id="159" name="Rounded Rectangle 72">
            <a:extLst>
              <a:ext uri="{FF2B5EF4-FFF2-40B4-BE49-F238E27FC236}">
                <a16:creationId xmlns:a16="http://schemas.microsoft.com/office/drawing/2014/main" id="{0890E3F1-F96D-4215-84D1-EAD2019760F8}"/>
              </a:ext>
            </a:extLst>
          </p:cNvPr>
          <p:cNvSpPr>
            <a:spLocks noChangeAspect="1"/>
          </p:cNvSpPr>
          <p:nvPr>
            <p:custDataLst>
              <p:custData r:id="rId5"/>
            </p:custDataLst>
          </p:nvPr>
        </p:nvSpPr>
        <p:spPr bwMode="gray">
          <a:xfrm>
            <a:off x="8548746" y="4338860"/>
            <a:ext cx="349280" cy="366068"/>
          </a:xfrm>
          <a:custGeom>
            <a:avLst/>
            <a:gdLst/>
            <a:ahLst/>
            <a:cxnLst/>
            <a:rect l="l" t="t" r="r" b="b"/>
            <a:pathLst>
              <a:path w="884856" h="910848">
                <a:moveTo>
                  <a:pt x="158796" y="846796"/>
                </a:moveTo>
                <a:lnTo>
                  <a:pt x="369594" y="846796"/>
                </a:lnTo>
                <a:cubicBezTo>
                  <a:pt x="375490" y="846796"/>
                  <a:pt x="380269" y="851576"/>
                  <a:pt x="380269" y="857472"/>
                </a:cubicBezTo>
                <a:lnTo>
                  <a:pt x="380269" y="900173"/>
                </a:lnTo>
                <a:cubicBezTo>
                  <a:pt x="380269" y="906068"/>
                  <a:pt x="375490" y="910848"/>
                  <a:pt x="369594" y="910848"/>
                </a:cubicBezTo>
                <a:lnTo>
                  <a:pt x="158796" y="910848"/>
                </a:lnTo>
                <a:cubicBezTo>
                  <a:pt x="152900" y="910848"/>
                  <a:pt x="148120" y="906068"/>
                  <a:pt x="148120" y="900173"/>
                </a:cubicBezTo>
                <a:lnTo>
                  <a:pt x="148120" y="857472"/>
                </a:lnTo>
                <a:cubicBezTo>
                  <a:pt x="148120" y="851576"/>
                  <a:pt x="152900" y="846796"/>
                  <a:pt x="158796" y="846796"/>
                </a:cubicBezTo>
                <a:close/>
                <a:moveTo>
                  <a:pt x="453748" y="734482"/>
                </a:moveTo>
                <a:lnTo>
                  <a:pt x="664546" y="734482"/>
                </a:lnTo>
                <a:cubicBezTo>
                  <a:pt x="670442" y="734482"/>
                  <a:pt x="675221" y="739262"/>
                  <a:pt x="675221" y="745158"/>
                </a:cubicBezTo>
                <a:lnTo>
                  <a:pt x="675221" y="787858"/>
                </a:lnTo>
                <a:cubicBezTo>
                  <a:pt x="675221" y="793754"/>
                  <a:pt x="670442" y="798534"/>
                  <a:pt x="664546" y="798534"/>
                </a:cubicBezTo>
                <a:lnTo>
                  <a:pt x="453748" y="798534"/>
                </a:lnTo>
                <a:cubicBezTo>
                  <a:pt x="447852" y="798534"/>
                  <a:pt x="443072" y="793754"/>
                  <a:pt x="443072" y="787858"/>
                </a:cubicBezTo>
                <a:lnTo>
                  <a:pt x="443072" y="745158"/>
                </a:lnTo>
                <a:cubicBezTo>
                  <a:pt x="443072" y="739262"/>
                  <a:pt x="447852" y="734482"/>
                  <a:pt x="453748" y="734482"/>
                </a:cubicBezTo>
                <a:close/>
                <a:moveTo>
                  <a:pt x="534211" y="531948"/>
                </a:moveTo>
                <a:lnTo>
                  <a:pt x="584411" y="539738"/>
                </a:lnTo>
                <a:lnTo>
                  <a:pt x="592293" y="726818"/>
                </a:lnTo>
                <a:lnTo>
                  <a:pt x="526001" y="726818"/>
                </a:lnTo>
                <a:close/>
                <a:moveTo>
                  <a:pt x="335993" y="501190"/>
                </a:moveTo>
                <a:lnTo>
                  <a:pt x="350716" y="503475"/>
                </a:lnTo>
                <a:lnTo>
                  <a:pt x="294952" y="541258"/>
                </a:lnTo>
                <a:close/>
                <a:moveTo>
                  <a:pt x="277075" y="462729"/>
                </a:moveTo>
                <a:lnTo>
                  <a:pt x="281791" y="470046"/>
                </a:lnTo>
                <a:lnTo>
                  <a:pt x="297341" y="839132"/>
                </a:lnTo>
                <a:lnTo>
                  <a:pt x="231049" y="839132"/>
                </a:lnTo>
                <a:lnTo>
                  <a:pt x="245318" y="500445"/>
                </a:lnTo>
                <a:lnTo>
                  <a:pt x="259908" y="490909"/>
                </a:lnTo>
                <a:lnTo>
                  <a:pt x="262082" y="468082"/>
                </a:lnTo>
                <a:cubicBezTo>
                  <a:pt x="262282" y="468191"/>
                  <a:pt x="262485" y="468194"/>
                  <a:pt x="262689" y="468194"/>
                </a:cubicBezTo>
                <a:cubicBezTo>
                  <a:pt x="268253" y="468194"/>
                  <a:pt x="273388" y="466362"/>
                  <a:pt x="277075" y="462729"/>
                </a:cubicBezTo>
                <a:close/>
                <a:moveTo>
                  <a:pt x="238067" y="442524"/>
                </a:moveTo>
                <a:lnTo>
                  <a:pt x="237892" y="443396"/>
                </a:lnTo>
                <a:cubicBezTo>
                  <a:pt x="237892" y="453729"/>
                  <a:pt x="244212" y="462585"/>
                  <a:pt x="253210" y="466280"/>
                </a:cubicBezTo>
                <a:lnTo>
                  <a:pt x="245848" y="486996"/>
                </a:lnTo>
                <a:lnTo>
                  <a:pt x="0" y="653572"/>
                </a:lnTo>
                <a:lnTo>
                  <a:pt x="212489" y="446118"/>
                </a:lnTo>
                <a:close/>
                <a:moveTo>
                  <a:pt x="311780" y="425334"/>
                </a:moveTo>
                <a:lnTo>
                  <a:pt x="589904" y="529431"/>
                </a:lnTo>
                <a:lnTo>
                  <a:pt x="297748" y="476195"/>
                </a:lnTo>
                <a:lnTo>
                  <a:pt x="281519" y="459008"/>
                </a:lnTo>
                <a:cubicBezTo>
                  <a:pt x="285343" y="454930"/>
                  <a:pt x="287486" y="449413"/>
                  <a:pt x="287486" y="443396"/>
                </a:cubicBezTo>
                <a:cubicBezTo>
                  <a:pt x="287486" y="439621"/>
                  <a:pt x="286643" y="436044"/>
                  <a:pt x="284979" y="432915"/>
                </a:cubicBezTo>
                <a:close/>
                <a:moveTo>
                  <a:pt x="262689" y="425023"/>
                </a:moveTo>
                <a:cubicBezTo>
                  <a:pt x="272159" y="425023"/>
                  <a:pt x="279836" y="433249"/>
                  <a:pt x="279836" y="443396"/>
                </a:cubicBezTo>
                <a:cubicBezTo>
                  <a:pt x="279836" y="453544"/>
                  <a:pt x="272159" y="461770"/>
                  <a:pt x="262689" y="461770"/>
                </a:cubicBezTo>
                <a:cubicBezTo>
                  <a:pt x="253219" y="461770"/>
                  <a:pt x="245542" y="453544"/>
                  <a:pt x="245542" y="443396"/>
                </a:cubicBezTo>
                <a:cubicBezTo>
                  <a:pt x="245542" y="433249"/>
                  <a:pt x="253219" y="425023"/>
                  <a:pt x="262689" y="425023"/>
                </a:cubicBezTo>
                <a:close/>
                <a:moveTo>
                  <a:pt x="572027" y="350415"/>
                </a:moveTo>
                <a:lnTo>
                  <a:pt x="576743" y="357732"/>
                </a:lnTo>
                <a:lnTo>
                  <a:pt x="583328" y="514039"/>
                </a:lnTo>
                <a:lnTo>
                  <a:pt x="535708" y="496419"/>
                </a:lnTo>
                <a:lnTo>
                  <a:pt x="540270" y="388131"/>
                </a:lnTo>
                <a:lnTo>
                  <a:pt x="554860" y="378595"/>
                </a:lnTo>
                <a:lnTo>
                  <a:pt x="557034" y="355768"/>
                </a:lnTo>
                <a:cubicBezTo>
                  <a:pt x="557234" y="355877"/>
                  <a:pt x="557437" y="355880"/>
                  <a:pt x="557641" y="355880"/>
                </a:cubicBezTo>
                <a:cubicBezTo>
                  <a:pt x="563205" y="355880"/>
                  <a:pt x="568341" y="354048"/>
                  <a:pt x="572027" y="350415"/>
                </a:cubicBezTo>
                <a:close/>
                <a:moveTo>
                  <a:pt x="533020" y="330210"/>
                </a:moveTo>
                <a:lnTo>
                  <a:pt x="532844" y="331082"/>
                </a:lnTo>
                <a:cubicBezTo>
                  <a:pt x="532844" y="341415"/>
                  <a:pt x="539164" y="350271"/>
                  <a:pt x="548163" y="353966"/>
                </a:cubicBezTo>
                <a:lnTo>
                  <a:pt x="540800" y="374682"/>
                </a:lnTo>
                <a:lnTo>
                  <a:pt x="422791" y="454640"/>
                </a:lnTo>
                <a:lnTo>
                  <a:pt x="394424" y="444144"/>
                </a:lnTo>
                <a:lnTo>
                  <a:pt x="507442" y="333804"/>
                </a:lnTo>
                <a:close/>
                <a:moveTo>
                  <a:pt x="606732" y="313020"/>
                </a:moveTo>
                <a:lnTo>
                  <a:pt x="884856" y="417117"/>
                </a:lnTo>
                <a:lnTo>
                  <a:pt x="592700" y="363881"/>
                </a:lnTo>
                <a:lnTo>
                  <a:pt x="576471" y="346694"/>
                </a:lnTo>
                <a:cubicBezTo>
                  <a:pt x="580295" y="342616"/>
                  <a:pt x="582439" y="337099"/>
                  <a:pt x="582439" y="331082"/>
                </a:cubicBezTo>
                <a:cubicBezTo>
                  <a:pt x="582439" y="327307"/>
                  <a:pt x="581595" y="323730"/>
                  <a:pt x="579931" y="320601"/>
                </a:cubicBezTo>
                <a:close/>
                <a:moveTo>
                  <a:pt x="557641" y="312709"/>
                </a:moveTo>
                <a:cubicBezTo>
                  <a:pt x="567112" y="312709"/>
                  <a:pt x="574789" y="320935"/>
                  <a:pt x="574789" y="331082"/>
                </a:cubicBezTo>
                <a:cubicBezTo>
                  <a:pt x="574789" y="341230"/>
                  <a:pt x="567112" y="349456"/>
                  <a:pt x="557641" y="349456"/>
                </a:cubicBezTo>
                <a:cubicBezTo>
                  <a:pt x="548171" y="349456"/>
                  <a:pt x="540494" y="341230"/>
                  <a:pt x="540494" y="331082"/>
                </a:cubicBezTo>
                <a:cubicBezTo>
                  <a:pt x="540494" y="320935"/>
                  <a:pt x="548171" y="312709"/>
                  <a:pt x="557641" y="312709"/>
                </a:cubicBezTo>
                <a:close/>
                <a:moveTo>
                  <a:pt x="181680" y="112314"/>
                </a:moveTo>
                <a:lnTo>
                  <a:pt x="277200" y="393499"/>
                </a:lnTo>
                <a:lnTo>
                  <a:pt x="268867" y="419846"/>
                </a:lnTo>
                <a:lnTo>
                  <a:pt x="262689" y="418598"/>
                </a:lnTo>
                <a:cubicBezTo>
                  <a:pt x="255994" y="418599"/>
                  <a:pt x="249918" y="421252"/>
                  <a:pt x="245511" y="425621"/>
                </a:cubicBezTo>
                <a:lnTo>
                  <a:pt x="225933" y="405965"/>
                </a:lnTo>
                <a:close/>
                <a:moveTo>
                  <a:pt x="476633" y="0"/>
                </a:moveTo>
                <a:lnTo>
                  <a:pt x="572153" y="281185"/>
                </a:lnTo>
                <a:lnTo>
                  <a:pt x="563819" y="307532"/>
                </a:lnTo>
                <a:lnTo>
                  <a:pt x="557641" y="306284"/>
                </a:lnTo>
                <a:cubicBezTo>
                  <a:pt x="550946" y="306285"/>
                  <a:pt x="544871" y="308938"/>
                  <a:pt x="540464" y="313307"/>
                </a:cubicBezTo>
                <a:lnTo>
                  <a:pt x="520885" y="293651"/>
                </a:lnTo>
                <a:close/>
              </a:path>
            </a:pathLst>
          </a:cu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>
              <a:defRPr/>
            </a:pPr>
            <a:endParaRPr lang="en-US" err="1">
              <a:solidFill>
                <a:srgbClr val="3B3B3B"/>
              </a:solidFill>
              <a:latin typeface="EnBW DIN Pro"/>
            </a:endParaRPr>
          </a:p>
        </p:txBody>
      </p:sp>
      <p:sp>
        <p:nvSpPr>
          <p:cNvPr id="165" name="Rounded Rectangle 72">
            <a:extLst>
              <a:ext uri="{FF2B5EF4-FFF2-40B4-BE49-F238E27FC236}">
                <a16:creationId xmlns:a16="http://schemas.microsoft.com/office/drawing/2014/main" id="{C246717B-642B-4098-9E84-DE7D66A08151}"/>
              </a:ext>
            </a:extLst>
          </p:cNvPr>
          <p:cNvSpPr>
            <a:spLocks noChangeAspect="1"/>
          </p:cNvSpPr>
          <p:nvPr>
            <p:custDataLst>
              <p:custData r:id="rId6"/>
            </p:custDataLst>
          </p:nvPr>
        </p:nvSpPr>
        <p:spPr bwMode="gray">
          <a:xfrm>
            <a:off x="8804827" y="4438760"/>
            <a:ext cx="349280" cy="366068"/>
          </a:xfrm>
          <a:custGeom>
            <a:avLst/>
            <a:gdLst/>
            <a:ahLst/>
            <a:cxnLst/>
            <a:rect l="l" t="t" r="r" b="b"/>
            <a:pathLst>
              <a:path w="884856" h="910848">
                <a:moveTo>
                  <a:pt x="158796" y="846796"/>
                </a:moveTo>
                <a:lnTo>
                  <a:pt x="369594" y="846796"/>
                </a:lnTo>
                <a:cubicBezTo>
                  <a:pt x="375490" y="846796"/>
                  <a:pt x="380269" y="851576"/>
                  <a:pt x="380269" y="857472"/>
                </a:cubicBezTo>
                <a:lnTo>
                  <a:pt x="380269" y="900173"/>
                </a:lnTo>
                <a:cubicBezTo>
                  <a:pt x="380269" y="906068"/>
                  <a:pt x="375490" y="910848"/>
                  <a:pt x="369594" y="910848"/>
                </a:cubicBezTo>
                <a:lnTo>
                  <a:pt x="158796" y="910848"/>
                </a:lnTo>
                <a:cubicBezTo>
                  <a:pt x="152900" y="910848"/>
                  <a:pt x="148120" y="906068"/>
                  <a:pt x="148120" y="900173"/>
                </a:cubicBezTo>
                <a:lnTo>
                  <a:pt x="148120" y="857472"/>
                </a:lnTo>
                <a:cubicBezTo>
                  <a:pt x="148120" y="851576"/>
                  <a:pt x="152900" y="846796"/>
                  <a:pt x="158796" y="846796"/>
                </a:cubicBezTo>
                <a:close/>
                <a:moveTo>
                  <a:pt x="453748" y="734482"/>
                </a:moveTo>
                <a:lnTo>
                  <a:pt x="664546" y="734482"/>
                </a:lnTo>
                <a:cubicBezTo>
                  <a:pt x="670442" y="734482"/>
                  <a:pt x="675221" y="739262"/>
                  <a:pt x="675221" y="745158"/>
                </a:cubicBezTo>
                <a:lnTo>
                  <a:pt x="675221" y="787858"/>
                </a:lnTo>
                <a:cubicBezTo>
                  <a:pt x="675221" y="793754"/>
                  <a:pt x="670442" y="798534"/>
                  <a:pt x="664546" y="798534"/>
                </a:cubicBezTo>
                <a:lnTo>
                  <a:pt x="453748" y="798534"/>
                </a:lnTo>
                <a:cubicBezTo>
                  <a:pt x="447852" y="798534"/>
                  <a:pt x="443072" y="793754"/>
                  <a:pt x="443072" y="787858"/>
                </a:cubicBezTo>
                <a:lnTo>
                  <a:pt x="443072" y="745158"/>
                </a:lnTo>
                <a:cubicBezTo>
                  <a:pt x="443072" y="739262"/>
                  <a:pt x="447852" y="734482"/>
                  <a:pt x="453748" y="734482"/>
                </a:cubicBezTo>
                <a:close/>
                <a:moveTo>
                  <a:pt x="534211" y="531948"/>
                </a:moveTo>
                <a:lnTo>
                  <a:pt x="584411" y="539738"/>
                </a:lnTo>
                <a:lnTo>
                  <a:pt x="592293" y="726818"/>
                </a:lnTo>
                <a:lnTo>
                  <a:pt x="526001" y="726818"/>
                </a:lnTo>
                <a:close/>
                <a:moveTo>
                  <a:pt x="335993" y="501190"/>
                </a:moveTo>
                <a:lnTo>
                  <a:pt x="350716" y="503475"/>
                </a:lnTo>
                <a:lnTo>
                  <a:pt x="294952" y="541258"/>
                </a:lnTo>
                <a:close/>
                <a:moveTo>
                  <a:pt x="277075" y="462729"/>
                </a:moveTo>
                <a:lnTo>
                  <a:pt x="281791" y="470046"/>
                </a:lnTo>
                <a:lnTo>
                  <a:pt x="297341" y="839132"/>
                </a:lnTo>
                <a:lnTo>
                  <a:pt x="231049" y="839132"/>
                </a:lnTo>
                <a:lnTo>
                  <a:pt x="245318" y="500445"/>
                </a:lnTo>
                <a:lnTo>
                  <a:pt x="259908" y="490909"/>
                </a:lnTo>
                <a:lnTo>
                  <a:pt x="262082" y="468082"/>
                </a:lnTo>
                <a:cubicBezTo>
                  <a:pt x="262282" y="468191"/>
                  <a:pt x="262485" y="468194"/>
                  <a:pt x="262689" y="468194"/>
                </a:cubicBezTo>
                <a:cubicBezTo>
                  <a:pt x="268253" y="468194"/>
                  <a:pt x="273388" y="466362"/>
                  <a:pt x="277075" y="462729"/>
                </a:cubicBezTo>
                <a:close/>
                <a:moveTo>
                  <a:pt x="238067" y="442524"/>
                </a:moveTo>
                <a:lnTo>
                  <a:pt x="237892" y="443396"/>
                </a:lnTo>
                <a:cubicBezTo>
                  <a:pt x="237892" y="453729"/>
                  <a:pt x="244212" y="462585"/>
                  <a:pt x="253210" y="466280"/>
                </a:cubicBezTo>
                <a:lnTo>
                  <a:pt x="245848" y="486996"/>
                </a:lnTo>
                <a:lnTo>
                  <a:pt x="0" y="653572"/>
                </a:lnTo>
                <a:lnTo>
                  <a:pt x="212489" y="446118"/>
                </a:lnTo>
                <a:close/>
                <a:moveTo>
                  <a:pt x="311780" y="425334"/>
                </a:moveTo>
                <a:lnTo>
                  <a:pt x="589904" y="529431"/>
                </a:lnTo>
                <a:lnTo>
                  <a:pt x="297748" y="476195"/>
                </a:lnTo>
                <a:lnTo>
                  <a:pt x="281519" y="459008"/>
                </a:lnTo>
                <a:cubicBezTo>
                  <a:pt x="285343" y="454930"/>
                  <a:pt x="287486" y="449413"/>
                  <a:pt x="287486" y="443396"/>
                </a:cubicBezTo>
                <a:cubicBezTo>
                  <a:pt x="287486" y="439621"/>
                  <a:pt x="286643" y="436044"/>
                  <a:pt x="284979" y="432915"/>
                </a:cubicBezTo>
                <a:close/>
                <a:moveTo>
                  <a:pt x="262689" y="425023"/>
                </a:moveTo>
                <a:cubicBezTo>
                  <a:pt x="272159" y="425023"/>
                  <a:pt x="279836" y="433249"/>
                  <a:pt x="279836" y="443396"/>
                </a:cubicBezTo>
                <a:cubicBezTo>
                  <a:pt x="279836" y="453544"/>
                  <a:pt x="272159" y="461770"/>
                  <a:pt x="262689" y="461770"/>
                </a:cubicBezTo>
                <a:cubicBezTo>
                  <a:pt x="253219" y="461770"/>
                  <a:pt x="245542" y="453544"/>
                  <a:pt x="245542" y="443396"/>
                </a:cubicBezTo>
                <a:cubicBezTo>
                  <a:pt x="245542" y="433249"/>
                  <a:pt x="253219" y="425023"/>
                  <a:pt x="262689" y="425023"/>
                </a:cubicBezTo>
                <a:close/>
                <a:moveTo>
                  <a:pt x="572027" y="350415"/>
                </a:moveTo>
                <a:lnTo>
                  <a:pt x="576743" y="357732"/>
                </a:lnTo>
                <a:lnTo>
                  <a:pt x="583328" y="514039"/>
                </a:lnTo>
                <a:lnTo>
                  <a:pt x="535708" y="496419"/>
                </a:lnTo>
                <a:lnTo>
                  <a:pt x="540270" y="388131"/>
                </a:lnTo>
                <a:lnTo>
                  <a:pt x="554860" y="378595"/>
                </a:lnTo>
                <a:lnTo>
                  <a:pt x="557034" y="355768"/>
                </a:lnTo>
                <a:cubicBezTo>
                  <a:pt x="557234" y="355877"/>
                  <a:pt x="557437" y="355880"/>
                  <a:pt x="557641" y="355880"/>
                </a:cubicBezTo>
                <a:cubicBezTo>
                  <a:pt x="563205" y="355880"/>
                  <a:pt x="568341" y="354048"/>
                  <a:pt x="572027" y="350415"/>
                </a:cubicBezTo>
                <a:close/>
                <a:moveTo>
                  <a:pt x="533020" y="330210"/>
                </a:moveTo>
                <a:lnTo>
                  <a:pt x="532844" y="331082"/>
                </a:lnTo>
                <a:cubicBezTo>
                  <a:pt x="532844" y="341415"/>
                  <a:pt x="539164" y="350271"/>
                  <a:pt x="548163" y="353966"/>
                </a:cubicBezTo>
                <a:lnTo>
                  <a:pt x="540800" y="374682"/>
                </a:lnTo>
                <a:lnTo>
                  <a:pt x="422791" y="454640"/>
                </a:lnTo>
                <a:lnTo>
                  <a:pt x="394424" y="444144"/>
                </a:lnTo>
                <a:lnTo>
                  <a:pt x="507442" y="333804"/>
                </a:lnTo>
                <a:close/>
                <a:moveTo>
                  <a:pt x="606732" y="313020"/>
                </a:moveTo>
                <a:lnTo>
                  <a:pt x="884856" y="417117"/>
                </a:lnTo>
                <a:lnTo>
                  <a:pt x="592700" y="363881"/>
                </a:lnTo>
                <a:lnTo>
                  <a:pt x="576471" y="346694"/>
                </a:lnTo>
                <a:cubicBezTo>
                  <a:pt x="580295" y="342616"/>
                  <a:pt x="582439" y="337099"/>
                  <a:pt x="582439" y="331082"/>
                </a:cubicBezTo>
                <a:cubicBezTo>
                  <a:pt x="582439" y="327307"/>
                  <a:pt x="581595" y="323730"/>
                  <a:pt x="579931" y="320601"/>
                </a:cubicBezTo>
                <a:close/>
                <a:moveTo>
                  <a:pt x="557641" y="312709"/>
                </a:moveTo>
                <a:cubicBezTo>
                  <a:pt x="567112" y="312709"/>
                  <a:pt x="574789" y="320935"/>
                  <a:pt x="574789" y="331082"/>
                </a:cubicBezTo>
                <a:cubicBezTo>
                  <a:pt x="574789" y="341230"/>
                  <a:pt x="567112" y="349456"/>
                  <a:pt x="557641" y="349456"/>
                </a:cubicBezTo>
                <a:cubicBezTo>
                  <a:pt x="548171" y="349456"/>
                  <a:pt x="540494" y="341230"/>
                  <a:pt x="540494" y="331082"/>
                </a:cubicBezTo>
                <a:cubicBezTo>
                  <a:pt x="540494" y="320935"/>
                  <a:pt x="548171" y="312709"/>
                  <a:pt x="557641" y="312709"/>
                </a:cubicBezTo>
                <a:close/>
                <a:moveTo>
                  <a:pt x="181680" y="112314"/>
                </a:moveTo>
                <a:lnTo>
                  <a:pt x="277200" y="393499"/>
                </a:lnTo>
                <a:lnTo>
                  <a:pt x="268867" y="419846"/>
                </a:lnTo>
                <a:lnTo>
                  <a:pt x="262689" y="418598"/>
                </a:lnTo>
                <a:cubicBezTo>
                  <a:pt x="255994" y="418599"/>
                  <a:pt x="249918" y="421252"/>
                  <a:pt x="245511" y="425621"/>
                </a:cubicBezTo>
                <a:lnTo>
                  <a:pt x="225933" y="405965"/>
                </a:lnTo>
                <a:close/>
                <a:moveTo>
                  <a:pt x="476633" y="0"/>
                </a:moveTo>
                <a:lnTo>
                  <a:pt x="572153" y="281185"/>
                </a:lnTo>
                <a:lnTo>
                  <a:pt x="563819" y="307532"/>
                </a:lnTo>
                <a:lnTo>
                  <a:pt x="557641" y="306284"/>
                </a:lnTo>
                <a:cubicBezTo>
                  <a:pt x="550946" y="306285"/>
                  <a:pt x="544871" y="308938"/>
                  <a:pt x="540464" y="313307"/>
                </a:cubicBezTo>
                <a:lnTo>
                  <a:pt x="520885" y="293651"/>
                </a:lnTo>
                <a:close/>
              </a:path>
            </a:pathLst>
          </a:cu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>
              <a:defRPr/>
            </a:pPr>
            <a:endParaRPr lang="en-US" err="1">
              <a:solidFill>
                <a:srgbClr val="3B3B3B"/>
              </a:solidFill>
              <a:latin typeface="EnBW DIN Pro"/>
            </a:endParaRPr>
          </a:p>
        </p:txBody>
      </p:sp>
      <p:sp>
        <p:nvSpPr>
          <p:cNvPr id="170" name="Oval 14">
            <a:extLst>
              <a:ext uri="{FF2B5EF4-FFF2-40B4-BE49-F238E27FC236}">
                <a16:creationId xmlns:a16="http://schemas.microsoft.com/office/drawing/2014/main" id="{49E59CF0-3A00-436A-A2F2-7E874829D8B2}"/>
              </a:ext>
            </a:extLst>
          </p:cNvPr>
          <p:cNvSpPr>
            <a:spLocks noChangeArrowheads="1"/>
          </p:cNvSpPr>
          <p:nvPr>
            <p:custDataLst>
              <p:custData r:id="rId7"/>
            </p:custDataLst>
          </p:nvPr>
        </p:nvSpPr>
        <p:spPr bwMode="gray">
          <a:xfrm>
            <a:off x="9275591" y="4476329"/>
            <a:ext cx="171577" cy="150316"/>
          </a:xfrm>
          <a:custGeom>
            <a:avLst/>
            <a:gdLst/>
            <a:ahLst/>
            <a:cxnLst/>
            <a:rect l="l" t="t" r="r" b="b"/>
            <a:pathLst>
              <a:path w="520564" h="503647">
                <a:moveTo>
                  <a:pt x="247951" y="476889"/>
                </a:moveTo>
                <a:lnTo>
                  <a:pt x="386499" y="476889"/>
                </a:lnTo>
                <a:lnTo>
                  <a:pt x="389675" y="492767"/>
                </a:lnTo>
                <a:cubicBezTo>
                  <a:pt x="390862" y="498642"/>
                  <a:pt x="391299" y="503768"/>
                  <a:pt x="384236" y="503644"/>
                </a:cubicBezTo>
                <a:lnTo>
                  <a:pt x="253709" y="503644"/>
                </a:lnTo>
                <a:cubicBezTo>
                  <a:pt x="247809" y="503742"/>
                  <a:pt x="244909" y="501592"/>
                  <a:pt x="245007" y="494942"/>
                </a:cubicBezTo>
                <a:close/>
                <a:moveTo>
                  <a:pt x="250305" y="462447"/>
                </a:moveTo>
                <a:lnTo>
                  <a:pt x="383611" y="462447"/>
                </a:lnTo>
                <a:lnTo>
                  <a:pt x="385347" y="471130"/>
                </a:lnTo>
                <a:lnTo>
                  <a:pt x="248890" y="471130"/>
                </a:lnTo>
                <a:close/>
                <a:moveTo>
                  <a:pt x="278727" y="387258"/>
                </a:moveTo>
                <a:lnTo>
                  <a:pt x="364657" y="387258"/>
                </a:lnTo>
                <a:cubicBezTo>
                  <a:pt x="368720" y="386796"/>
                  <a:pt x="368283" y="392334"/>
                  <a:pt x="370096" y="394872"/>
                </a:cubicBezTo>
                <a:lnTo>
                  <a:pt x="382459" y="456687"/>
                </a:lnTo>
                <a:lnTo>
                  <a:pt x="251245" y="456687"/>
                </a:lnTo>
                <a:lnTo>
                  <a:pt x="261323" y="394872"/>
                </a:lnTo>
                <a:cubicBezTo>
                  <a:pt x="267125" y="386896"/>
                  <a:pt x="268912" y="387694"/>
                  <a:pt x="278727" y="387258"/>
                </a:cubicBezTo>
                <a:close/>
                <a:moveTo>
                  <a:pt x="130478" y="301453"/>
                </a:moveTo>
                <a:lnTo>
                  <a:pt x="249050" y="301453"/>
                </a:lnTo>
                <a:lnTo>
                  <a:pt x="240206" y="373480"/>
                </a:lnTo>
                <a:lnTo>
                  <a:pt x="155089" y="373480"/>
                </a:lnTo>
                <a:cubicBezTo>
                  <a:pt x="134301" y="372997"/>
                  <a:pt x="116776" y="367074"/>
                  <a:pt x="118831" y="345924"/>
                </a:cubicBezTo>
                <a:close/>
                <a:moveTo>
                  <a:pt x="391395" y="301452"/>
                </a:moveTo>
                <a:lnTo>
                  <a:pt x="511087" y="301452"/>
                </a:lnTo>
                <a:lnTo>
                  <a:pt x="520564" y="345924"/>
                </a:lnTo>
                <a:cubicBezTo>
                  <a:pt x="519839" y="361636"/>
                  <a:pt x="516939" y="372997"/>
                  <a:pt x="485757" y="373480"/>
                </a:cubicBezTo>
                <a:lnTo>
                  <a:pt x="400239" y="373480"/>
                </a:lnTo>
                <a:close/>
                <a:moveTo>
                  <a:pt x="261674" y="301452"/>
                </a:moveTo>
                <a:lnTo>
                  <a:pt x="378770" y="301453"/>
                </a:lnTo>
                <a:lnTo>
                  <a:pt x="387614" y="373480"/>
                </a:lnTo>
                <a:lnTo>
                  <a:pt x="252830" y="373480"/>
                </a:lnTo>
                <a:close/>
                <a:moveTo>
                  <a:pt x="382447" y="228575"/>
                </a:moveTo>
                <a:lnTo>
                  <a:pt x="495556" y="228575"/>
                </a:lnTo>
                <a:lnTo>
                  <a:pt x="508417" y="288922"/>
                </a:lnTo>
                <a:lnTo>
                  <a:pt x="389856" y="288922"/>
                </a:lnTo>
                <a:close/>
                <a:moveTo>
                  <a:pt x="270623" y="228575"/>
                </a:moveTo>
                <a:lnTo>
                  <a:pt x="369822" y="228575"/>
                </a:lnTo>
                <a:lnTo>
                  <a:pt x="377232" y="288922"/>
                </a:lnTo>
                <a:lnTo>
                  <a:pt x="263213" y="288922"/>
                </a:lnTo>
                <a:close/>
                <a:moveTo>
                  <a:pt x="149566" y="228575"/>
                </a:moveTo>
                <a:lnTo>
                  <a:pt x="161915" y="228575"/>
                </a:lnTo>
                <a:cubicBezTo>
                  <a:pt x="165526" y="236635"/>
                  <a:pt x="176094" y="238785"/>
                  <a:pt x="184366" y="234081"/>
                </a:cubicBezTo>
                <a:cubicBezTo>
                  <a:pt x="186471" y="232884"/>
                  <a:pt x="188205" y="231317"/>
                  <a:pt x="188228" y="228575"/>
                </a:cubicBezTo>
                <a:lnTo>
                  <a:pt x="257998" y="228575"/>
                </a:lnTo>
                <a:lnTo>
                  <a:pt x="250588" y="288922"/>
                </a:lnTo>
                <a:lnTo>
                  <a:pt x="133760" y="288922"/>
                </a:lnTo>
                <a:close/>
                <a:moveTo>
                  <a:pt x="153205" y="214681"/>
                </a:moveTo>
                <a:lnTo>
                  <a:pt x="154026" y="216044"/>
                </a:lnTo>
                <a:lnTo>
                  <a:pt x="152848" y="216044"/>
                </a:lnTo>
                <a:close/>
                <a:moveTo>
                  <a:pt x="107908" y="207125"/>
                </a:moveTo>
                <a:cubicBezTo>
                  <a:pt x="111322" y="207982"/>
                  <a:pt x="115590" y="207982"/>
                  <a:pt x="119857" y="207982"/>
                </a:cubicBezTo>
                <a:lnTo>
                  <a:pt x="131807" y="207125"/>
                </a:lnTo>
                <a:cubicBezTo>
                  <a:pt x="131807" y="207135"/>
                  <a:pt x="131807" y="207579"/>
                  <a:pt x="131807" y="227707"/>
                </a:cubicBezTo>
                <a:cubicBezTo>
                  <a:pt x="131807" y="234568"/>
                  <a:pt x="126685" y="239714"/>
                  <a:pt x="120711" y="239714"/>
                </a:cubicBezTo>
                <a:cubicBezTo>
                  <a:pt x="120707" y="239714"/>
                  <a:pt x="120681" y="239714"/>
                  <a:pt x="120497" y="239714"/>
                </a:cubicBezTo>
                <a:lnTo>
                  <a:pt x="119004" y="239714"/>
                </a:lnTo>
                <a:cubicBezTo>
                  <a:pt x="113029" y="239714"/>
                  <a:pt x="107908" y="234568"/>
                  <a:pt x="107908" y="227707"/>
                </a:cubicBezTo>
                <a:cubicBezTo>
                  <a:pt x="107908" y="227697"/>
                  <a:pt x="107908" y="227248"/>
                  <a:pt x="107908" y="207125"/>
                </a:cubicBezTo>
                <a:close/>
                <a:moveTo>
                  <a:pt x="174671" y="189019"/>
                </a:moveTo>
                <a:lnTo>
                  <a:pt x="184131" y="206993"/>
                </a:lnTo>
                <a:cubicBezTo>
                  <a:pt x="187571" y="212128"/>
                  <a:pt x="185851" y="219831"/>
                  <a:pt x="179831" y="223255"/>
                </a:cubicBezTo>
                <a:cubicBezTo>
                  <a:pt x="173811" y="226678"/>
                  <a:pt x="166071" y="224967"/>
                  <a:pt x="163491" y="218975"/>
                </a:cubicBezTo>
                <a:cubicBezTo>
                  <a:pt x="163486" y="218967"/>
                  <a:pt x="163260" y="218592"/>
                  <a:pt x="153171" y="201858"/>
                </a:cubicBezTo>
                <a:cubicBezTo>
                  <a:pt x="160911" y="198434"/>
                  <a:pt x="167791" y="194155"/>
                  <a:pt x="174671" y="189019"/>
                </a:cubicBezTo>
                <a:close/>
                <a:moveTo>
                  <a:pt x="65044" y="189019"/>
                </a:moveTo>
                <a:cubicBezTo>
                  <a:pt x="71924" y="194155"/>
                  <a:pt x="78804" y="198434"/>
                  <a:pt x="86544" y="201858"/>
                </a:cubicBezTo>
                <a:cubicBezTo>
                  <a:pt x="86540" y="201865"/>
                  <a:pt x="86343" y="202220"/>
                  <a:pt x="77084" y="218975"/>
                </a:cubicBezTo>
                <a:cubicBezTo>
                  <a:pt x="73644" y="224967"/>
                  <a:pt x="65903" y="226678"/>
                  <a:pt x="60743" y="223255"/>
                </a:cubicBezTo>
                <a:cubicBezTo>
                  <a:pt x="53864" y="219831"/>
                  <a:pt x="52143" y="212128"/>
                  <a:pt x="55584" y="206993"/>
                </a:cubicBezTo>
                <a:cubicBezTo>
                  <a:pt x="55588" y="206985"/>
                  <a:pt x="55784" y="206613"/>
                  <a:pt x="65044" y="189019"/>
                </a:cubicBezTo>
                <a:close/>
                <a:moveTo>
                  <a:pt x="201858" y="153171"/>
                </a:moveTo>
                <a:cubicBezTo>
                  <a:pt x="201867" y="153176"/>
                  <a:pt x="202248" y="153406"/>
                  <a:pt x="218976" y="163491"/>
                </a:cubicBezTo>
                <a:cubicBezTo>
                  <a:pt x="224967" y="166071"/>
                  <a:pt x="226678" y="173811"/>
                  <a:pt x="223255" y="178971"/>
                </a:cubicBezTo>
                <a:cubicBezTo>
                  <a:pt x="219831" y="185851"/>
                  <a:pt x="212129" y="187571"/>
                  <a:pt x="206993" y="184131"/>
                </a:cubicBezTo>
                <a:cubicBezTo>
                  <a:pt x="206984" y="184126"/>
                  <a:pt x="206590" y="183919"/>
                  <a:pt x="189019" y="174671"/>
                </a:cubicBezTo>
                <a:cubicBezTo>
                  <a:pt x="194155" y="167791"/>
                  <a:pt x="198434" y="160911"/>
                  <a:pt x="201858" y="153171"/>
                </a:cubicBezTo>
                <a:close/>
                <a:moveTo>
                  <a:pt x="37857" y="153171"/>
                </a:moveTo>
                <a:cubicBezTo>
                  <a:pt x="41280" y="160911"/>
                  <a:pt x="45560" y="167791"/>
                  <a:pt x="50695" y="174671"/>
                </a:cubicBezTo>
                <a:cubicBezTo>
                  <a:pt x="50687" y="174675"/>
                  <a:pt x="50304" y="174877"/>
                  <a:pt x="32721" y="184131"/>
                </a:cubicBezTo>
                <a:cubicBezTo>
                  <a:pt x="27586" y="187571"/>
                  <a:pt x="19883" y="185851"/>
                  <a:pt x="16460" y="179831"/>
                </a:cubicBezTo>
                <a:cubicBezTo>
                  <a:pt x="13036" y="173811"/>
                  <a:pt x="14748" y="166071"/>
                  <a:pt x="20739" y="163491"/>
                </a:cubicBezTo>
                <a:cubicBezTo>
                  <a:pt x="20747" y="163486"/>
                  <a:pt x="21112" y="163266"/>
                  <a:pt x="37857" y="153171"/>
                </a:cubicBezTo>
                <a:close/>
                <a:moveTo>
                  <a:pt x="372578" y="148203"/>
                </a:moveTo>
                <a:lnTo>
                  <a:pt x="459652" y="148684"/>
                </a:lnTo>
                <a:cubicBezTo>
                  <a:pt x="472825" y="151101"/>
                  <a:pt x="479473" y="149167"/>
                  <a:pt x="482857" y="168988"/>
                </a:cubicBezTo>
                <a:lnTo>
                  <a:pt x="492885" y="216044"/>
                </a:lnTo>
                <a:lnTo>
                  <a:pt x="380908" y="216044"/>
                </a:lnTo>
                <a:close/>
                <a:moveTo>
                  <a:pt x="280553" y="147694"/>
                </a:moveTo>
                <a:lnTo>
                  <a:pt x="359945" y="148133"/>
                </a:lnTo>
                <a:lnTo>
                  <a:pt x="368283" y="216044"/>
                </a:lnTo>
                <a:lnTo>
                  <a:pt x="272161" y="216044"/>
                </a:lnTo>
                <a:close/>
                <a:moveTo>
                  <a:pt x="210898" y="147309"/>
                </a:moveTo>
                <a:lnTo>
                  <a:pt x="267937" y="147624"/>
                </a:lnTo>
                <a:lnTo>
                  <a:pt x="259536" y="216044"/>
                </a:lnTo>
                <a:lnTo>
                  <a:pt x="196202" y="216044"/>
                </a:lnTo>
                <a:cubicBezTo>
                  <a:pt x="198269" y="212213"/>
                  <a:pt x="197676" y="207606"/>
                  <a:pt x="195213" y="203930"/>
                </a:cubicBezTo>
                <a:lnTo>
                  <a:pt x="183180" y="181069"/>
                </a:lnTo>
                <a:lnTo>
                  <a:pt x="198743" y="189261"/>
                </a:lnTo>
                <a:cubicBezTo>
                  <a:pt x="207086" y="194474"/>
                  <a:pt x="215069" y="193775"/>
                  <a:pt x="219556" y="187481"/>
                </a:cubicBezTo>
                <a:cubicBezTo>
                  <a:pt x="224705" y="187703"/>
                  <a:pt x="229643" y="184799"/>
                  <a:pt x="232490" y="178577"/>
                </a:cubicBezTo>
                <a:cubicBezTo>
                  <a:pt x="237333" y="171277"/>
                  <a:pt x="234912" y="160327"/>
                  <a:pt x="226436" y="156677"/>
                </a:cubicBezTo>
                <a:cubicBezTo>
                  <a:pt x="219421" y="152447"/>
                  <a:pt x="214438" y="149443"/>
                  <a:pt x="210898" y="147309"/>
                </a:cubicBezTo>
                <a:close/>
                <a:moveTo>
                  <a:pt x="207125" y="107908"/>
                </a:moveTo>
                <a:cubicBezTo>
                  <a:pt x="207135" y="107908"/>
                  <a:pt x="207585" y="107908"/>
                  <a:pt x="227708" y="107908"/>
                </a:cubicBezTo>
                <a:cubicBezTo>
                  <a:pt x="234569" y="107908"/>
                  <a:pt x="239714" y="113029"/>
                  <a:pt x="239714" y="119004"/>
                </a:cubicBezTo>
                <a:cubicBezTo>
                  <a:pt x="239714" y="119008"/>
                  <a:pt x="239714" y="119034"/>
                  <a:pt x="239714" y="119217"/>
                </a:cubicBezTo>
                <a:lnTo>
                  <a:pt x="239714" y="120710"/>
                </a:lnTo>
                <a:cubicBezTo>
                  <a:pt x="239714" y="126685"/>
                  <a:pt x="234569" y="131807"/>
                  <a:pt x="227708" y="131807"/>
                </a:cubicBezTo>
                <a:cubicBezTo>
                  <a:pt x="227697" y="131807"/>
                  <a:pt x="227245" y="131807"/>
                  <a:pt x="207125" y="131807"/>
                </a:cubicBezTo>
                <a:cubicBezTo>
                  <a:pt x="207982" y="128392"/>
                  <a:pt x="207982" y="124125"/>
                  <a:pt x="207982" y="119857"/>
                </a:cubicBezTo>
                <a:cubicBezTo>
                  <a:pt x="207982" y="115589"/>
                  <a:pt x="207982" y="111322"/>
                  <a:pt x="207125" y="107908"/>
                </a:cubicBezTo>
                <a:close/>
                <a:moveTo>
                  <a:pt x="12007" y="107908"/>
                </a:moveTo>
                <a:cubicBezTo>
                  <a:pt x="12018" y="107908"/>
                  <a:pt x="12481" y="107908"/>
                  <a:pt x="32590" y="107908"/>
                </a:cubicBezTo>
                <a:cubicBezTo>
                  <a:pt x="31732" y="111322"/>
                  <a:pt x="31732" y="115589"/>
                  <a:pt x="31732" y="119857"/>
                </a:cubicBezTo>
                <a:cubicBezTo>
                  <a:pt x="31732" y="124125"/>
                  <a:pt x="31732" y="128392"/>
                  <a:pt x="32590" y="131807"/>
                </a:cubicBezTo>
                <a:cubicBezTo>
                  <a:pt x="32579" y="131807"/>
                  <a:pt x="32111" y="131807"/>
                  <a:pt x="12007" y="131807"/>
                </a:cubicBezTo>
                <a:cubicBezTo>
                  <a:pt x="5146" y="131807"/>
                  <a:pt x="0" y="126685"/>
                  <a:pt x="0" y="120710"/>
                </a:cubicBezTo>
                <a:cubicBezTo>
                  <a:pt x="0" y="120706"/>
                  <a:pt x="0" y="120680"/>
                  <a:pt x="0" y="120497"/>
                </a:cubicBezTo>
                <a:lnTo>
                  <a:pt x="0" y="119004"/>
                </a:lnTo>
                <a:cubicBezTo>
                  <a:pt x="0" y="113029"/>
                  <a:pt x="5146" y="107908"/>
                  <a:pt x="12007" y="107908"/>
                </a:cubicBezTo>
                <a:close/>
                <a:moveTo>
                  <a:pt x="211219" y="53957"/>
                </a:moveTo>
                <a:cubicBezTo>
                  <a:pt x="215712" y="53272"/>
                  <a:pt x="220687" y="55368"/>
                  <a:pt x="223255" y="59883"/>
                </a:cubicBezTo>
                <a:cubicBezTo>
                  <a:pt x="226678" y="65903"/>
                  <a:pt x="224967" y="73643"/>
                  <a:pt x="218976" y="76223"/>
                </a:cubicBezTo>
                <a:cubicBezTo>
                  <a:pt x="218966" y="76229"/>
                  <a:pt x="218581" y="76462"/>
                  <a:pt x="201858" y="86543"/>
                </a:cubicBezTo>
                <a:lnTo>
                  <a:pt x="189019" y="65043"/>
                </a:lnTo>
                <a:cubicBezTo>
                  <a:pt x="189029" y="65038"/>
                  <a:pt x="189434" y="64825"/>
                  <a:pt x="206993" y="55583"/>
                </a:cubicBezTo>
                <a:cubicBezTo>
                  <a:pt x="208277" y="54723"/>
                  <a:pt x="209721" y="54186"/>
                  <a:pt x="211219" y="53957"/>
                </a:cubicBezTo>
                <a:close/>
                <a:moveTo>
                  <a:pt x="28495" y="53957"/>
                </a:moveTo>
                <a:cubicBezTo>
                  <a:pt x="29993" y="54186"/>
                  <a:pt x="31438" y="54723"/>
                  <a:pt x="32721" y="55583"/>
                </a:cubicBezTo>
                <a:cubicBezTo>
                  <a:pt x="32731" y="55588"/>
                  <a:pt x="33138" y="55802"/>
                  <a:pt x="50695" y="65043"/>
                </a:cubicBezTo>
                <a:cubicBezTo>
                  <a:pt x="45560" y="71924"/>
                  <a:pt x="41280" y="78803"/>
                  <a:pt x="37857" y="86543"/>
                </a:cubicBezTo>
                <a:cubicBezTo>
                  <a:pt x="37847" y="86538"/>
                  <a:pt x="37454" y="86301"/>
                  <a:pt x="20739" y="76223"/>
                </a:cubicBezTo>
                <a:cubicBezTo>
                  <a:pt x="14748" y="73643"/>
                  <a:pt x="13036" y="65903"/>
                  <a:pt x="16460" y="60743"/>
                </a:cubicBezTo>
                <a:cubicBezTo>
                  <a:pt x="19027" y="55368"/>
                  <a:pt x="24002" y="53272"/>
                  <a:pt x="28495" y="53957"/>
                </a:cubicBezTo>
                <a:close/>
                <a:moveTo>
                  <a:pt x="119857" y="45625"/>
                </a:moveTo>
                <a:cubicBezTo>
                  <a:pt x="160854" y="45625"/>
                  <a:pt x="194089" y="78860"/>
                  <a:pt x="194089" y="119857"/>
                </a:cubicBezTo>
                <a:cubicBezTo>
                  <a:pt x="194089" y="160854"/>
                  <a:pt x="160854" y="194089"/>
                  <a:pt x="119857" y="194089"/>
                </a:cubicBezTo>
                <a:cubicBezTo>
                  <a:pt x="78860" y="194089"/>
                  <a:pt x="45626" y="160854"/>
                  <a:pt x="45626" y="119857"/>
                </a:cubicBezTo>
                <a:cubicBezTo>
                  <a:pt x="45626" y="78860"/>
                  <a:pt x="78860" y="45625"/>
                  <a:pt x="119857" y="45625"/>
                </a:cubicBezTo>
                <a:close/>
                <a:moveTo>
                  <a:pt x="174738" y="14841"/>
                </a:moveTo>
                <a:cubicBezTo>
                  <a:pt x="176230" y="15069"/>
                  <a:pt x="177681" y="15604"/>
                  <a:pt x="178971" y="16459"/>
                </a:cubicBezTo>
                <a:cubicBezTo>
                  <a:pt x="185851" y="19883"/>
                  <a:pt x="187571" y="27586"/>
                  <a:pt x="184131" y="32721"/>
                </a:cubicBezTo>
                <a:cubicBezTo>
                  <a:pt x="184127" y="32731"/>
                  <a:pt x="183916" y="33130"/>
                  <a:pt x="174671" y="50695"/>
                </a:cubicBezTo>
                <a:lnTo>
                  <a:pt x="153171" y="37857"/>
                </a:lnTo>
                <a:cubicBezTo>
                  <a:pt x="153177" y="37848"/>
                  <a:pt x="153408" y="37464"/>
                  <a:pt x="163491" y="20739"/>
                </a:cubicBezTo>
                <a:cubicBezTo>
                  <a:pt x="165426" y="16245"/>
                  <a:pt x="170264" y="14159"/>
                  <a:pt x="174738" y="14841"/>
                </a:cubicBezTo>
                <a:close/>
                <a:moveTo>
                  <a:pt x="64990" y="14841"/>
                </a:moveTo>
                <a:cubicBezTo>
                  <a:pt x="69505" y="14159"/>
                  <a:pt x="74504" y="16245"/>
                  <a:pt x="77084" y="20739"/>
                </a:cubicBezTo>
                <a:cubicBezTo>
                  <a:pt x="77089" y="20748"/>
                  <a:pt x="77304" y="21137"/>
                  <a:pt x="86544" y="37857"/>
                </a:cubicBezTo>
                <a:cubicBezTo>
                  <a:pt x="78804" y="41280"/>
                  <a:pt x="71924" y="45559"/>
                  <a:pt x="65044" y="50695"/>
                </a:cubicBezTo>
                <a:lnTo>
                  <a:pt x="55584" y="32721"/>
                </a:lnTo>
                <a:cubicBezTo>
                  <a:pt x="52143" y="27586"/>
                  <a:pt x="53864" y="19883"/>
                  <a:pt x="59884" y="16459"/>
                </a:cubicBezTo>
                <a:cubicBezTo>
                  <a:pt x="62034" y="15604"/>
                  <a:pt x="63485" y="15069"/>
                  <a:pt x="64990" y="14841"/>
                </a:cubicBezTo>
                <a:close/>
                <a:moveTo>
                  <a:pt x="119004" y="0"/>
                </a:moveTo>
                <a:cubicBezTo>
                  <a:pt x="119008" y="0"/>
                  <a:pt x="119034" y="0"/>
                  <a:pt x="119217" y="0"/>
                </a:cubicBezTo>
                <a:lnTo>
                  <a:pt x="120711" y="0"/>
                </a:lnTo>
                <a:cubicBezTo>
                  <a:pt x="126685" y="0"/>
                  <a:pt x="131807" y="5146"/>
                  <a:pt x="131807" y="12007"/>
                </a:cubicBezTo>
                <a:cubicBezTo>
                  <a:pt x="131807" y="12018"/>
                  <a:pt x="131807" y="12483"/>
                  <a:pt x="131807" y="32590"/>
                </a:cubicBezTo>
                <a:cubicBezTo>
                  <a:pt x="128393" y="31732"/>
                  <a:pt x="124125" y="31732"/>
                  <a:pt x="119857" y="31732"/>
                </a:cubicBezTo>
                <a:lnTo>
                  <a:pt x="107908" y="32590"/>
                </a:lnTo>
                <a:cubicBezTo>
                  <a:pt x="107908" y="32579"/>
                  <a:pt x="107908" y="32117"/>
                  <a:pt x="107908" y="12007"/>
                </a:cubicBezTo>
                <a:cubicBezTo>
                  <a:pt x="107908" y="5146"/>
                  <a:pt x="113029" y="0"/>
                  <a:pt x="119004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algn="ctr" defTabSz="914126">
              <a:defRPr/>
            </a:pPr>
            <a:endParaRPr lang="en-GB">
              <a:solidFill>
                <a:srgbClr val="3B3B3B"/>
              </a:solidFill>
              <a:latin typeface="EnBW DIN Pro"/>
            </a:endParaRPr>
          </a:p>
        </p:txBody>
      </p:sp>
      <p:grpSp>
        <p:nvGrpSpPr>
          <p:cNvPr id="167" name="Group 166">
            <a:extLst>
              <a:ext uri="{FF2B5EF4-FFF2-40B4-BE49-F238E27FC236}">
                <a16:creationId xmlns:a16="http://schemas.microsoft.com/office/drawing/2014/main" id="{0A7BB23C-2894-4654-A72E-E885339CA963}"/>
              </a:ext>
            </a:extLst>
          </p:cNvPr>
          <p:cNvGrpSpPr/>
          <p:nvPr/>
        </p:nvGrpSpPr>
        <p:grpSpPr>
          <a:xfrm>
            <a:off x="9189170" y="4541061"/>
            <a:ext cx="443521" cy="285698"/>
            <a:chOff x="8384209" y="3912120"/>
            <a:chExt cx="394906" cy="275438"/>
          </a:xfrm>
        </p:grpSpPr>
        <p:sp>
          <p:nvSpPr>
            <p:cNvPr id="175" name="Freeform 1">
              <a:extLst>
                <a:ext uri="{FF2B5EF4-FFF2-40B4-BE49-F238E27FC236}">
                  <a16:creationId xmlns:a16="http://schemas.microsoft.com/office/drawing/2014/main" id="{2020EFDA-89AA-4F3A-B7F1-18FA6344DC91}"/>
                </a:ext>
              </a:extLst>
            </p:cNvPr>
            <p:cNvSpPr/>
            <p:nvPr>
              <p:custDataLst>
                <p:custData r:id="rId9"/>
              </p:custDataLst>
            </p:nvPr>
          </p:nvSpPr>
          <p:spPr bwMode="gray">
            <a:xfrm>
              <a:off x="8617812" y="3912120"/>
              <a:ext cx="161303" cy="140231"/>
            </a:xfrm>
            <a:custGeom>
              <a:avLst/>
              <a:gdLst/>
              <a:ahLst/>
              <a:cxnLst/>
              <a:rect l="l" t="t" r="r" b="b"/>
              <a:pathLst>
                <a:path w="1276193" h="1131776">
                  <a:moveTo>
                    <a:pt x="410530" y="1046807"/>
                  </a:moveTo>
                  <a:lnTo>
                    <a:pt x="850479" y="1046807"/>
                  </a:lnTo>
                  <a:lnTo>
                    <a:pt x="860563" y="1097227"/>
                  </a:lnTo>
                  <a:cubicBezTo>
                    <a:pt x="864332" y="1115883"/>
                    <a:pt x="865720" y="1132161"/>
                    <a:pt x="843294" y="1131766"/>
                  </a:cubicBezTo>
                  <a:lnTo>
                    <a:pt x="428815" y="1131766"/>
                  </a:lnTo>
                  <a:cubicBezTo>
                    <a:pt x="410079" y="1132079"/>
                    <a:pt x="400870" y="1125250"/>
                    <a:pt x="401183" y="1104134"/>
                  </a:cubicBezTo>
                  <a:close/>
                  <a:moveTo>
                    <a:pt x="418007" y="1000947"/>
                  </a:moveTo>
                  <a:lnTo>
                    <a:pt x="841307" y="1000947"/>
                  </a:lnTo>
                  <a:lnTo>
                    <a:pt x="846822" y="1028519"/>
                  </a:lnTo>
                  <a:lnTo>
                    <a:pt x="413512" y="1028519"/>
                  </a:lnTo>
                  <a:close/>
                  <a:moveTo>
                    <a:pt x="508257" y="762191"/>
                  </a:moveTo>
                  <a:lnTo>
                    <a:pt x="781123" y="762191"/>
                  </a:lnTo>
                  <a:cubicBezTo>
                    <a:pt x="794023" y="760724"/>
                    <a:pt x="792635" y="778309"/>
                    <a:pt x="798392" y="786368"/>
                  </a:cubicBezTo>
                  <a:lnTo>
                    <a:pt x="837650" y="982659"/>
                  </a:lnTo>
                  <a:lnTo>
                    <a:pt x="420989" y="982659"/>
                  </a:lnTo>
                  <a:lnTo>
                    <a:pt x="452993" y="786369"/>
                  </a:lnTo>
                  <a:cubicBezTo>
                    <a:pt x="471415" y="761040"/>
                    <a:pt x="477092" y="763577"/>
                    <a:pt x="508257" y="762191"/>
                  </a:cubicBezTo>
                  <a:close/>
                  <a:moveTo>
                    <a:pt x="37505" y="489723"/>
                  </a:moveTo>
                  <a:lnTo>
                    <a:pt x="414019" y="489723"/>
                  </a:lnTo>
                  <a:lnTo>
                    <a:pt x="385936" y="718439"/>
                  </a:lnTo>
                  <a:lnTo>
                    <a:pt x="115654" y="718439"/>
                  </a:lnTo>
                  <a:cubicBezTo>
                    <a:pt x="49645" y="716905"/>
                    <a:pt x="-6004" y="698099"/>
                    <a:pt x="521" y="630938"/>
                  </a:cubicBezTo>
                  <a:close/>
                  <a:moveTo>
                    <a:pt x="866026" y="489721"/>
                  </a:moveTo>
                  <a:lnTo>
                    <a:pt x="1246098" y="489721"/>
                  </a:lnTo>
                  <a:lnTo>
                    <a:pt x="1276193" y="630938"/>
                  </a:lnTo>
                  <a:cubicBezTo>
                    <a:pt x="1273890" y="680829"/>
                    <a:pt x="1264681" y="716905"/>
                    <a:pt x="1165666" y="718439"/>
                  </a:cubicBezTo>
                  <a:lnTo>
                    <a:pt x="894109" y="718439"/>
                  </a:lnTo>
                  <a:close/>
                  <a:moveTo>
                    <a:pt x="454107" y="489721"/>
                  </a:moveTo>
                  <a:lnTo>
                    <a:pt x="825937" y="489723"/>
                  </a:lnTo>
                  <a:lnTo>
                    <a:pt x="854020" y="718439"/>
                  </a:lnTo>
                  <a:lnTo>
                    <a:pt x="426024" y="718439"/>
                  </a:lnTo>
                  <a:close/>
                  <a:moveTo>
                    <a:pt x="837611" y="258304"/>
                  </a:moveTo>
                  <a:lnTo>
                    <a:pt x="1196780" y="258304"/>
                  </a:lnTo>
                  <a:lnTo>
                    <a:pt x="1237619" y="449933"/>
                  </a:lnTo>
                  <a:lnTo>
                    <a:pt x="861140" y="449931"/>
                  </a:lnTo>
                  <a:close/>
                  <a:moveTo>
                    <a:pt x="482523" y="258304"/>
                  </a:moveTo>
                  <a:lnTo>
                    <a:pt x="797522" y="258305"/>
                  </a:lnTo>
                  <a:lnTo>
                    <a:pt x="821052" y="449933"/>
                  </a:lnTo>
                  <a:lnTo>
                    <a:pt x="458993" y="449931"/>
                  </a:lnTo>
                  <a:close/>
                  <a:moveTo>
                    <a:pt x="98116" y="258304"/>
                  </a:moveTo>
                  <a:lnTo>
                    <a:pt x="442434" y="258304"/>
                  </a:lnTo>
                  <a:lnTo>
                    <a:pt x="418904" y="449933"/>
                  </a:lnTo>
                  <a:lnTo>
                    <a:pt x="47927" y="449931"/>
                  </a:lnTo>
                  <a:close/>
                  <a:moveTo>
                    <a:pt x="806274" y="3088"/>
                  </a:moveTo>
                  <a:lnTo>
                    <a:pt x="1082770" y="4616"/>
                  </a:lnTo>
                  <a:cubicBezTo>
                    <a:pt x="1124601" y="12292"/>
                    <a:pt x="1145710" y="6150"/>
                    <a:pt x="1156455" y="69090"/>
                  </a:cubicBezTo>
                  <a:lnTo>
                    <a:pt x="1188299" y="218514"/>
                  </a:lnTo>
                  <a:lnTo>
                    <a:pt x="832725" y="218514"/>
                  </a:lnTo>
                  <a:close/>
                  <a:moveTo>
                    <a:pt x="514056" y="1474"/>
                  </a:moveTo>
                  <a:lnTo>
                    <a:pt x="766159" y="2866"/>
                  </a:lnTo>
                  <a:lnTo>
                    <a:pt x="792637" y="218514"/>
                  </a:lnTo>
                  <a:lnTo>
                    <a:pt x="487408" y="218514"/>
                  </a:lnTo>
                  <a:close/>
                  <a:moveTo>
                    <a:pt x="249208" y="10"/>
                  </a:moveTo>
                  <a:lnTo>
                    <a:pt x="473995" y="1252"/>
                  </a:lnTo>
                  <a:lnTo>
                    <a:pt x="447319" y="218514"/>
                  </a:lnTo>
                  <a:lnTo>
                    <a:pt x="108538" y="218514"/>
                  </a:lnTo>
                  <a:lnTo>
                    <a:pt x="152496" y="50669"/>
                  </a:lnTo>
                  <a:cubicBezTo>
                    <a:pt x="177825" y="9604"/>
                    <a:pt x="210063" y="-373"/>
                    <a:pt x="249208" y="10"/>
                  </a:cubicBezTo>
                  <a:close/>
                </a:path>
              </a:pathLst>
            </a:custGeom>
            <a:solidFill>
              <a:schemeClr val="accent6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>
                <a:defRPr/>
              </a:pPr>
              <a:endParaRPr lang="en-US">
                <a:solidFill>
                  <a:srgbClr val="3B3B3B"/>
                </a:solidFill>
                <a:latin typeface="EnBW DIN Pro"/>
              </a:endParaRPr>
            </a:p>
          </p:txBody>
        </p:sp>
        <p:sp>
          <p:nvSpPr>
            <p:cNvPr id="176" name="Freeform 1">
              <a:extLst>
                <a:ext uri="{FF2B5EF4-FFF2-40B4-BE49-F238E27FC236}">
                  <a16:creationId xmlns:a16="http://schemas.microsoft.com/office/drawing/2014/main" id="{6625DD76-02D9-40F0-9F86-DF87FD87E3B2}"/>
                </a:ext>
              </a:extLst>
            </p:cNvPr>
            <p:cNvSpPr/>
            <p:nvPr>
              <p:custDataLst>
                <p:custData r:id="rId10"/>
              </p:custDataLst>
            </p:nvPr>
          </p:nvSpPr>
          <p:spPr bwMode="gray">
            <a:xfrm>
              <a:off x="8554498" y="4025193"/>
              <a:ext cx="186763" cy="162365"/>
            </a:xfrm>
            <a:custGeom>
              <a:avLst/>
              <a:gdLst/>
              <a:ahLst/>
              <a:cxnLst/>
              <a:rect l="l" t="t" r="r" b="b"/>
              <a:pathLst>
                <a:path w="1276193" h="1131776">
                  <a:moveTo>
                    <a:pt x="410530" y="1046807"/>
                  </a:moveTo>
                  <a:lnTo>
                    <a:pt x="850479" y="1046807"/>
                  </a:lnTo>
                  <a:lnTo>
                    <a:pt x="860563" y="1097227"/>
                  </a:lnTo>
                  <a:cubicBezTo>
                    <a:pt x="864332" y="1115883"/>
                    <a:pt x="865720" y="1132161"/>
                    <a:pt x="843294" y="1131766"/>
                  </a:cubicBezTo>
                  <a:lnTo>
                    <a:pt x="428815" y="1131766"/>
                  </a:lnTo>
                  <a:cubicBezTo>
                    <a:pt x="410079" y="1132079"/>
                    <a:pt x="400870" y="1125250"/>
                    <a:pt x="401183" y="1104134"/>
                  </a:cubicBezTo>
                  <a:close/>
                  <a:moveTo>
                    <a:pt x="418007" y="1000947"/>
                  </a:moveTo>
                  <a:lnTo>
                    <a:pt x="841307" y="1000947"/>
                  </a:lnTo>
                  <a:lnTo>
                    <a:pt x="846822" y="1028519"/>
                  </a:lnTo>
                  <a:lnTo>
                    <a:pt x="413512" y="1028519"/>
                  </a:lnTo>
                  <a:close/>
                  <a:moveTo>
                    <a:pt x="508257" y="762191"/>
                  </a:moveTo>
                  <a:lnTo>
                    <a:pt x="781123" y="762191"/>
                  </a:lnTo>
                  <a:cubicBezTo>
                    <a:pt x="794023" y="760724"/>
                    <a:pt x="792635" y="778309"/>
                    <a:pt x="798392" y="786368"/>
                  </a:cubicBezTo>
                  <a:lnTo>
                    <a:pt x="837650" y="982659"/>
                  </a:lnTo>
                  <a:lnTo>
                    <a:pt x="420989" y="982659"/>
                  </a:lnTo>
                  <a:lnTo>
                    <a:pt x="452993" y="786369"/>
                  </a:lnTo>
                  <a:cubicBezTo>
                    <a:pt x="471415" y="761040"/>
                    <a:pt x="477092" y="763577"/>
                    <a:pt x="508257" y="762191"/>
                  </a:cubicBezTo>
                  <a:close/>
                  <a:moveTo>
                    <a:pt x="37505" y="489723"/>
                  </a:moveTo>
                  <a:lnTo>
                    <a:pt x="414019" y="489723"/>
                  </a:lnTo>
                  <a:lnTo>
                    <a:pt x="385936" y="718439"/>
                  </a:lnTo>
                  <a:lnTo>
                    <a:pt x="115654" y="718439"/>
                  </a:lnTo>
                  <a:cubicBezTo>
                    <a:pt x="49645" y="716905"/>
                    <a:pt x="-6004" y="698099"/>
                    <a:pt x="521" y="630938"/>
                  </a:cubicBezTo>
                  <a:close/>
                  <a:moveTo>
                    <a:pt x="866026" y="489721"/>
                  </a:moveTo>
                  <a:lnTo>
                    <a:pt x="1246098" y="489721"/>
                  </a:lnTo>
                  <a:lnTo>
                    <a:pt x="1276193" y="630938"/>
                  </a:lnTo>
                  <a:cubicBezTo>
                    <a:pt x="1273890" y="680829"/>
                    <a:pt x="1264681" y="716905"/>
                    <a:pt x="1165666" y="718439"/>
                  </a:cubicBezTo>
                  <a:lnTo>
                    <a:pt x="894109" y="718439"/>
                  </a:lnTo>
                  <a:close/>
                  <a:moveTo>
                    <a:pt x="454107" y="489721"/>
                  </a:moveTo>
                  <a:lnTo>
                    <a:pt x="825937" y="489723"/>
                  </a:lnTo>
                  <a:lnTo>
                    <a:pt x="854020" y="718439"/>
                  </a:lnTo>
                  <a:lnTo>
                    <a:pt x="426024" y="718439"/>
                  </a:lnTo>
                  <a:close/>
                  <a:moveTo>
                    <a:pt x="837611" y="258304"/>
                  </a:moveTo>
                  <a:lnTo>
                    <a:pt x="1196780" y="258304"/>
                  </a:lnTo>
                  <a:lnTo>
                    <a:pt x="1237619" y="449933"/>
                  </a:lnTo>
                  <a:lnTo>
                    <a:pt x="861140" y="449931"/>
                  </a:lnTo>
                  <a:close/>
                  <a:moveTo>
                    <a:pt x="482523" y="258304"/>
                  </a:moveTo>
                  <a:lnTo>
                    <a:pt x="797522" y="258305"/>
                  </a:lnTo>
                  <a:lnTo>
                    <a:pt x="821052" y="449933"/>
                  </a:lnTo>
                  <a:lnTo>
                    <a:pt x="458993" y="449931"/>
                  </a:lnTo>
                  <a:close/>
                  <a:moveTo>
                    <a:pt x="98116" y="258304"/>
                  </a:moveTo>
                  <a:lnTo>
                    <a:pt x="442434" y="258304"/>
                  </a:lnTo>
                  <a:lnTo>
                    <a:pt x="418904" y="449933"/>
                  </a:lnTo>
                  <a:lnTo>
                    <a:pt x="47927" y="449931"/>
                  </a:lnTo>
                  <a:close/>
                  <a:moveTo>
                    <a:pt x="806274" y="3088"/>
                  </a:moveTo>
                  <a:lnTo>
                    <a:pt x="1082770" y="4616"/>
                  </a:lnTo>
                  <a:cubicBezTo>
                    <a:pt x="1124601" y="12292"/>
                    <a:pt x="1145710" y="6150"/>
                    <a:pt x="1156455" y="69090"/>
                  </a:cubicBezTo>
                  <a:lnTo>
                    <a:pt x="1188299" y="218514"/>
                  </a:lnTo>
                  <a:lnTo>
                    <a:pt x="832725" y="218514"/>
                  </a:lnTo>
                  <a:close/>
                  <a:moveTo>
                    <a:pt x="514056" y="1474"/>
                  </a:moveTo>
                  <a:lnTo>
                    <a:pt x="766159" y="2866"/>
                  </a:lnTo>
                  <a:lnTo>
                    <a:pt x="792637" y="218514"/>
                  </a:lnTo>
                  <a:lnTo>
                    <a:pt x="487408" y="218514"/>
                  </a:lnTo>
                  <a:close/>
                  <a:moveTo>
                    <a:pt x="249208" y="10"/>
                  </a:moveTo>
                  <a:lnTo>
                    <a:pt x="473995" y="1252"/>
                  </a:lnTo>
                  <a:lnTo>
                    <a:pt x="447319" y="218514"/>
                  </a:lnTo>
                  <a:lnTo>
                    <a:pt x="108538" y="218514"/>
                  </a:lnTo>
                  <a:lnTo>
                    <a:pt x="152496" y="50669"/>
                  </a:lnTo>
                  <a:cubicBezTo>
                    <a:pt x="177825" y="9604"/>
                    <a:pt x="210063" y="-373"/>
                    <a:pt x="249208" y="10"/>
                  </a:cubicBezTo>
                  <a:close/>
                </a:path>
              </a:pathLst>
            </a:custGeom>
            <a:solidFill>
              <a:schemeClr val="accent6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>
                <a:defRPr/>
              </a:pPr>
              <a:endParaRPr lang="en-US">
                <a:solidFill>
                  <a:srgbClr val="3B3B3B"/>
                </a:solidFill>
                <a:latin typeface="EnBW DIN Pro"/>
              </a:endParaRPr>
            </a:p>
          </p:txBody>
        </p:sp>
        <p:sp>
          <p:nvSpPr>
            <p:cNvPr id="240" name="Freeform 1">
              <a:extLst>
                <a:ext uri="{FF2B5EF4-FFF2-40B4-BE49-F238E27FC236}">
                  <a16:creationId xmlns:a16="http://schemas.microsoft.com/office/drawing/2014/main" id="{FA4D8ADC-2C79-4549-A5FE-07E0AA10D645}"/>
                </a:ext>
              </a:extLst>
            </p:cNvPr>
            <p:cNvSpPr/>
            <p:nvPr>
              <p:custDataLst>
                <p:custData r:id="rId11"/>
              </p:custDataLst>
            </p:nvPr>
          </p:nvSpPr>
          <p:spPr bwMode="gray">
            <a:xfrm>
              <a:off x="8384209" y="3972463"/>
              <a:ext cx="186763" cy="162365"/>
            </a:xfrm>
            <a:custGeom>
              <a:avLst/>
              <a:gdLst/>
              <a:ahLst/>
              <a:cxnLst/>
              <a:rect l="l" t="t" r="r" b="b"/>
              <a:pathLst>
                <a:path w="1276193" h="1131776">
                  <a:moveTo>
                    <a:pt x="410530" y="1046807"/>
                  </a:moveTo>
                  <a:lnTo>
                    <a:pt x="850479" y="1046807"/>
                  </a:lnTo>
                  <a:lnTo>
                    <a:pt x="860563" y="1097227"/>
                  </a:lnTo>
                  <a:cubicBezTo>
                    <a:pt x="864332" y="1115883"/>
                    <a:pt x="865720" y="1132161"/>
                    <a:pt x="843294" y="1131766"/>
                  </a:cubicBezTo>
                  <a:lnTo>
                    <a:pt x="428815" y="1131766"/>
                  </a:lnTo>
                  <a:cubicBezTo>
                    <a:pt x="410079" y="1132079"/>
                    <a:pt x="400870" y="1125250"/>
                    <a:pt x="401183" y="1104134"/>
                  </a:cubicBezTo>
                  <a:close/>
                  <a:moveTo>
                    <a:pt x="418007" y="1000947"/>
                  </a:moveTo>
                  <a:lnTo>
                    <a:pt x="841307" y="1000947"/>
                  </a:lnTo>
                  <a:lnTo>
                    <a:pt x="846822" y="1028519"/>
                  </a:lnTo>
                  <a:lnTo>
                    <a:pt x="413512" y="1028519"/>
                  </a:lnTo>
                  <a:close/>
                  <a:moveTo>
                    <a:pt x="508257" y="762191"/>
                  </a:moveTo>
                  <a:lnTo>
                    <a:pt x="781123" y="762191"/>
                  </a:lnTo>
                  <a:cubicBezTo>
                    <a:pt x="794023" y="760724"/>
                    <a:pt x="792635" y="778309"/>
                    <a:pt x="798392" y="786368"/>
                  </a:cubicBezTo>
                  <a:lnTo>
                    <a:pt x="837650" y="982659"/>
                  </a:lnTo>
                  <a:lnTo>
                    <a:pt x="420989" y="982659"/>
                  </a:lnTo>
                  <a:lnTo>
                    <a:pt x="452993" y="786369"/>
                  </a:lnTo>
                  <a:cubicBezTo>
                    <a:pt x="471415" y="761040"/>
                    <a:pt x="477092" y="763577"/>
                    <a:pt x="508257" y="762191"/>
                  </a:cubicBezTo>
                  <a:close/>
                  <a:moveTo>
                    <a:pt x="37505" y="489723"/>
                  </a:moveTo>
                  <a:lnTo>
                    <a:pt x="414019" y="489723"/>
                  </a:lnTo>
                  <a:lnTo>
                    <a:pt x="385936" y="718439"/>
                  </a:lnTo>
                  <a:lnTo>
                    <a:pt x="115654" y="718439"/>
                  </a:lnTo>
                  <a:cubicBezTo>
                    <a:pt x="49645" y="716905"/>
                    <a:pt x="-6004" y="698099"/>
                    <a:pt x="521" y="630938"/>
                  </a:cubicBezTo>
                  <a:close/>
                  <a:moveTo>
                    <a:pt x="866026" y="489721"/>
                  </a:moveTo>
                  <a:lnTo>
                    <a:pt x="1246098" y="489721"/>
                  </a:lnTo>
                  <a:lnTo>
                    <a:pt x="1276193" y="630938"/>
                  </a:lnTo>
                  <a:cubicBezTo>
                    <a:pt x="1273890" y="680829"/>
                    <a:pt x="1264681" y="716905"/>
                    <a:pt x="1165666" y="718439"/>
                  </a:cubicBezTo>
                  <a:lnTo>
                    <a:pt x="894109" y="718439"/>
                  </a:lnTo>
                  <a:close/>
                  <a:moveTo>
                    <a:pt x="454107" y="489721"/>
                  </a:moveTo>
                  <a:lnTo>
                    <a:pt x="825937" y="489723"/>
                  </a:lnTo>
                  <a:lnTo>
                    <a:pt x="854020" y="718439"/>
                  </a:lnTo>
                  <a:lnTo>
                    <a:pt x="426024" y="718439"/>
                  </a:lnTo>
                  <a:close/>
                  <a:moveTo>
                    <a:pt x="837611" y="258304"/>
                  </a:moveTo>
                  <a:lnTo>
                    <a:pt x="1196780" y="258304"/>
                  </a:lnTo>
                  <a:lnTo>
                    <a:pt x="1237619" y="449933"/>
                  </a:lnTo>
                  <a:lnTo>
                    <a:pt x="861140" y="449931"/>
                  </a:lnTo>
                  <a:close/>
                  <a:moveTo>
                    <a:pt x="482523" y="258304"/>
                  </a:moveTo>
                  <a:lnTo>
                    <a:pt x="797522" y="258305"/>
                  </a:lnTo>
                  <a:lnTo>
                    <a:pt x="821052" y="449933"/>
                  </a:lnTo>
                  <a:lnTo>
                    <a:pt x="458993" y="449931"/>
                  </a:lnTo>
                  <a:close/>
                  <a:moveTo>
                    <a:pt x="98116" y="258304"/>
                  </a:moveTo>
                  <a:lnTo>
                    <a:pt x="442434" y="258304"/>
                  </a:lnTo>
                  <a:lnTo>
                    <a:pt x="418904" y="449933"/>
                  </a:lnTo>
                  <a:lnTo>
                    <a:pt x="47927" y="449931"/>
                  </a:lnTo>
                  <a:close/>
                  <a:moveTo>
                    <a:pt x="806274" y="3088"/>
                  </a:moveTo>
                  <a:lnTo>
                    <a:pt x="1082770" y="4616"/>
                  </a:lnTo>
                  <a:cubicBezTo>
                    <a:pt x="1124601" y="12292"/>
                    <a:pt x="1145710" y="6150"/>
                    <a:pt x="1156455" y="69090"/>
                  </a:cubicBezTo>
                  <a:lnTo>
                    <a:pt x="1188299" y="218514"/>
                  </a:lnTo>
                  <a:lnTo>
                    <a:pt x="832725" y="218514"/>
                  </a:lnTo>
                  <a:close/>
                  <a:moveTo>
                    <a:pt x="514056" y="1474"/>
                  </a:moveTo>
                  <a:lnTo>
                    <a:pt x="766159" y="2866"/>
                  </a:lnTo>
                  <a:lnTo>
                    <a:pt x="792637" y="218514"/>
                  </a:lnTo>
                  <a:lnTo>
                    <a:pt x="487408" y="218514"/>
                  </a:lnTo>
                  <a:close/>
                  <a:moveTo>
                    <a:pt x="249208" y="10"/>
                  </a:moveTo>
                  <a:lnTo>
                    <a:pt x="473995" y="1252"/>
                  </a:lnTo>
                  <a:lnTo>
                    <a:pt x="447319" y="218514"/>
                  </a:lnTo>
                  <a:lnTo>
                    <a:pt x="108538" y="218514"/>
                  </a:lnTo>
                  <a:lnTo>
                    <a:pt x="152496" y="50669"/>
                  </a:lnTo>
                  <a:cubicBezTo>
                    <a:pt x="177825" y="9604"/>
                    <a:pt x="210063" y="-373"/>
                    <a:pt x="249208" y="10"/>
                  </a:cubicBezTo>
                  <a:close/>
                </a:path>
              </a:pathLst>
            </a:custGeom>
            <a:solidFill>
              <a:schemeClr val="accent6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>
                <a:defRPr/>
              </a:pPr>
              <a:endParaRPr lang="en-US">
                <a:solidFill>
                  <a:srgbClr val="3B3B3B"/>
                </a:solidFill>
                <a:latin typeface="EnBW DIN Pro"/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37A1E799-D2D8-4DEE-9170-759D1F324422}"/>
              </a:ext>
            </a:extLst>
          </p:cNvPr>
          <p:cNvGrpSpPr/>
          <p:nvPr/>
        </p:nvGrpSpPr>
        <p:grpSpPr>
          <a:xfrm>
            <a:off x="8632824" y="4953083"/>
            <a:ext cx="435982" cy="367724"/>
            <a:chOff x="6696237" y="4659926"/>
            <a:chExt cx="337713" cy="284820"/>
          </a:xfrm>
        </p:grpSpPr>
        <p:grpSp>
          <p:nvGrpSpPr>
            <p:cNvPr id="261" name="Group 25">
              <a:extLst>
                <a:ext uri="{FF2B5EF4-FFF2-40B4-BE49-F238E27FC236}">
                  <a16:creationId xmlns:a16="http://schemas.microsoft.com/office/drawing/2014/main" id="{1536F76C-BBF4-452E-A62E-12A64325EC98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6696237" y="4659926"/>
              <a:ext cx="288203" cy="284820"/>
              <a:chOff x="3298" y="1621"/>
              <a:chExt cx="1080" cy="1078"/>
            </a:xfrm>
            <a:solidFill>
              <a:schemeClr val="accent6"/>
            </a:solidFill>
          </p:grpSpPr>
          <p:sp>
            <p:nvSpPr>
              <p:cNvPr id="263" name="Freeform 26">
                <a:extLst>
                  <a:ext uri="{FF2B5EF4-FFF2-40B4-BE49-F238E27FC236}">
                    <a16:creationId xmlns:a16="http://schemas.microsoft.com/office/drawing/2014/main" id="{82DD2DFE-DC2B-4E8A-B7B5-5E5F6C25DC7F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3302" y="2076"/>
                <a:ext cx="1076" cy="623"/>
              </a:xfrm>
              <a:custGeom>
                <a:avLst/>
                <a:gdLst>
                  <a:gd name="T0" fmla="*/ 504 w 512"/>
                  <a:gd name="T1" fmla="*/ 0 h 296"/>
                  <a:gd name="T2" fmla="*/ 8 w 512"/>
                  <a:gd name="T3" fmla="*/ 0 h 296"/>
                  <a:gd name="T4" fmla="*/ 0 w 512"/>
                  <a:gd name="T5" fmla="*/ 8 h 296"/>
                  <a:gd name="T6" fmla="*/ 8 w 512"/>
                  <a:gd name="T7" fmla="*/ 16 h 296"/>
                  <a:gd name="T8" fmla="*/ 37 w 512"/>
                  <a:gd name="T9" fmla="*/ 16 h 296"/>
                  <a:gd name="T10" fmla="*/ 37 w 512"/>
                  <a:gd name="T11" fmla="*/ 296 h 296"/>
                  <a:gd name="T12" fmla="*/ 468 w 512"/>
                  <a:gd name="T13" fmla="*/ 296 h 296"/>
                  <a:gd name="T14" fmla="*/ 468 w 512"/>
                  <a:gd name="T15" fmla="*/ 16 h 296"/>
                  <a:gd name="T16" fmla="*/ 504 w 512"/>
                  <a:gd name="T17" fmla="*/ 16 h 296"/>
                  <a:gd name="T18" fmla="*/ 512 w 512"/>
                  <a:gd name="T19" fmla="*/ 8 h 296"/>
                  <a:gd name="T20" fmla="*/ 504 w 512"/>
                  <a:gd name="T21" fmla="*/ 0 h 296"/>
                  <a:gd name="T22" fmla="*/ 284 w 512"/>
                  <a:gd name="T23" fmla="*/ 278 h 296"/>
                  <a:gd name="T24" fmla="*/ 220 w 512"/>
                  <a:gd name="T25" fmla="*/ 278 h 296"/>
                  <a:gd name="T26" fmla="*/ 220 w 512"/>
                  <a:gd name="T27" fmla="*/ 166 h 296"/>
                  <a:gd name="T28" fmla="*/ 284 w 512"/>
                  <a:gd name="T29" fmla="*/ 166 h 296"/>
                  <a:gd name="T30" fmla="*/ 284 w 512"/>
                  <a:gd name="T31" fmla="*/ 278 h 296"/>
                  <a:gd name="T32" fmla="*/ 384 w 512"/>
                  <a:gd name="T33" fmla="*/ 96 h 296"/>
                  <a:gd name="T34" fmla="*/ 352 w 512"/>
                  <a:gd name="T35" fmla="*/ 96 h 296"/>
                  <a:gd name="T36" fmla="*/ 352 w 512"/>
                  <a:gd name="T37" fmla="*/ 64 h 296"/>
                  <a:gd name="T38" fmla="*/ 384 w 512"/>
                  <a:gd name="T39" fmla="*/ 64 h 296"/>
                  <a:gd name="T40" fmla="*/ 384 w 512"/>
                  <a:gd name="T41" fmla="*/ 96 h 296"/>
                  <a:gd name="T42" fmla="*/ 420 w 512"/>
                  <a:gd name="T43" fmla="*/ 96 h 296"/>
                  <a:gd name="T44" fmla="*/ 388 w 512"/>
                  <a:gd name="T45" fmla="*/ 96 h 296"/>
                  <a:gd name="T46" fmla="*/ 388 w 512"/>
                  <a:gd name="T47" fmla="*/ 64 h 296"/>
                  <a:gd name="T48" fmla="*/ 420 w 512"/>
                  <a:gd name="T49" fmla="*/ 64 h 296"/>
                  <a:gd name="T50" fmla="*/ 420 w 512"/>
                  <a:gd name="T51" fmla="*/ 96 h 296"/>
                  <a:gd name="T52" fmla="*/ 420 w 512"/>
                  <a:gd name="T53" fmla="*/ 132 h 296"/>
                  <a:gd name="T54" fmla="*/ 388 w 512"/>
                  <a:gd name="T55" fmla="*/ 132 h 296"/>
                  <a:gd name="T56" fmla="*/ 388 w 512"/>
                  <a:gd name="T57" fmla="*/ 100 h 296"/>
                  <a:gd name="T58" fmla="*/ 420 w 512"/>
                  <a:gd name="T59" fmla="*/ 100 h 296"/>
                  <a:gd name="T60" fmla="*/ 420 w 512"/>
                  <a:gd name="T61" fmla="*/ 132 h 296"/>
                  <a:gd name="T62" fmla="*/ 384 w 512"/>
                  <a:gd name="T63" fmla="*/ 132 h 296"/>
                  <a:gd name="T64" fmla="*/ 352 w 512"/>
                  <a:gd name="T65" fmla="*/ 132 h 296"/>
                  <a:gd name="T66" fmla="*/ 352 w 512"/>
                  <a:gd name="T67" fmla="*/ 100 h 296"/>
                  <a:gd name="T68" fmla="*/ 384 w 512"/>
                  <a:gd name="T69" fmla="*/ 100 h 296"/>
                  <a:gd name="T70" fmla="*/ 384 w 512"/>
                  <a:gd name="T71" fmla="*/ 132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512" h="296">
                    <a:moveTo>
                      <a:pt x="504" y="0"/>
                    </a:moveTo>
                    <a:cubicBezTo>
                      <a:pt x="8" y="0"/>
                      <a:pt x="8" y="0"/>
                      <a:pt x="8" y="0"/>
                    </a:cubicBezTo>
                    <a:cubicBezTo>
                      <a:pt x="4" y="0"/>
                      <a:pt x="0" y="4"/>
                      <a:pt x="0" y="8"/>
                    </a:cubicBezTo>
                    <a:cubicBezTo>
                      <a:pt x="0" y="13"/>
                      <a:pt x="4" y="16"/>
                      <a:pt x="8" y="16"/>
                    </a:cubicBezTo>
                    <a:cubicBezTo>
                      <a:pt x="37" y="16"/>
                      <a:pt x="37" y="16"/>
                      <a:pt x="37" y="16"/>
                    </a:cubicBezTo>
                    <a:cubicBezTo>
                      <a:pt x="37" y="296"/>
                      <a:pt x="37" y="296"/>
                      <a:pt x="37" y="296"/>
                    </a:cubicBezTo>
                    <a:cubicBezTo>
                      <a:pt x="468" y="296"/>
                      <a:pt x="468" y="296"/>
                      <a:pt x="468" y="296"/>
                    </a:cubicBezTo>
                    <a:cubicBezTo>
                      <a:pt x="468" y="16"/>
                      <a:pt x="468" y="16"/>
                      <a:pt x="468" y="16"/>
                    </a:cubicBezTo>
                    <a:cubicBezTo>
                      <a:pt x="504" y="16"/>
                      <a:pt x="504" y="16"/>
                      <a:pt x="504" y="16"/>
                    </a:cubicBezTo>
                    <a:cubicBezTo>
                      <a:pt x="508" y="16"/>
                      <a:pt x="512" y="13"/>
                      <a:pt x="512" y="8"/>
                    </a:cubicBezTo>
                    <a:cubicBezTo>
                      <a:pt x="512" y="4"/>
                      <a:pt x="508" y="0"/>
                      <a:pt x="504" y="0"/>
                    </a:cubicBezTo>
                    <a:close/>
                    <a:moveTo>
                      <a:pt x="284" y="278"/>
                    </a:moveTo>
                    <a:cubicBezTo>
                      <a:pt x="220" y="278"/>
                      <a:pt x="220" y="278"/>
                      <a:pt x="220" y="278"/>
                    </a:cubicBezTo>
                    <a:cubicBezTo>
                      <a:pt x="220" y="166"/>
                      <a:pt x="220" y="166"/>
                      <a:pt x="220" y="166"/>
                    </a:cubicBezTo>
                    <a:cubicBezTo>
                      <a:pt x="284" y="166"/>
                      <a:pt x="284" y="166"/>
                      <a:pt x="284" y="166"/>
                    </a:cubicBezTo>
                    <a:lnTo>
                      <a:pt x="284" y="278"/>
                    </a:lnTo>
                    <a:close/>
                    <a:moveTo>
                      <a:pt x="384" y="96"/>
                    </a:moveTo>
                    <a:cubicBezTo>
                      <a:pt x="352" y="96"/>
                      <a:pt x="352" y="96"/>
                      <a:pt x="352" y="96"/>
                    </a:cubicBezTo>
                    <a:cubicBezTo>
                      <a:pt x="352" y="64"/>
                      <a:pt x="352" y="64"/>
                      <a:pt x="352" y="64"/>
                    </a:cubicBezTo>
                    <a:cubicBezTo>
                      <a:pt x="384" y="64"/>
                      <a:pt x="384" y="64"/>
                      <a:pt x="384" y="64"/>
                    </a:cubicBezTo>
                    <a:lnTo>
                      <a:pt x="384" y="96"/>
                    </a:lnTo>
                    <a:close/>
                    <a:moveTo>
                      <a:pt x="420" y="96"/>
                    </a:moveTo>
                    <a:cubicBezTo>
                      <a:pt x="388" y="96"/>
                      <a:pt x="388" y="96"/>
                      <a:pt x="388" y="96"/>
                    </a:cubicBezTo>
                    <a:cubicBezTo>
                      <a:pt x="388" y="64"/>
                      <a:pt x="388" y="64"/>
                      <a:pt x="388" y="64"/>
                    </a:cubicBezTo>
                    <a:cubicBezTo>
                      <a:pt x="420" y="64"/>
                      <a:pt x="420" y="64"/>
                      <a:pt x="420" y="64"/>
                    </a:cubicBezTo>
                    <a:lnTo>
                      <a:pt x="420" y="96"/>
                    </a:lnTo>
                    <a:close/>
                    <a:moveTo>
                      <a:pt x="420" y="132"/>
                    </a:moveTo>
                    <a:cubicBezTo>
                      <a:pt x="388" y="132"/>
                      <a:pt x="388" y="132"/>
                      <a:pt x="388" y="132"/>
                    </a:cubicBezTo>
                    <a:cubicBezTo>
                      <a:pt x="388" y="100"/>
                      <a:pt x="388" y="100"/>
                      <a:pt x="388" y="100"/>
                    </a:cubicBezTo>
                    <a:cubicBezTo>
                      <a:pt x="420" y="100"/>
                      <a:pt x="420" y="100"/>
                      <a:pt x="420" y="100"/>
                    </a:cubicBezTo>
                    <a:lnTo>
                      <a:pt x="420" y="132"/>
                    </a:lnTo>
                    <a:close/>
                    <a:moveTo>
                      <a:pt x="384" y="132"/>
                    </a:moveTo>
                    <a:cubicBezTo>
                      <a:pt x="352" y="132"/>
                      <a:pt x="352" y="132"/>
                      <a:pt x="352" y="132"/>
                    </a:cubicBezTo>
                    <a:cubicBezTo>
                      <a:pt x="352" y="100"/>
                      <a:pt x="352" y="100"/>
                      <a:pt x="352" y="100"/>
                    </a:cubicBezTo>
                    <a:cubicBezTo>
                      <a:pt x="384" y="100"/>
                      <a:pt x="384" y="100"/>
                      <a:pt x="384" y="100"/>
                    </a:cubicBezTo>
                    <a:lnTo>
                      <a:pt x="384" y="13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914126">
                  <a:defRPr/>
                </a:pPr>
                <a:endParaRPr lang="en-GB">
                  <a:solidFill>
                    <a:srgbClr val="3B3B3B"/>
                  </a:solidFill>
                  <a:latin typeface="EnBW DIN Pro"/>
                </a:endParaRPr>
              </a:p>
            </p:txBody>
          </p:sp>
          <p:sp>
            <p:nvSpPr>
              <p:cNvPr id="264" name="Freeform 27">
                <a:extLst>
                  <a:ext uri="{FF2B5EF4-FFF2-40B4-BE49-F238E27FC236}">
                    <a16:creationId xmlns:a16="http://schemas.microsoft.com/office/drawing/2014/main" id="{1F0C5C7B-AD08-47FC-961D-6ECD28491E4A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3298" y="1621"/>
                <a:ext cx="1080" cy="432"/>
              </a:xfrm>
              <a:custGeom>
                <a:avLst/>
                <a:gdLst>
                  <a:gd name="T0" fmla="*/ 162 w 514"/>
                  <a:gd name="T1" fmla="*/ 0 h 205"/>
                  <a:gd name="T2" fmla="*/ 5 w 514"/>
                  <a:gd name="T3" fmla="*/ 181 h 205"/>
                  <a:gd name="T4" fmla="*/ 512 w 514"/>
                  <a:gd name="T5" fmla="*/ 180 h 205"/>
                  <a:gd name="T6" fmla="*/ 402 w 514"/>
                  <a:gd name="T7" fmla="*/ 134 h 205"/>
                  <a:gd name="T8" fmla="*/ 378 w 514"/>
                  <a:gd name="T9" fmla="*/ 72 h 205"/>
                  <a:gd name="T10" fmla="*/ 392 w 514"/>
                  <a:gd name="T11" fmla="*/ 104 h 205"/>
                  <a:gd name="T12" fmla="*/ 316 w 514"/>
                  <a:gd name="T13" fmla="*/ 72 h 205"/>
                  <a:gd name="T14" fmla="*/ 308 w 514"/>
                  <a:gd name="T15" fmla="*/ 104 h 205"/>
                  <a:gd name="T16" fmla="*/ 182 w 514"/>
                  <a:gd name="T17" fmla="*/ 96 h 205"/>
                  <a:gd name="T18" fmla="*/ 214 w 514"/>
                  <a:gd name="T19" fmla="*/ 80 h 205"/>
                  <a:gd name="T20" fmla="*/ 182 w 514"/>
                  <a:gd name="T21" fmla="*/ 96 h 205"/>
                  <a:gd name="T22" fmla="*/ 139 w 514"/>
                  <a:gd name="T23" fmla="*/ 16 h 205"/>
                  <a:gd name="T24" fmla="*/ 136 w 514"/>
                  <a:gd name="T25" fmla="*/ 80 h 205"/>
                  <a:gd name="T26" fmla="*/ 76 w 514"/>
                  <a:gd name="T27" fmla="*/ 134 h 205"/>
                  <a:gd name="T28" fmla="*/ 109 w 514"/>
                  <a:gd name="T29" fmla="*/ 134 h 205"/>
                  <a:gd name="T30" fmla="*/ 57 w 514"/>
                  <a:gd name="T31" fmla="*/ 179 h 205"/>
                  <a:gd name="T32" fmla="*/ 96 w 514"/>
                  <a:gd name="T33" fmla="*/ 152 h 205"/>
                  <a:gd name="T34" fmla="*/ 133 w 514"/>
                  <a:gd name="T35" fmla="*/ 171 h 205"/>
                  <a:gd name="T36" fmla="*/ 114 w 514"/>
                  <a:gd name="T37" fmla="*/ 148 h 205"/>
                  <a:gd name="T38" fmla="*/ 149 w 514"/>
                  <a:gd name="T39" fmla="*/ 134 h 205"/>
                  <a:gd name="T40" fmla="*/ 122 w 514"/>
                  <a:gd name="T41" fmla="*/ 118 h 205"/>
                  <a:gd name="T42" fmla="*/ 155 w 514"/>
                  <a:gd name="T43" fmla="*/ 104 h 205"/>
                  <a:gd name="T44" fmla="*/ 165 w 514"/>
                  <a:gd name="T45" fmla="*/ 72 h 205"/>
                  <a:gd name="T46" fmla="*/ 201 w 514"/>
                  <a:gd name="T47" fmla="*/ 171 h 205"/>
                  <a:gd name="T48" fmla="*/ 178 w 514"/>
                  <a:gd name="T49" fmla="*/ 148 h 205"/>
                  <a:gd name="T50" fmla="*/ 179 w 514"/>
                  <a:gd name="T51" fmla="*/ 142 h 205"/>
                  <a:gd name="T52" fmla="*/ 202 w 514"/>
                  <a:gd name="T53" fmla="*/ 110 h 205"/>
                  <a:gd name="T54" fmla="*/ 245 w 514"/>
                  <a:gd name="T55" fmla="*/ 171 h 205"/>
                  <a:gd name="T56" fmla="*/ 219 w 514"/>
                  <a:gd name="T57" fmla="*/ 148 h 205"/>
                  <a:gd name="T58" fmla="*/ 246 w 514"/>
                  <a:gd name="T59" fmla="*/ 134 h 205"/>
                  <a:gd name="T60" fmla="*/ 215 w 514"/>
                  <a:gd name="T61" fmla="*/ 118 h 205"/>
                  <a:gd name="T62" fmla="*/ 246 w 514"/>
                  <a:gd name="T63" fmla="*/ 134 h 205"/>
                  <a:gd name="T64" fmla="*/ 217 w 514"/>
                  <a:gd name="T65" fmla="*/ 96 h 205"/>
                  <a:gd name="T66" fmla="*/ 248 w 514"/>
                  <a:gd name="T67" fmla="*/ 80 h 205"/>
                  <a:gd name="T68" fmla="*/ 284 w 514"/>
                  <a:gd name="T69" fmla="*/ 72 h 205"/>
                  <a:gd name="T70" fmla="*/ 272 w 514"/>
                  <a:gd name="T71" fmla="*/ 104 h 205"/>
                  <a:gd name="T72" fmla="*/ 272 w 514"/>
                  <a:gd name="T73" fmla="*/ 110 h 205"/>
                  <a:gd name="T74" fmla="*/ 290 w 514"/>
                  <a:gd name="T75" fmla="*/ 142 h 205"/>
                  <a:gd name="T76" fmla="*/ 276 w 514"/>
                  <a:gd name="T77" fmla="*/ 179 h 205"/>
                  <a:gd name="T78" fmla="*/ 292 w 514"/>
                  <a:gd name="T79" fmla="*/ 148 h 205"/>
                  <a:gd name="T80" fmla="*/ 302 w 514"/>
                  <a:gd name="T81" fmla="*/ 118 h 205"/>
                  <a:gd name="T82" fmla="*/ 338 w 514"/>
                  <a:gd name="T83" fmla="*/ 134 h 205"/>
                  <a:gd name="T84" fmla="*/ 340 w 514"/>
                  <a:gd name="T85" fmla="*/ 179 h 205"/>
                  <a:gd name="T86" fmla="*/ 315 w 514"/>
                  <a:gd name="T87" fmla="*/ 148 h 205"/>
                  <a:gd name="T88" fmla="*/ 346 w 514"/>
                  <a:gd name="T89" fmla="*/ 96 h 205"/>
                  <a:gd name="T90" fmla="*/ 376 w 514"/>
                  <a:gd name="T91" fmla="*/ 96 h 205"/>
                  <a:gd name="T92" fmla="*/ 357 w 514"/>
                  <a:gd name="T93" fmla="*/ 118 h 205"/>
                  <a:gd name="T94" fmla="*/ 395 w 514"/>
                  <a:gd name="T95" fmla="*/ 134 h 205"/>
                  <a:gd name="T96" fmla="*/ 409 w 514"/>
                  <a:gd name="T97" fmla="*/ 179 h 205"/>
                  <a:gd name="T98" fmla="*/ 379 w 514"/>
                  <a:gd name="T99" fmla="*/ 148 h 205"/>
                  <a:gd name="T100" fmla="*/ 454 w 514"/>
                  <a:gd name="T101" fmla="*/ 179 h 205"/>
                  <a:gd name="T102" fmla="*/ 420 w 514"/>
                  <a:gd name="T103" fmla="*/ 148 h 2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514" h="205">
                    <a:moveTo>
                      <a:pt x="512" y="180"/>
                    </a:moveTo>
                    <a:cubicBezTo>
                      <a:pt x="430" y="52"/>
                      <a:pt x="430" y="52"/>
                      <a:pt x="430" y="52"/>
                    </a:cubicBezTo>
                    <a:cubicBezTo>
                      <a:pt x="427" y="47"/>
                      <a:pt x="422" y="44"/>
                      <a:pt x="416" y="44"/>
                    </a:cubicBezTo>
                    <a:cubicBezTo>
                      <a:pt x="171" y="44"/>
                      <a:pt x="171" y="44"/>
                      <a:pt x="171" y="44"/>
                    </a:cubicBezTo>
                    <a:cubicBezTo>
                      <a:pt x="162" y="0"/>
                      <a:pt x="162" y="0"/>
                      <a:pt x="162" y="0"/>
                    </a:cubicBezTo>
                    <a:cubicBezTo>
                      <a:pt x="126" y="0"/>
                      <a:pt x="126" y="0"/>
                      <a:pt x="126" y="0"/>
                    </a:cubicBezTo>
                    <a:cubicBezTo>
                      <a:pt x="115" y="44"/>
                      <a:pt x="115" y="44"/>
                      <a:pt x="115" y="44"/>
                    </a:cubicBezTo>
                    <a:cubicBezTo>
                      <a:pt x="97" y="44"/>
                      <a:pt x="97" y="44"/>
                      <a:pt x="97" y="44"/>
                    </a:cubicBezTo>
                    <a:cubicBezTo>
                      <a:pt x="91" y="44"/>
                      <a:pt x="86" y="47"/>
                      <a:pt x="83" y="52"/>
                    </a:cubicBezTo>
                    <a:cubicBezTo>
                      <a:pt x="5" y="181"/>
                      <a:pt x="5" y="181"/>
                      <a:pt x="5" y="181"/>
                    </a:cubicBezTo>
                    <a:cubicBezTo>
                      <a:pt x="0" y="188"/>
                      <a:pt x="3" y="198"/>
                      <a:pt x="11" y="203"/>
                    </a:cubicBezTo>
                    <a:cubicBezTo>
                      <a:pt x="13" y="204"/>
                      <a:pt x="16" y="205"/>
                      <a:pt x="19" y="205"/>
                    </a:cubicBezTo>
                    <a:cubicBezTo>
                      <a:pt x="498" y="205"/>
                      <a:pt x="498" y="205"/>
                      <a:pt x="498" y="205"/>
                    </a:cubicBezTo>
                    <a:cubicBezTo>
                      <a:pt x="507" y="205"/>
                      <a:pt x="514" y="198"/>
                      <a:pt x="514" y="189"/>
                    </a:cubicBezTo>
                    <a:cubicBezTo>
                      <a:pt x="514" y="186"/>
                      <a:pt x="513" y="183"/>
                      <a:pt x="512" y="180"/>
                    </a:cubicBezTo>
                    <a:close/>
                    <a:moveTo>
                      <a:pt x="426" y="118"/>
                    </a:moveTo>
                    <a:cubicBezTo>
                      <a:pt x="435" y="134"/>
                      <a:pt x="435" y="134"/>
                      <a:pt x="435" y="134"/>
                    </a:cubicBezTo>
                    <a:cubicBezTo>
                      <a:pt x="437" y="138"/>
                      <a:pt x="435" y="142"/>
                      <a:pt x="430" y="142"/>
                    </a:cubicBezTo>
                    <a:cubicBezTo>
                      <a:pt x="414" y="142"/>
                      <a:pt x="414" y="142"/>
                      <a:pt x="414" y="142"/>
                    </a:cubicBezTo>
                    <a:cubicBezTo>
                      <a:pt x="408" y="141"/>
                      <a:pt x="404" y="138"/>
                      <a:pt x="402" y="134"/>
                    </a:cubicBezTo>
                    <a:cubicBezTo>
                      <a:pt x="395" y="118"/>
                      <a:pt x="395" y="118"/>
                      <a:pt x="395" y="118"/>
                    </a:cubicBezTo>
                    <a:cubicBezTo>
                      <a:pt x="393" y="114"/>
                      <a:pt x="395" y="110"/>
                      <a:pt x="399" y="110"/>
                    </a:cubicBezTo>
                    <a:cubicBezTo>
                      <a:pt x="414" y="110"/>
                      <a:pt x="414" y="110"/>
                      <a:pt x="414" y="110"/>
                    </a:cubicBezTo>
                    <a:cubicBezTo>
                      <a:pt x="420" y="110"/>
                      <a:pt x="424" y="114"/>
                      <a:pt x="426" y="118"/>
                    </a:cubicBezTo>
                    <a:close/>
                    <a:moveTo>
                      <a:pt x="378" y="72"/>
                    </a:moveTo>
                    <a:cubicBezTo>
                      <a:pt x="392" y="72"/>
                      <a:pt x="392" y="72"/>
                      <a:pt x="392" y="72"/>
                    </a:cubicBezTo>
                    <a:cubicBezTo>
                      <a:pt x="397" y="73"/>
                      <a:pt x="401" y="76"/>
                      <a:pt x="403" y="80"/>
                    </a:cubicBezTo>
                    <a:cubicBezTo>
                      <a:pt x="411" y="96"/>
                      <a:pt x="411" y="96"/>
                      <a:pt x="411" y="96"/>
                    </a:cubicBezTo>
                    <a:cubicBezTo>
                      <a:pt x="414" y="100"/>
                      <a:pt x="412" y="104"/>
                      <a:pt x="408" y="104"/>
                    </a:cubicBezTo>
                    <a:cubicBezTo>
                      <a:pt x="392" y="104"/>
                      <a:pt x="392" y="104"/>
                      <a:pt x="392" y="104"/>
                    </a:cubicBezTo>
                    <a:cubicBezTo>
                      <a:pt x="388" y="104"/>
                      <a:pt x="383" y="100"/>
                      <a:pt x="381" y="96"/>
                    </a:cubicBezTo>
                    <a:cubicBezTo>
                      <a:pt x="375" y="80"/>
                      <a:pt x="375" y="80"/>
                      <a:pt x="375" y="80"/>
                    </a:cubicBezTo>
                    <a:cubicBezTo>
                      <a:pt x="373" y="76"/>
                      <a:pt x="375" y="72"/>
                      <a:pt x="378" y="72"/>
                    </a:cubicBezTo>
                    <a:close/>
                    <a:moveTo>
                      <a:pt x="303" y="72"/>
                    </a:moveTo>
                    <a:cubicBezTo>
                      <a:pt x="316" y="72"/>
                      <a:pt x="316" y="72"/>
                      <a:pt x="316" y="72"/>
                    </a:cubicBezTo>
                    <a:cubicBezTo>
                      <a:pt x="321" y="73"/>
                      <a:pt x="324" y="76"/>
                      <a:pt x="325" y="80"/>
                    </a:cubicBezTo>
                    <a:cubicBezTo>
                      <a:pt x="329" y="96"/>
                      <a:pt x="329" y="96"/>
                      <a:pt x="329" y="96"/>
                    </a:cubicBezTo>
                    <a:cubicBezTo>
                      <a:pt x="330" y="99"/>
                      <a:pt x="329" y="102"/>
                      <a:pt x="326" y="104"/>
                    </a:cubicBezTo>
                    <a:cubicBezTo>
                      <a:pt x="325" y="104"/>
                      <a:pt x="324" y="104"/>
                      <a:pt x="324" y="104"/>
                    </a:cubicBezTo>
                    <a:cubicBezTo>
                      <a:pt x="308" y="104"/>
                      <a:pt x="308" y="104"/>
                      <a:pt x="308" y="104"/>
                    </a:cubicBezTo>
                    <a:cubicBezTo>
                      <a:pt x="304" y="104"/>
                      <a:pt x="300" y="100"/>
                      <a:pt x="300" y="96"/>
                    </a:cubicBezTo>
                    <a:cubicBezTo>
                      <a:pt x="297" y="80"/>
                      <a:pt x="297" y="80"/>
                      <a:pt x="297" y="80"/>
                    </a:cubicBezTo>
                    <a:cubicBezTo>
                      <a:pt x="296" y="77"/>
                      <a:pt x="298" y="74"/>
                      <a:pt x="302" y="73"/>
                    </a:cubicBezTo>
                    <a:cubicBezTo>
                      <a:pt x="302" y="73"/>
                      <a:pt x="302" y="72"/>
                      <a:pt x="303" y="72"/>
                    </a:cubicBezTo>
                    <a:close/>
                    <a:moveTo>
                      <a:pt x="182" y="96"/>
                    </a:moveTo>
                    <a:cubicBezTo>
                      <a:pt x="186" y="80"/>
                      <a:pt x="186" y="80"/>
                      <a:pt x="186" y="80"/>
                    </a:cubicBezTo>
                    <a:cubicBezTo>
                      <a:pt x="187" y="76"/>
                      <a:pt x="190" y="73"/>
                      <a:pt x="195" y="72"/>
                    </a:cubicBezTo>
                    <a:cubicBezTo>
                      <a:pt x="208" y="72"/>
                      <a:pt x="208" y="72"/>
                      <a:pt x="208" y="72"/>
                    </a:cubicBezTo>
                    <a:cubicBezTo>
                      <a:pt x="212" y="73"/>
                      <a:pt x="214" y="76"/>
                      <a:pt x="214" y="79"/>
                    </a:cubicBezTo>
                    <a:cubicBezTo>
                      <a:pt x="214" y="80"/>
                      <a:pt x="214" y="80"/>
                      <a:pt x="214" y="80"/>
                    </a:cubicBezTo>
                    <a:cubicBezTo>
                      <a:pt x="212" y="96"/>
                      <a:pt x="212" y="96"/>
                      <a:pt x="212" y="96"/>
                    </a:cubicBezTo>
                    <a:cubicBezTo>
                      <a:pt x="211" y="100"/>
                      <a:pt x="207" y="104"/>
                      <a:pt x="203" y="104"/>
                    </a:cubicBezTo>
                    <a:cubicBezTo>
                      <a:pt x="188" y="104"/>
                      <a:pt x="188" y="104"/>
                      <a:pt x="188" y="104"/>
                    </a:cubicBezTo>
                    <a:cubicBezTo>
                      <a:pt x="184" y="104"/>
                      <a:pt x="182" y="102"/>
                      <a:pt x="182" y="98"/>
                    </a:cubicBezTo>
                    <a:cubicBezTo>
                      <a:pt x="182" y="98"/>
                      <a:pt x="182" y="97"/>
                      <a:pt x="182" y="96"/>
                    </a:cubicBezTo>
                    <a:close/>
                    <a:moveTo>
                      <a:pt x="139" y="16"/>
                    </a:moveTo>
                    <a:cubicBezTo>
                      <a:pt x="150" y="16"/>
                      <a:pt x="150" y="16"/>
                      <a:pt x="150" y="16"/>
                    </a:cubicBezTo>
                    <a:cubicBezTo>
                      <a:pt x="155" y="44"/>
                      <a:pt x="155" y="44"/>
                      <a:pt x="155" y="44"/>
                    </a:cubicBezTo>
                    <a:cubicBezTo>
                      <a:pt x="132" y="44"/>
                      <a:pt x="132" y="44"/>
                      <a:pt x="132" y="44"/>
                    </a:cubicBezTo>
                    <a:lnTo>
                      <a:pt x="139" y="16"/>
                    </a:lnTo>
                    <a:close/>
                    <a:moveTo>
                      <a:pt x="100" y="96"/>
                    </a:moveTo>
                    <a:cubicBezTo>
                      <a:pt x="108" y="80"/>
                      <a:pt x="108" y="80"/>
                      <a:pt x="108" y="80"/>
                    </a:cubicBezTo>
                    <a:cubicBezTo>
                      <a:pt x="110" y="76"/>
                      <a:pt x="114" y="73"/>
                      <a:pt x="119" y="72"/>
                    </a:cubicBezTo>
                    <a:cubicBezTo>
                      <a:pt x="132" y="72"/>
                      <a:pt x="132" y="72"/>
                      <a:pt x="132" y="72"/>
                    </a:cubicBezTo>
                    <a:cubicBezTo>
                      <a:pt x="136" y="72"/>
                      <a:pt x="138" y="76"/>
                      <a:pt x="136" y="80"/>
                    </a:cubicBezTo>
                    <a:cubicBezTo>
                      <a:pt x="130" y="96"/>
                      <a:pt x="130" y="96"/>
                      <a:pt x="130" y="96"/>
                    </a:cubicBezTo>
                    <a:cubicBezTo>
                      <a:pt x="128" y="100"/>
                      <a:pt x="124" y="104"/>
                      <a:pt x="118" y="104"/>
                    </a:cubicBezTo>
                    <a:cubicBezTo>
                      <a:pt x="103" y="104"/>
                      <a:pt x="103" y="104"/>
                      <a:pt x="103" y="104"/>
                    </a:cubicBezTo>
                    <a:cubicBezTo>
                      <a:pt x="99" y="104"/>
                      <a:pt x="98" y="100"/>
                      <a:pt x="100" y="96"/>
                    </a:cubicBezTo>
                    <a:close/>
                    <a:moveTo>
                      <a:pt x="76" y="134"/>
                    </a:moveTo>
                    <a:cubicBezTo>
                      <a:pt x="84" y="118"/>
                      <a:pt x="84" y="118"/>
                      <a:pt x="84" y="118"/>
                    </a:cubicBezTo>
                    <a:cubicBezTo>
                      <a:pt x="87" y="114"/>
                      <a:pt x="91" y="110"/>
                      <a:pt x="96" y="110"/>
                    </a:cubicBezTo>
                    <a:cubicBezTo>
                      <a:pt x="112" y="110"/>
                      <a:pt x="112" y="110"/>
                      <a:pt x="112" y="110"/>
                    </a:cubicBezTo>
                    <a:cubicBezTo>
                      <a:pt x="116" y="110"/>
                      <a:pt x="118" y="114"/>
                      <a:pt x="116" y="118"/>
                    </a:cubicBezTo>
                    <a:cubicBezTo>
                      <a:pt x="109" y="134"/>
                      <a:pt x="109" y="134"/>
                      <a:pt x="109" y="134"/>
                    </a:cubicBezTo>
                    <a:cubicBezTo>
                      <a:pt x="107" y="138"/>
                      <a:pt x="102" y="141"/>
                      <a:pt x="97" y="142"/>
                    </a:cubicBezTo>
                    <a:cubicBezTo>
                      <a:pt x="80" y="142"/>
                      <a:pt x="80" y="142"/>
                      <a:pt x="80" y="142"/>
                    </a:cubicBezTo>
                    <a:cubicBezTo>
                      <a:pt x="76" y="142"/>
                      <a:pt x="74" y="138"/>
                      <a:pt x="76" y="134"/>
                    </a:cubicBezTo>
                    <a:close/>
                    <a:moveTo>
                      <a:pt x="76" y="179"/>
                    </a:moveTo>
                    <a:cubicBezTo>
                      <a:pt x="57" y="179"/>
                      <a:pt x="57" y="179"/>
                      <a:pt x="57" y="179"/>
                    </a:cubicBezTo>
                    <a:cubicBezTo>
                      <a:pt x="52" y="179"/>
                      <a:pt x="49" y="176"/>
                      <a:pt x="52" y="171"/>
                    </a:cubicBezTo>
                    <a:cubicBezTo>
                      <a:pt x="60" y="156"/>
                      <a:pt x="60" y="156"/>
                      <a:pt x="60" y="156"/>
                    </a:cubicBezTo>
                    <a:cubicBezTo>
                      <a:pt x="63" y="151"/>
                      <a:pt x="68" y="148"/>
                      <a:pt x="73" y="148"/>
                    </a:cubicBezTo>
                    <a:cubicBezTo>
                      <a:pt x="90" y="148"/>
                      <a:pt x="90" y="148"/>
                      <a:pt x="90" y="148"/>
                    </a:cubicBezTo>
                    <a:cubicBezTo>
                      <a:pt x="93" y="147"/>
                      <a:pt x="96" y="149"/>
                      <a:pt x="96" y="152"/>
                    </a:cubicBezTo>
                    <a:cubicBezTo>
                      <a:pt x="96" y="153"/>
                      <a:pt x="96" y="154"/>
                      <a:pt x="96" y="156"/>
                    </a:cubicBezTo>
                    <a:cubicBezTo>
                      <a:pt x="89" y="171"/>
                      <a:pt x="89" y="171"/>
                      <a:pt x="89" y="171"/>
                    </a:cubicBezTo>
                    <a:cubicBezTo>
                      <a:pt x="86" y="176"/>
                      <a:pt x="81" y="179"/>
                      <a:pt x="76" y="179"/>
                    </a:cubicBezTo>
                    <a:close/>
                    <a:moveTo>
                      <a:pt x="138" y="156"/>
                    </a:moveTo>
                    <a:cubicBezTo>
                      <a:pt x="133" y="171"/>
                      <a:pt x="133" y="171"/>
                      <a:pt x="133" y="171"/>
                    </a:cubicBezTo>
                    <a:cubicBezTo>
                      <a:pt x="131" y="176"/>
                      <a:pt x="126" y="179"/>
                      <a:pt x="121" y="179"/>
                    </a:cubicBezTo>
                    <a:cubicBezTo>
                      <a:pt x="102" y="179"/>
                      <a:pt x="102" y="179"/>
                      <a:pt x="102" y="179"/>
                    </a:cubicBezTo>
                    <a:cubicBezTo>
                      <a:pt x="97" y="179"/>
                      <a:pt x="94" y="176"/>
                      <a:pt x="96" y="171"/>
                    </a:cubicBezTo>
                    <a:cubicBezTo>
                      <a:pt x="102" y="156"/>
                      <a:pt x="102" y="156"/>
                      <a:pt x="102" y="156"/>
                    </a:cubicBezTo>
                    <a:cubicBezTo>
                      <a:pt x="105" y="151"/>
                      <a:pt x="109" y="148"/>
                      <a:pt x="114" y="148"/>
                    </a:cubicBezTo>
                    <a:cubicBezTo>
                      <a:pt x="132" y="148"/>
                      <a:pt x="132" y="148"/>
                      <a:pt x="132" y="148"/>
                    </a:cubicBezTo>
                    <a:cubicBezTo>
                      <a:pt x="135" y="147"/>
                      <a:pt x="138" y="149"/>
                      <a:pt x="138" y="152"/>
                    </a:cubicBezTo>
                    <a:cubicBezTo>
                      <a:pt x="138" y="154"/>
                      <a:pt x="138" y="154"/>
                      <a:pt x="138" y="156"/>
                    </a:cubicBezTo>
                    <a:close/>
                    <a:moveTo>
                      <a:pt x="154" y="118"/>
                    </a:moveTo>
                    <a:cubicBezTo>
                      <a:pt x="149" y="134"/>
                      <a:pt x="149" y="134"/>
                      <a:pt x="149" y="134"/>
                    </a:cubicBezTo>
                    <a:cubicBezTo>
                      <a:pt x="148" y="138"/>
                      <a:pt x="143" y="142"/>
                      <a:pt x="138" y="142"/>
                    </a:cubicBezTo>
                    <a:cubicBezTo>
                      <a:pt x="121" y="142"/>
                      <a:pt x="121" y="142"/>
                      <a:pt x="121" y="142"/>
                    </a:cubicBezTo>
                    <a:cubicBezTo>
                      <a:pt x="118" y="142"/>
                      <a:pt x="116" y="140"/>
                      <a:pt x="115" y="137"/>
                    </a:cubicBezTo>
                    <a:cubicBezTo>
                      <a:pt x="115" y="136"/>
                      <a:pt x="115" y="135"/>
                      <a:pt x="116" y="134"/>
                    </a:cubicBezTo>
                    <a:cubicBezTo>
                      <a:pt x="122" y="118"/>
                      <a:pt x="122" y="118"/>
                      <a:pt x="122" y="118"/>
                    </a:cubicBezTo>
                    <a:cubicBezTo>
                      <a:pt x="124" y="114"/>
                      <a:pt x="129" y="110"/>
                      <a:pt x="134" y="110"/>
                    </a:cubicBezTo>
                    <a:cubicBezTo>
                      <a:pt x="149" y="110"/>
                      <a:pt x="149" y="110"/>
                      <a:pt x="149" y="110"/>
                    </a:cubicBezTo>
                    <a:cubicBezTo>
                      <a:pt x="152" y="110"/>
                      <a:pt x="154" y="112"/>
                      <a:pt x="155" y="115"/>
                    </a:cubicBezTo>
                    <a:cubicBezTo>
                      <a:pt x="155" y="116"/>
                      <a:pt x="154" y="117"/>
                      <a:pt x="154" y="118"/>
                    </a:cubicBezTo>
                    <a:close/>
                    <a:moveTo>
                      <a:pt x="155" y="104"/>
                    </a:moveTo>
                    <a:cubicBezTo>
                      <a:pt x="140" y="104"/>
                      <a:pt x="140" y="104"/>
                      <a:pt x="140" y="104"/>
                    </a:cubicBezTo>
                    <a:cubicBezTo>
                      <a:pt x="135" y="104"/>
                      <a:pt x="133" y="100"/>
                      <a:pt x="135" y="96"/>
                    </a:cubicBezTo>
                    <a:cubicBezTo>
                      <a:pt x="142" y="80"/>
                      <a:pt x="142" y="80"/>
                      <a:pt x="142" y="80"/>
                    </a:cubicBezTo>
                    <a:cubicBezTo>
                      <a:pt x="143" y="76"/>
                      <a:pt x="147" y="73"/>
                      <a:pt x="152" y="72"/>
                    </a:cubicBezTo>
                    <a:cubicBezTo>
                      <a:pt x="165" y="72"/>
                      <a:pt x="165" y="72"/>
                      <a:pt x="165" y="72"/>
                    </a:cubicBezTo>
                    <a:cubicBezTo>
                      <a:pt x="169" y="72"/>
                      <a:pt x="171" y="76"/>
                      <a:pt x="170" y="80"/>
                    </a:cubicBezTo>
                    <a:cubicBezTo>
                      <a:pt x="165" y="96"/>
                      <a:pt x="165" y="96"/>
                      <a:pt x="165" y="96"/>
                    </a:cubicBezTo>
                    <a:cubicBezTo>
                      <a:pt x="164" y="100"/>
                      <a:pt x="160" y="104"/>
                      <a:pt x="155" y="104"/>
                    </a:cubicBezTo>
                    <a:close/>
                    <a:moveTo>
                      <a:pt x="203" y="156"/>
                    </a:moveTo>
                    <a:cubicBezTo>
                      <a:pt x="201" y="171"/>
                      <a:pt x="201" y="171"/>
                      <a:pt x="201" y="171"/>
                    </a:cubicBezTo>
                    <a:cubicBezTo>
                      <a:pt x="200" y="176"/>
                      <a:pt x="195" y="180"/>
                      <a:pt x="190" y="179"/>
                    </a:cubicBezTo>
                    <a:cubicBezTo>
                      <a:pt x="171" y="179"/>
                      <a:pt x="171" y="179"/>
                      <a:pt x="171" y="179"/>
                    </a:cubicBezTo>
                    <a:cubicBezTo>
                      <a:pt x="166" y="179"/>
                      <a:pt x="162" y="176"/>
                      <a:pt x="164" y="171"/>
                    </a:cubicBezTo>
                    <a:cubicBezTo>
                      <a:pt x="168" y="156"/>
                      <a:pt x="168" y="156"/>
                      <a:pt x="168" y="156"/>
                    </a:cubicBezTo>
                    <a:cubicBezTo>
                      <a:pt x="169" y="151"/>
                      <a:pt x="174" y="148"/>
                      <a:pt x="178" y="148"/>
                    </a:cubicBezTo>
                    <a:cubicBezTo>
                      <a:pt x="196" y="148"/>
                      <a:pt x="196" y="148"/>
                      <a:pt x="196" y="148"/>
                    </a:cubicBezTo>
                    <a:cubicBezTo>
                      <a:pt x="200" y="147"/>
                      <a:pt x="203" y="150"/>
                      <a:pt x="203" y="154"/>
                    </a:cubicBezTo>
                    <a:cubicBezTo>
                      <a:pt x="203" y="155"/>
                      <a:pt x="203" y="155"/>
                      <a:pt x="203" y="156"/>
                    </a:cubicBezTo>
                    <a:close/>
                    <a:moveTo>
                      <a:pt x="196" y="142"/>
                    </a:moveTo>
                    <a:cubicBezTo>
                      <a:pt x="179" y="142"/>
                      <a:pt x="179" y="142"/>
                      <a:pt x="179" y="142"/>
                    </a:cubicBezTo>
                    <a:cubicBezTo>
                      <a:pt x="176" y="142"/>
                      <a:pt x="173" y="140"/>
                      <a:pt x="172" y="136"/>
                    </a:cubicBezTo>
                    <a:cubicBezTo>
                      <a:pt x="172" y="135"/>
                      <a:pt x="172" y="134"/>
                      <a:pt x="173" y="134"/>
                    </a:cubicBezTo>
                    <a:cubicBezTo>
                      <a:pt x="177" y="118"/>
                      <a:pt x="177" y="118"/>
                      <a:pt x="177" y="118"/>
                    </a:cubicBezTo>
                    <a:cubicBezTo>
                      <a:pt x="178" y="114"/>
                      <a:pt x="182" y="110"/>
                      <a:pt x="187" y="110"/>
                    </a:cubicBezTo>
                    <a:cubicBezTo>
                      <a:pt x="202" y="110"/>
                      <a:pt x="202" y="110"/>
                      <a:pt x="202" y="110"/>
                    </a:cubicBezTo>
                    <a:cubicBezTo>
                      <a:pt x="206" y="110"/>
                      <a:pt x="209" y="113"/>
                      <a:pt x="209" y="116"/>
                    </a:cubicBezTo>
                    <a:cubicBezTo>
                      <a:pt x="209" y="117"/>
                      <a:pt x="209" y="117"/>
                      <a:pt x="209" y="118"/>
                    </a:cubicBezTo>
                    <a:cubicBezTo>
                      <a:pt x="206" y="134"/>
                      <a:pt x="206" y="134"/>
                      <a:pt x="206" y="134"/>
                    </a:cubicBezTo>
                    <a:cubicBezTo>
                      <a:pt x="205" y="138"/>
                      <a:pt x="201" y="142"/>
                      <a:pt x="196" y="142"/>
                    </a:cubicBezTo>
                    <a:close/>
                    <a:moveTo>
                      <a:pt x="245" y="171"/>
                    </a:moveTo>
                    <a:cubicBezTo>
                      <a:pt x="244" y="176"/>
                      <a:pt x="240" y="180"/>
                      <a:pt x="235" y="179"/>
                    </a:cubicBezTo>
                    <a:cubicBezTo>
                      <a:pt x="216" y="179"/>
                      <a:pt x="216" y="179"/>
                      <a:pt x="216" y="179"/>
                    </a:cubicBezTo>
                    <a:cubicBezTo>
                      <a:pt x="211" y="179"/>
                      <a:pt x="207" y="176"/>
                      <a:pt x="207" y="171"/>
                    </a:cubicBezTo>
                    <a:cubicBezTo>
                      <a:pt x="209" y="156"/>
                      <a:pt x="209" y="156"/>
                      <a:pt x="209" y="156"/>
                    </a:cubicBezTo>
                    <a:cubicBezTo>
                      <a:pt x="210" y="151"/>
                      <a:pt x="214" y="148"/>
                      <a:pt x="219" y="148"/>
                    </a:cubicBezTo>
                    <a:cubicBezTo>
                      <a:pt x="236" y="148"/>
                      <a:pt x="236" y="148"/>
                      <a:pt x="236" y="148"/>
                    </a:cubicBezTo>
                    <a:cubicBezTo>
                      <a:pt x="241" y="147"/>
                      <a:pt x="245" y="150"/>
                      <a:pt x="245" y="155"/>
                    </a:cubicBezTo>
                    <a:cubicBezTo>
                      <a:pt x="245" y="155"/>
                      <a:pt x="245" y="155"/>
                      <a:pt x="245" y="156"/>
                    </a:cubicBezTo>
                    <a:lnTo>
                      <a:pt x="245" y="171"/>
                    </a:lnTo>
                    <a:close/>
                    <a:moveTo>
                      <a:pt x="246" y="134"/>
                    </a:moveTo>
                    <a:cubicBezTo>
                      <a:pt x="246" y="138"/>
                      <a:pt x="242" y="142"/>
                      <a:pt x="237" y="142"/>
                    </a:cubicBezTo>
                    <a:cubicBezTo>
                      <a:pt x="220" y="142"/>
                      <a:pt x="220" y="142"/>
                      <a:pt x="220" y="142"/>
                    </a:cubicBezTo>
                    <a:cubicBezTo>
                      <a:pt x="216" y="142"/>
                      <a:pt x="213" y="139"/>
                      <a:pt x="213" y="135"/>
                    </a:cubicBezTo>
                    <a:cubicBezTo>
                      <a:pt x="213" y="134"/>
                      <a:pt x="213" y="134"/>
                      <a:pt x="213" y="134"/>
                    </a:cubicBezTo>
                    <a:cubicBezTo>
                      <a:pt x="215" y="118"/>
                      <a:pt x="215" y="118"/>
                      <a:pt x="215" y="118"/>
                    </a:cubicBezTo>
                    <a:cubicBezTo>
                      <a:pt x="216" y="114"/>
                      <a:pt x="219" y="110"/>
                      <a:pt x="224" y="110"/>
                    </a:cubicBezTo>
                    <a:cubicBezTo>
                      <a:pt x="239" y="110"/>
                      <a:pt x="239" y="110"/>
                      <a:pt x="239" y="110"/>
                    </a:cubicBezTo>
                    <a:cubicBezTo>
                      <a:pt x="243" y="110"/>
                      <a:pt x="246" y="114"/>
                      <a:pt x="246" y="118"/>
                    </a:cubicBezTo>
                    <a:cubicBezTo>
                      <a:pt x="246" y="118"/>
                      <a:pt x="246" y="118"/>
                      <a:pt x="246" y="118"/>
                    </a:cubicBezTo>
                    <a:lnTo>
                      <a:pt x="246" y="134"/>
                    </a:lnTo>
                    <a:close/>
                    <a:moveTo>
                      <a:pt x="247" y="96"/>
                    </a:moveTo>
                    <a:cubicBezTo>
                      <a:pt x="247" y="100"/>
                      <a:pt x="243" y="104"/>
                      <a:pt x="239" y="104"/>
                    </a:cubicBezTo>
                    <a:cubicBezTo>
                      <a:pt x="224" y="104"/>
                      <a:pt x="224" y="104"/>
                      <a:pt x="224" y="104"/>
                    </a:cubicBezTo>
                    <a:cubicBezTo>
                      <a:pt x="220" y="104"/>
                      <a:pt x="217" y="101"/>
                      <a:pt x="217" y="97"/>
                    </a:cubicBezTo>
                    <a:cubicBezTo>
                      <a:pt x="217" y="97"/>
                      <a:pt x="217" y="96"/>
                      <a:pt x="217" y="96"/>
                    </a:cubicBezTo>
                    <a:cubicBezTo>
                      <a:pt x="219" y="80"/>
                      <a:pt x="219" y="80"/>
                      <a:pt x="219" y="80"/>
                    </a:cubicBezTo>
                    <a:cubicBezTo>
                      <a:pt x="220" y="76"/>
                      <a:pt x="223" y="73"/>
                      <a:pt x="227" y="72"/>
                    </a:cubicBezTo>
                    <a:cubicBezTo>
                      <a:pt x="241" y="72"/>
                      <a:pt x="241" y="72"/>
                      <a:pt x="241" y="72"/>
                    </a:cubicBezTo>
                    <a:cubicBezTo>
                      <a:pt x="245" y="73"/>
                      <a:pt x="248" y="76"/>
                      <a:pt x="248" y="80"/>
                    </a:cubicBezTo>
                    <a:cubicBezTo>
                      <a:pt x="248" y="80"/>
                      <a:pt x="248" y="80"/>
                      <a:pt x="248" y="80"/>
                    </a:cubicBezTo>
                    <a:lnTo>
                      <a:pt x="247" y="96"/>
                    </a:lnTo>
                    <a:close/>
                    <a:moveTo>
                      <a:pt x="264" y="80"/>
                    </a:moveTo>
                    <a:cubicBezTo>
                      <a:pt x="263" y="76"/>
                      <a:pt x="266" y="73"/>
                      <a:pt x="270" y="72"/>
                    </a:cubicBezTo>
                    <a:cubicBezTo>
                      <a:pt x="270" y="72"/>
                      <a:pt x="270" y="72"/>
                      <a:pt x="270" y="72"/>
                    </a:cubicBezTo>
                    <a:cubicBezTo>
                      <a:pt x="284" y="72"/>
                      <a:pt x="284" y="72"/>
                      <a:pt x="284" y="72"/>
                    </a:cubicBezTo>
                    <a:cubicBezTo>
                      <a:pt x="288" y="73"/>
                      <a:pt x="292" y="76"/>
                      <a:pt x="292" y="80"/>
                    </a:cubicBezTo>
                    <a:cubicBezTo>
                      <a:pt x="294" y="96"/>
                      <a:pt x="294" y="96"/>
                      <a:pt x="294" y="96"/>
                    </a:cubicBezTo>
                    <a:cubicBezTo>
                      <a:pt x="295" y="100"/>
                      <a:pt x="292" y="103"/>
                      <a:pt x="288" y="104"/>
                    </a:cubicBezTo>
                    <a:cubicBezTo>
                      <a:pt x="288" y="104"/>
                      <a:pt x="288" y="104"/>
                      <a:pt x="287" y="104"/>
                    </a:cubicBezTo>
                    <a:cubicBezTo>
                      <a:pt x="272" y="104"/>
                      <a:pt x="272" y="104"/>
                      <a:pt x="272" y="104"/>
                    </a:cubicBezTo>
                    <a:cubicBezTo>
                      <a:pt x="268" y="104"/>
                      <a:pt x="264" y="100"/>
                      <a:pt x="264" y="96"/>
                    </a:cubicBezTo>
                    <a:lnTo>
                      <a:pt x="264" y="80"/>
                    </a:lnTo>
                    <a:close/>
                    <a:moveTo>
                      <a:pt x="264" y="118"/>
                    </a:moveTo>
                    <a:cubicBezTo>
                      <a:pt x="264" y="114"/>
                      <a:pt x="268" y="110"/>
                      <a:pt x="272" y="110"/>
                    </a:cubicBezTo>
                    <a:cubicBezTo>
                      <a:pt x="272" y="110"/>
                      <a:pt x="272" y="110"/>
                      <a:pt x="272" y="110"/>
                    </a:cubicBezTo>
                    <a:cubicBezTo>
                      <a:pt x="287" y="110"/>
                      <a:pt x="287" y="110"/>
                      <a:pt x="287" y="110"/>
                    </a:cubicBezTo>
                    <a:cubicBezTo>
                      <a:pt x="292" y="110"/>
                      <a:pt x="296" y="114"/>
                      <a:pt x="296" y="118"/>
                    </a:cubicBezTo>
                    <a:cubicBezTo>
                      <a:pt x="298" y="134"/>
                      <a:pt x="298" y="134"/>
                      <a:pt x="298" y="134"/>
                    </a:cubicBezTo>
                    <a:cubicBezTo>
                      <a:pt x="298" y="138"/>
                      <a:pt x="296" y="141"/>
                      <a:pt x="292" y="142"/>
                    </a:cubicBezTo>
                    <a:cubicBezTo>
                      <a:pt x="291" y="142"/>
                      <a:pt x="291" y="142"/>
                      <a:pt x="290" y="142"/>
                    </a:cubicBezTo>
                    <a:cubicBezTo>
                      <a:pt x="274" y="142"/>
                      <a:pt x="274" y="142"/>
                      <a:pt x="274" y="142"/>
                    </a:cubicBezTo>
                    <a:cubicBezTo>
                      <a:pt x="269" y="142"/>
                      <a:pt x="266" y="138"/>
                      <a:pt x="265" y="134"/>
                    </a:cubicBezTo>
                    <a:lnTo>
                      <a:pt x="264" y="118"/>
                    </a:lnTo>
                    <a:close/>
                    <a:moveTo>
                      <a:pt x="295" y="179"/>
                    </a:moveTo>
                    <a:cubicBezTo>
                      <a:pt x="276" y="179"/>
                      <a:pt x="276" y="179"/>
                      <a:pt x="276" y="179"/>
                    </a:cubicBezTo>
                    <a:cubicBezTo>
                      <a:pt x="271" y="180"/>
                      <a:pt x="267" y="176"/>
                      <a:pt x="266" y="171"/>
                    </a:cubicBezTo>
                    <a:cubicBezTo>
                      <a:pt x="266" y="156"/>
                      <a:pt x="266" y="156"/>
                      <a:pt x="266" y="156"/>
                    </a:cubicBezTo>
                    <a:cubicBezTo>
                      <a:pt x="266" y="151"/>
                      <a:pt x="270" y="148"/>
                      <a:pt x="274" y="148"/>
                    </a:cubicBezTo>
                    <a:cubicBezTo>
                      <a:pt x="274" y="148"/>
                      <a:pt x="274" y="148"/>
                      <a:pt x="274" y="148"/>
                    </a:cubicBezTo>
                    <a:cubicBezTo>
                      <a:pt x="292" y="148"/>
                      <a:pt x="292" y="148"/>
                      <a:pt x="292" y="148"/>
                    </a:cubicBezTo>
                    <a:cubicBezTo>
                      <a:pt x="296" y="148"/>
                      <a:pt x="300" y="151"/>
                      <a:pt x="301" y="156"/>
                    </a:cubicBezTo>
                    <a:cubicBezTo>
                      <a:pt x="303" y="171"/>
                      <a:pt x="303" y="171"/>
                      <a:pt x="303" y="171"/>
                    </a:cubicBezTo>
                    <a:cubicBezTo>
                      <a:pt x="304" y="176"/>
                      <a:pt x="300" y="179"/>
                      <a:pt x="295" y="179"/>
                    </a:cubicBezTo>
                    <a:close/>
                    <a:moveTo>
                      <a:pt x="305" y="134"/>
                    </a:moveTo>
                    <a:cubicBezTo>
                      <a:pt x="302" y="118"/>
                      <a:pt x="302" y="118"/>
                      <a:pt x="302" y="118"/>
                    </a:cubicBezTo>
                    <a:cubicBezTo>
                      <a:pt x="302" y="114"/>
                      <a:pt x="304" y="111"/>
                      <a:pt x="308" y="110"/>
                    </a:cubicBezTo>
                    <a:cubicBezTo>
                      <a:pt x="308" y="110"/>
                      <a:pt x="308" y="110"/>
                      <a:pt x="309" y="110"/>
                    </a:cubicBezTo>
                    <a:cubicBezTo>
                      <a:pt x="324" y="110"/>
                      <a:pt x="324" y="110"/>
                      <a:pt x="324" y="110"/>
                    </a:cubicBezTo>
                    <a:cubicBezTo>
                      <a:pt x="329" y="110"/>
                      <a:pt x="333" y="114"/>
                      <a:pt x="334" y="118"/>
                    </a:cubicBezTo>
                    <a:cubicBezTo>
                      <a:pt x="338" y="134"/>
                      <a:pt x="338" y="134"/>
                      <a:pt x="338" y="134"/>
                    </a:cubicBezTo>
                    <a:cubicBezTo>
                      <a:pt x="339" y="137"/>
                      <a:pt x="337" y="140"/>
                      <a:pt x="334" y="141"/>
                    </a:cubicBezTo>
                    <a:cubicBezTo>
                      <a:pt x="333" y="142"/>
                      <a:pt x="332" y="142"/>
                      <a:pt x="331" y="142"/>
                    </a:cubicBezTo>
                    <a:cubicBezTo>
                      <a:pt x="314" y="142"/>
                      <a:pt x="314" y="142"/>
                      <a:pt x="314" y="142"/>
                    </a:cubicBezTo>
                    <a:cubicBezTo>
                      <a:pt x="310" y="142"/>
                      <a:pt x="306" y="138"/>
                      <a:pt x="305" y="134"/>
                    </a:cubicBezTo>
                    <a:close/>
                    <a:moveTo>
                      <a:pt x="340" y="179"/>
                    </a:moveTo>
                    <a:cubicBezTo>
                      <a:pt x="321" y="179"/>
                      <a:pt x="321" y="179"/>
                      <a:pt x="321" y="179"/>
                    </a:cubicBezTo>
                    <a:cubicBezTo>
                      <a:pt x="316" y="180"/>
                      <a:pt x="311" y="176"/>
                      <a:pt x="310" y="171"/>
                    </a:cubicBezTo>
                    <a:cubicBezTo>
                      <a:pt x="308" y="156"/>
                      <a:pt x="308" y="156"/>
                      <a:pt x="308" y="156"/>
                    </a:cubicBezTo>
                    <a:cubicBezTo>
                      <a:pt x="307" y="152"/>
                      <a:pt x="310" y="148"/>
                      <a:pt x="314" y="148"/>
                    </a:cubicBezTo>
                    <a:cubicBezTo>
                      <a:pt x="314" y="148"/>
                      <a:pt x="314" y="148"/>
                      <a:pt x="315" y="148"/>
                    </a:cubicBezTo>
                    <a:cubicBezTo>
                      <a:pt x="332" y="148"/>
                      <a:pt x="332" y="148"/>
                      <a:pt x="332" y="148"/>
                    </a:cubicBezTo>
                    <a:cubicBezTo>
                      <a:pt x="337" y="148"/>
                      <a:pt x="342" y="151"/>
                      <a:pt x="343" y="156"/>
                    </a:cubicBezTo>
                    <a:cubicBezTo>
                      <a:pt x="347" y="171"/>
                      <a:pt x="347" y="171"/>
                      <a:pt x="347" y="171"/>
                    </a:cubicBezTo>
                    <a:cubicBezTo>
                      <a:pt x="348" y="176"/>
                      <a:pt x="345" y="179"/>
                      <a:pt x="340" y="179"/>
                    </a:cubicBezTo>
                    <a:close/>
                    <a:moveTo>
                      <a:pt x="346" y="96"/>
                    </a:moveTo>
                    <a:cubicBezTo>
                      <a:pt x="341" y="80"/>
                      <a:pt x="341" y="80"/>
                      <a:pt x="341" y="80"/>
                    </a:cubicBezTo>
                    <a:cubicBezTo>
                      <a:pt x="340" y="76"/>
                      <a:pt x="342" y="72"/>
                      <a:pt x="346" y="72"/>
                    </a:cubicBezTo>
                    <a:cubicBezTo>
                      <a:pt x="359" y="72"/>
                      <a:pt x="359" y="72"/>
                      <a:pt x="359" y="72"/>
                    </a:cubicBezTo>
                    <a:cubicBezTo>
                      <a:pt x="364" y="73"/>
                      <a:pt x="368" y="76"/>
                      <a:pt x="369" y="80"/>
                    </a:cubicBezTo>
                    <a:cubicBezTo>
                      <a:pt x="376" y="96"/>
                      <a:pt x="376" y="96"/>
                      <a:pt x="376" y="96"/>
                    </a:cubicBezTo>
                    <a:cubicBezTo>
                      <a:pt x="377" y="100"/>
                      <a:pt x="375" y="104"/>
                      <a:pt x="371" y="104"/>
                    </a:cubicBezTo>
                    <a:cubicBezTo>
                      <a:pt x="356" y="104"/>
                      <a:pt x="356" y="104"/>
                      <a:pt x="356" y="104"/>
                    </a:cubicBezTo>
                    <a:cubicBezTo>
                      <a:pt x="352" y="104"/>
                      <a:pt x="348" y="100"/>
                      <a:pt x="346" y="96"/>
                    </a:cubicBezTo>
                    <a:close/>
                    <a:moveTo>
                      <a:pt x="362" y="134"/>
                    </a:moveTo>
                    <a:cubicBezTo>
                      <a:pt x="357" y="118"/>
                      <a:pt x="357" y="118"/>
                      <a:pt x="357" y="118"/>
                    </a:cubicBezTo>
                    <a:cubicBezTo>
                      <a:pt x="356" y="115"/>
                      <a:pt x="357" y="112"/>
                      <a:pt x="360" y="110"/>
                    </a:cubicBezTo>
                    <a:cubicBezTo>
                      <a:pt x="360" y="110"/>
                      <a:pt x="361" y="110"/>
                      <a:pt x="362" y="110"/>
                    </a:cubicBezTo>
                    <a:cubicBezTo>
                      <a:pt x="378" y="110"/>
                      <a:pt x="378" y="110"/>
                      <a:pt x="378" y="110"/>
                    </a:cubicBezTo>
                    <a:cubicBezTo>
                      <a:pt x="382" y="110"/>
                      <a:pt x="387" y="114"/>
                      <a:pt x="389" y="118"/>
                    </a:cubicBezTo>
                    <a:cubicBezTo>
                      <a:pt x="395" y="134"/>
                      <a:pt x="395" y="134"/>
                      <a:pt x="395" y="134"/>
                    </a:cubicBezTo>
                    <a:cubicBezTo>
                      <a:pt x="397" y="136"/>
                      <a:pt x="396" y="140"/>
                      <a:pt x="393" y="141"/>
                    </a:cubicBezTo>
                    <a:cubicBezTo>
                      <a:pt x="392" y="141"/>
                      <a:pt x="391" y="142"/>
                      <a:pt x="390" y="142"/>
                    </a:cubicBezTo>
                    <a:cubicBezTo>
                      <a:pt x="373" y="142"/>
                      <a:pt x="373" y="142"/>
                      <a:pt x="373" y="142"/>
                    </a:cubicBezTo>
                    <a:cubicBezTo>
                      <a:pt x="368" y="142"/>
                      <a:pt x="363" y="138"/>
                      <a:pt x="362" y="134"/>
                    </a:cubicBezTo>
                    <a:close/>
                    <a:moveTo>
                      <a:pt x="409" y="179"/>
                    </a:moveTo>
                    <a:cubicBezTo>
                      <a:pt x="390" y="179"/>
                      <a:pt x="390" y="179"/>
                      <a:pt x="390" y="179"/>
                    </a:cubicBezTo>
                    <a:cubicBezTo>
                      <a:pt x="385" y="179"/>
                      <a:pt x="380" y="176"/>
                      <a:pt x="378" y="171"/>
                    </a:cubicBezTo>
                    <a:cubicBezTo>
                      <a:pt x="373" y="156"/>
                      <a:pt x="373" y="156"/>
                      <a:pt x="373" y="156"/>
                    </a:cubicBezTo>
                    <a:cubicBezTo>
                      <a:pt x="372" y="152"/>
                      <a:pt x="373" y="149"/>
                      <a:pt x="376" y="148"/>
                    </a:cubicBezTo>
                    <a:cubicBezTo>
                      <a:pt x="377" y="148"/>
                      <a:pt x="378" y="148"/>
                      <a:pt x="379" y="148"/>
                    </a:cubicBezTo>
                    <a:cubicBezTo>
                      <a:pt x="396" y="148"/>
                      <a:pt x="396" y="148"/>
                      <a:pt x="396" y="148"/>
                    </a:cubicBezTo>
                    <a:cubicBezTo>
                      <a:pt x="401" y="148"/>
                      <a:pt x="406" y="151"/>
                      <a:pt x="408" y="156"/>
                    </a:cubicBezTo>
                    <a:cubicBezTo>
                      <a:pt x="415" y="171"/>
                      <a:pt x="415" y="171"/>
                      <a:pt x="415" y="171"/>
                    </a:cubicBezTo>
                    <a:cubicBezTo>
                      <a:pt x="417" y="176"/>
                      <a:pt x="414" y="179"/>
                      <a:pt x="409" y="179"/>
                    </a:cubicBezTo>
                    <a:close/>
                    <a:moveTo>
                      <a:pt x="454" y="179"/>
                    </a:moveTo>
                    <a:cubicBezTo>
                      <a:pt x="435" y="179"/>
                      <a:pt x="435" y="179"/>
                      <a:pt x="435" y="179"/>
                    </a:cubicBezTo>
                    <a:cubicBezTo>
                      <a:pt x="430" y="179"/>
                      <a:pt x="425" y="176"/>
                      <a:pt x="422" y="171"/>
                    </a:cubicBezTo>
                    <a:cubicBezTo>
                      <a:pt x="415" y="156"/>
                      <a:pt x="415" y="156"/>
                      <a:pt x="415" y="156"/>
                    </a:cubicBezTo>
                    <a:cubicBezTo>
                      <a:pt x="414" y="153"/>
                      <a:pt x="414" y="150"/>
                      <a:pt x="417" y="148"/>
                    </a:cubicBezTo>
                    <a:cubicBezTo>
                      <a:pt x="418" y="148"/>
                      <a:pt x="419" y="148"/>
                      <a:pt x="420" y="148"/>
                    </a:cubicBezTo>
                    <a:cubicBezTo>
                      <a:pt x="438" y="148"/>
                      <a:pt x="438" y="148"/>
                      <a:pt x="438" y="148"/>
                    </a:cubicBezTo>
                    <a:cubicBezTo>
                      <a:pt x="443" y="148"/>
                      <a:pt x="448" y="151"/>
                      <a:pt x="451" y="156"/>
                    </a:cubicBezTo>
                    <a:cubicBezTo>
                      <a:pt x="459" y="171"/>
                      <a:pt x="459" y="171"/>
                      <a:pt x="459" y="171"/>
                    </a:cubicBezTo>
                    <a:cubicBezTo>
                      <a:pt x="462" y="176"/>
                      <a:pt x="460" y="179"/>
                      <a:pt x="454" y="17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914126">
                  <a:defRPr/>
                </a:pPr>
                <a:endParaRPr lang="en-GB">
                  <a:solidFill>
                    <a:srgbClr val="3B3B3B"/>
                  </a:solidFill>
                  <a:latin typeface="EnBW DIN Pro"/>
                </a:endParaRPr>
              </a:p>
            </p:txBody>
          </p:sp>
        </p:grpSp>
        <p:sp>
          <p:nvSpPr>
            <p:cNvPr id="262" name="Freeform 14">
              <a:extLst>
                <a:ext uri="{FF2B5EF4-FFF2-40B4-BE49-F238E27FC236}">
                  <a16:creationId xmlns:a16="http://schemas.microsoft.com/office/drawing/2014/main" id="{5DD0E9C9-D0D4-48FA-A921-AA125C216AA5}"/>
                </a:ext>
              </a:extLst>
            </p:cNvPr>
            <p:cNvSpPr>
              <a:spLocks noChangeAspect="1" noEditPoints="1"/>
            </p:cNvSpPr>
            <p:nvPr>
              <p:custDataLst>
                <p:custData r:id="rId8"/>
              </p:custDataLst>
            </p:nvPr>
          </p:nvSpPr>
          <p:spPr bwMode="auto">
            <a:xfrm flipH="1">
              <a:off x="6975209" y="4829185"/>
              <a:ext cx="58741" cy="115561"/>
            </a:xfrm>
            <a:custGeom>
              <a:avLst/>
              <a:gdLst>
                <a:gd name="T0" fmla="*/ 129 w 172"/>
                <a:gd name="T1" fmla="*/ 9 h 342"/>
                <a:gd name="T2" fmla="*/ 120 w 172"/>
                <a:gd name="T3" fmla="*/ 9 h 342"/>
                <a:gd name="T4" fmla="*/ 120 w 172"/>
                <a:gd name="T5" fmla="*/ 0 h 342"/>
                <a:gd name="T6" fmla="*/ 52 w 172"/>
                <a:gd name="T7" fmla="*/ 0 h 342"/>
                <a:gd name="T8" fmla="*/ 52 w 172"/>
                <a:gd name="T9" fmla="*/ 9 h 342"/>
                <a:gd name="T10" fmla="*/ 43 w 172"/>
                <a:gd name="T11" fmla="*/ 9 h 342"/>
                <a:gd name="T12" fmla="*/ 43 w 172"/>
                <a:gd name="T13" fmla="*/ 22 h 342"/>
                <a:gd name="T14" fmla="*/ 129 w 172"/>
                <a:gd name="T15" fmla="*/ 22 h 342"/>
                <a:gd name="T16" fmla="*/ 129 w 172"/>
                <a:gd name="T17" fmla="*/ 9 h 342"/>
                <a:gd name="T18" fmla="*/ 162 w 172"/>
                <a:gd name="T19" fmla="*/ 30 h 342"/>
                <a:gd name="T20" fmla="*/ 10 w 172"/>
                <a:gd name="T21" fmla="*/ 30 h 342"/>
                <a:gd name="T22" fmla="*/ 0 w 172"/>
                <a:gd name="T23" fmla="*/ 40 h 342"/>
                <a:gd name="T24" fmla="*/ 0 w 172"/>
                <a:gd name="T25" fmla="*/ 332 h 342"/>
                <a:gd name="T26" fmla="*/ 10 w 172"/>
                <a:gd name="T27" fmla="*/ 342 h 342"/>
                <a:gd name="T28" fmla="*/ 162 w 172"/>
                <a:gd name="T29" fmla="*/ 342 h 342"/>
                <a:gd name="T30" fmla="*/ 172 w 172"/>
                <a:gd name="T31" fmla="*/ 332 h 342"/>
                <a:gd name="T32" fmla="*/ 172 w 172"/>
                <a:gd name="T33" fmla="*/ 40 h 342"/>
                <a:gd name="T34" fmla="*/ 162 w 172"/>
                <a:gd name="T35" fmla="*/ 30 h 342"/>
                <a:gd name="T36" fmla="*/ 160 w 172"/>
                <a:gd name="T37" fmla="*/ 330 h 342"/>
                <a:gd name="T38" fmla="*/ 12 w 172"/>
                <a:gd name="T39" fmla="*/ 330 h 342"/>
                <a:gd name="T40" fmla="*/ 12 w 172"/>
                <a:gd name="T41" fmla="*/ 42 h 342"/>
                <a:gd name="T42" fmla="*/ 160 w 172"/>
                <a:gd name="T43" fmla="*/ 42 h 342"/>
                <a:gd name="T44" fmla="*/ 160 w 172"/>
                <a:gd name="T45" fmla="*/ 330 h 342"/>
                <a:gd name="T46" fmla="*/ 140 w 172"/>
                <a:gd name="T47" fmla="*/ 64 h 342"/>
                <a:gd name="T48" fmla="*/ 32 w 172"/>
                <a:gd name="T49" fmla="*/ 64 h 342"/>
                <a:gd name="T50" fmla="*/ 32 w 172"/>
                <a:gd name="T51" fmla="*/ 309 h 342"/>
                <a:gd name="T52" fmla="*/ 140 w 172"/>
                <a:gd name="T53" fmla="*/ 309 h 342"/>
                <a:gd name="T54" fmla="*/ 140 w 172"/>
                <a:gd name="T55" fmla="*/ 64 h 342"/>
                <a:gd name="T56" fmla="*/ 109 w 172"/>
                <a:gd name="T57" fmla="*/ 273 h 342"/>
                <a:gd name="T58" fmla="*/ 63 w 172"/>
                <a:gd name="T59" fmla="*/ 273 h 342"/>
                <a:gd name="T60" fmla="*/ 56 w 172"/>
                <a:gd name="T61" fmla="*/ 266 h 342"/>
                <a:gd name="T62" fmla="*/ 63 w 172"/>
                <a:gd name="T63" fmla="*/ 260 h 342"/>
                <a:gd name="T64" fmla="*/ 109 w 172"/>
                <a:gd name="T65" fmla="*/ 260 h 342"/>
                <a:gd name="T66" fmla="*/ 116 w 172"/>
                <a:gd name="T67" fmla="*/ 266 h 342"/>
                <a:gd name="T68" fmla="*/ 109 w 172"/>
                <a:gd name="T69" fmla="*/ 273 h 342"/>
                <a:gd name="T70" fmla="*/ 109 w 172"/>
                <a:gd name="T71" fmla="*/ 128 h 342"/>
                <a:gd name="T72" fmla="*/ 93 w 172"/>
                <a:gd name="T73" fmla="*/ 128 h 342"/>
                <a:gd name="T74" fmla="*/ 93 w 172"/>
                <a:gd name="T75" fmla="*/ 145 h 342"/>
                <a:gd name="T76" fmla="*/ 86 w 172"/>
                <a:gd name="T77" fmla="*/ 151 h 342"/>
                <a:gd name="T78" fmla="*/ 79 w 172"/>
                <a:gd name="T79" fmla="*/ 145 h 342"/>
                <a:gd name="T80" fmla="*/ 79 w 172"/>
                <a:gd name="T81" fmla="*/ 128 h 342"/>
                <a:gd name="T82" fmla="*/ 63 w 172"/>
                <a:gd name="T83" fmla="*/ 128 h 342"/>
                <a:gd name="T84" fmla="*/ 56 w 172"/>
                <a:gd name="T85" fmla="*/ 122 h 342"/>
                <a:gd name="T86" fmla="*/ 63 w 172"/>
                <a:gd name="T87" fmla="*/ 115 h 342"/>
                <a:gd name="T88" fmla="*/ 79 w 172"/>
                <a:gd name="T89" fmla="*/ 115 h 342"/>
                <a:gd name="T90" fmla="*/ 79 w 172"/>
                <a:gd name="T91" fmla="*/ 98 h 342"/>
                <a:gd name="T92" fmla="*/ 86 w 172"/>
                <a:gd name="T93" fmla="*/ 92 h 342"/>
                <a:gd name="T94" fmla="*/ 93 w 172"/>
                <a:gd name="T95" fmla="*/ 98 h 342"/>
                <a:gd name="T96" fmla="*/ 93 w 172"/>
                <a:gd name="T97" fmla="*/ 115 h 342"/>
                <a:gd name="T98" fmla="*/ 109 w 172"/>
                <a:gd name="T99" fmla="*/ 115 h 342"/>
                <a:gd name="T100" fmla="*/ 116 w 172"/>
                <a:gd name="T101" fmla="*/ 122 h 342"/>
                <a:gd name="T102" fmla="*/ 109 w 172"/>
                <a:gd name="T103" fmla="*/ 128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72" h="342">
                  <a:moveTo>
                    <a:pt x="129" y="9"/>
                  </a:moveTo>
                  <a:cubicBezTo>
                    <a:pt x="120" y="9"/>
                    <a:pt x="120" y="9"/>
                    <a:pt x="120" y="9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2" y="9"/>
                    <a:pt x="52" y="9"/>
                    <a:pt x="52" y="9"/>
                  </a:cubicBezTo>
                  <a:cubicBezTo>
                    <a:pt x="43" y="9"/>
                    <a:pt x="43" y="9"/>
                    <a:pt x="43" y="9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129" y="22"/>
                    <a:pt x="129" y="22"/>
                    <a:pt x="129" y="22"/>
                  </a:cubicBezTo>
                  <a:lnTo>
                    <a:pt x="129" y="9"/>
                  </a:lnTo>
                  <a:close/>
                  <a:moveTo>
                    <a:pt x="162" y="30"/>
                  </a:moveTo>
                  <a:cubicBezTo>
                    <a:pt x="10" y="30"/>
                    <a:pt x="10" y="30"/>
                    <a:pt x="10" y="30"/>
                  </a:cubicBezTo>
                  <a:cubicBezTo>
                    <a:pt x="4" y="30"/>
                    <a:pt x="0" y="35"/>
                    <a:pt x="0" y="40"/>
                  </a:cubicBezTo>
                  <a:cubicBezTo>
                    <a:pt x="0" y="332"/>
                    <a:pt x="0" y="332"/>
                    <a:pt x="0" y="332"/>
                  </a:cubicBezTo>
                  <a:cubicBezTo>
                    <a:pt x="0" y="338"/>
                    <a:pt x="4" y="342"/>
                    <a:pt x="10" y="342"/>
                  </a:cubicBezTo>
                  <a:cubicBezTo>
                    <a:pt x="162" y="342"/>
                    <a:pt x="162" y="342"/>
                    <a:pt x="162" y="342"/>
                  </a:cubicBezTo>
                  <a:cubicBezTo>
                    <a:pt x="168" y="342"/>
                    <a:pt x="172" y="338"/>
                    <a:pt x="172" y="332"/>
                  </a:cubicBezTo>
                  <a:cubicBezTo>
                    <a:pt x="172" y="40"/>
                    <a:pt x="172" y="40"/>
                    <a:pt x="172" y="40"/>
                  </a:cubicBezTo>
                  <a:cubicBezTo>
                    <a:pt x="172" y="35"/>
                    <a:pt x="168" y="30"/>
                    <a:pt x="162" y="30"/>
                  </a:cubicBezTo>
                  <a:close/>
                  <a:moveTo>
                    <a:pt x="160" y="330"/>
                  </a:moveTo>
                  <a:cubicBezTo>
                    <a:pt x="12" y="330"/>
                    <a:pt x="12" y="330"/>
                    <a:pt x="12" y="330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60" y="42"/>
                    <a:pt x="160" y="42"/>
                    <a:pt x="160" y="42"/>
                  </a:cubicBezTo>
                  <a:lnTo>
                    <a:pt x="160" y="330"/>
                  </a:lnTo>
                  <a:close/>
                  <a:moveTo>
                    <a:pt x="140" y="64"/>
                  </a:moveTo>
                  <a:cubicBezTo>
                    <a:pt x="32" y="64"/>
                    <a:pt x="32" y="64"/>
                    <a:pt x="32" y="64"/>
                  </a:cubicBezTo>
                  <a:cubicBezTo>
                    <a:pt x="32" y="309"/>
                    <a:pt x="32" y="309"/>
                    <a:pt x="32" y="309"/>
                  </a:cubicBezTo>
                  <a:cubicBezTo>
                    <a:pt x="140" y="309"/>
                    <a:pt x="140" y="309"/>
                    <a:pt x="140" y="309"/>
                  </a:cubicBezTo>
                  <a:lnTo>
                    <a:pt x="140" y="64"/>
                  </a:lnTo>
                  <a:close/>
                  <a:moveTo>
                    <a:pt x="109" y="273"/>
                  </a:moveTo>
                  <a:cubicBezTo>
                    <a:pt x="63" y="273"/>
                    <a:pt x="63" y="273"/>
                    <a:pt x="63" y="273"/>
                  </a:cubicBezTo>
                  <a:cubicBezTo>
                    <a:pt x="59" y="273"/>
                    <a:pt x="56" y="270"/>
                    <a:pt x="56" y="266"/>
                  </a:cubicBezTo>
                  <a:cubicBezTo>
                    <a:pt x="56" y="263"/>
                    <a:pt x="59" y="260"/>
                    <a:pt x="63" y="260"/>
                  </a:cubicBezTo>
                  <a:cubicBezTo>
                    <a:pt x="109" y="260"/>
                    <a:pt x="109" y="260"/>
                    <a:pt x="109" y="260"/>
                  </a:cubicBezTo>
                  <a:cubicBezTo>
                    <a:pt x="113" y="260"/>
                    <a:pt x="116" y="263"/>
                    <a:pt x="116" y="266"/>
                  </a:cubicBezTo>
                  <a:cubicBezTo>
                    <a:pt x="116" y="270"/>
                    <a:pt x="113" y="273"/>
                    <a:pt x="109" y="273"/>
                  </a:cubicBezTo>
                  <a:close/>
                  <a:moveTo>
                    <a:pt x="109" y="128"/>
                  </a:moveTo>
                  <a:cubicBezTo>
                    <a:pt x="93" y="128"/>
                    <a:pt x="93" y="128"/>
                    <a:pt x="93" y="128"/>
                  </a:cubicBezTo>
                  <a:cubicBezTo>
                    <a:pt x="93" y="145"/>
                    <a:pt x="93" y="145"/>
                    <a:pt x="93" y="145"/>
                  </a:cubicBezTo>
                  <a:cubicBezTo>
                    <a:pt x="93" y="148"/>
                    <a:pt x="90" y="151"/>
                    <a:pt x="86" y="151"/>
                  </a:cubicBezTo>
                  <a:cubicBezTo>
                    <a:pt x="82" y="151"/>
                    <a:pt x="79" y="148"/>
                    <a:pt x="79" y="145"/>
                  </a:cubicBezTo>
                  <a:cubicBezTo>
                    <a:pt x="79" y="128"/>
                    <a:pt x="79" y="128"/>
                    <a:pt x="79" y="128"/>
                  </a:cubicBezTo>
                  <a:cubicBezTo>
                    <a:pt x="63" y="128"/>
                    <a:pt x="63" y="128"/>
                    <a:pt x="63" y="128"/>
                  </a:cubicBezTo>
                  <a:cubicBezTo>
                    <a:pt x="59" y="128"/>
                    <a:pt x="56" y="125"/>
                    <a:pt x="56" y="122"/>
                  </a:cubicBezTo>
                  <a:cubicBezTo>
                    <a:pt x="56" y="118"/>
                    <a:pt x="59" y="115"/>
                    <a:pt x="63" y="115"/>
                  </a:cubicBezTo>
                  <a:cubicBezTo>
                    <a:pt x="79" y="115"/>
                    <a:pt x="79" y="115"/>
                    <a:pt x="79" y="115"/>
                  </a:cubicBezTo>
                  <a:cubicBezTo>
                    <a:pt x="79" y="98"/>
                    <a:pt x="79" y="98"/>
                    <a:pt x="79" y="98"/>
                  </a:cubicBezTo>
                  <a:cubicBezTo>
                    <a:pt x="79" y="95"/>
                    <a:pt x="82" y="92"/>
                    <a:pt x="86" y="92"/>
                  </a:cubicBezTo>
                  <a:cubicBezTo>
                    <a:pt x="90" y="92"/>
                    <a:pt x="93" y="95"/>
                    <a:pt x="93" y="98"/>
                  </a:cubicBezTo>
                  <a:cubicBezTo>
                    <a:pt x="93" y="115"/>
                    <a:pt x="93" y="115"/>
                    <a:pt x="93" y="115"/>
                  </a:cubicBezTo>
                  <a:cubicBezTo>
                    <a:pt x="109" y="115"/>
                    <a:pt x="109" y="115"/>
                    <a:pt x="109" y="115"/>
                  </a:cubicBezTo>
                  <a:cubicBezTo>
                    <a:pt x="113" y="115"/>
                    <a:pt x="116" y="118"/>
                    <a:pt x="116" y="122"/>
                  </a:cubicBezTo>
                  <a:cubicBezTo>
                    <a:pt x="116" y="125"/>
                    <a:pt x="113" y="128"/>
                    <a:pt x="109" y="128"/>
                  </a:cubicBezTo>
                  <a:close/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algn="ctr" defTabSz="914126">
                <a:defRPr/>
              </a:pPr>
              <a:endParaRPr lang="en-GB">
                <a:solidFill>
                  <a:srgbClr val="3B3B3B"/>
                </a:solidFill>
                <a:latin typeface="EnBW DIN Pro"/>
              </a:endParaRPr>
            </a:p>
          </p:txBody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6A1F125C-402B-4674-907A-1828399DC3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782" y="640726"/>
            <a:ext cx="9443167" cy="338554"/>
          </a:xfrm>
        </p:spPr>
        <p:txBody>
          <a:bodyPr/>
          <a:lstStyle/>
          <a:p>
            <a:r>
              <a:rPr lang="de-DE" dirty="0">
                <a:cs typeface="EnBW DIN Pro Medium" panose="020B0604020101020102" pitchFamily="34" charset="0"/>
              </a:rPr>
              <a:t>Energiewende: Komplexität im Verteilnetz steig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F4EF5F1-0D7A-41D9-8D77-ADAFD494C36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914126">
              <a:defRPr/>
            </a:pPr>
            <a:fld id="{0C3D4A45-F672-4474-BA28-E624C64DA635}" type="slidenum">
              <a:rPr lang="de-DE">
                <a:solidFill>
                  <a:srgbClr val="3B3B3B"/>
                </a:solidFill>
              </a:rPr>
              <a:pPr defTabSz="914126">
                <a:defRPr/>
              </a:pPr>
              <a:t>3</a:t>
            </a:fld>
            <a:endParaRPr lang="de-DE">
              <a:solidFill>
                <a:srgbClr val="3B3B3B"/>
              </a:solidFill>
            </a:endParaRPr>
          </a:p>
        </p:txBody>
      </p:sp>
      <p:sp>
        <p:nvSpPr>
          <p:cNvPr id="23" name="Pfeil nach rechts 22"/>
          <p:cNvSpPr/>
          <p:nvPr/>
        </p:nvSpPr>
        <p:spPr bwMode="auto">
          <a:xfrm rot="1628683">
            <a:off x="5764651" y="4384863"/>
            <a:ext cx="1190851" cy="310028"/>
          </a:xfrm>
          <a:prstGeom prst="rightArrow">
            <a:avLst/>
          </a:prstGeom>
          <a:gradFill flip="none" rotWithShape="1">
            <a:gsLst>
              <a:gs pos="0">
                <a:schemeClr val="accent6"/>
              </a:gs>
              <a:gs pos="42000">
                <a:schemeClr val="accent6">
                  <a:lumMod val="20000"/>
                  <a:lumOff val="80000"/>
                </a:schemeClr>
              </a:gs>
              <a:gs pos="100000">
                <a:schemeClr val="bg1">
                  <a:lumMod val="50000"/>
                </a:schemeClr>
              </a:gs>
            </a:gsLst>
            <a:lin ang="10800000" scaled="1"/>
            <a:tileRect/>
          </a:gra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7972" tIns="107972" rIns="107972" bIns="107972" numCol="1" rtlCol="0" anchor="ctr" anchorCtr="0" compatLnSpc="1">
            <a:prstTxWarp prst="textNoShape">
              <a:avLst/>
            </a:prstTxWarp>
          </a:bodyPr>
          <a:lstStyle/>
          <a:p>
            <a:pPr algn="ctr" defTabSz="914126" eaLnBrk="0" fontAlgn="base" hangingPunct="0">
              <a:spcAft>
                <a:spcPct val="0"/>
              </a:spcAft>
              <a:defRPr/>
            </a:pPr>
            <a:endParaRPr lang="de-DE" sz="1600">
              <a:solidFill>
                <a:srgbClr val="3B3B3B"/>
              </a:solidFill>
              <a:latin typeface="EnBW DIN Pro"/>
            </a:endParaRPr>
          </a:p>
        </p:txBody>
      </p:sp>
      <p:sp>
        <p:nvSpPr>
          <p:cNvPr id="154" name="Textfeld 153">
            <a:extLst>
              <a:ext uri="{FF2B5EF4-FFF2-40B4-BE49-F238E27FC236}">
                <a16:creationId xmlns:a16="http://schemas.microsoft.com/office/drawing/2014/main" id="{D0AE0F57-0F54-4E0E-9A9B-0289550AF5C8}"/>
              </a:ext>
            </a:extLst>
          </p:cNvPr>
          <p:cNvSpPr txBox="1"/>
          <p:nvPr/>
        </p:nvSpPr>
        <p:spPr bwMode="gray">
          <a:xfrm>
            <a:off x="9754740" y="4376948"/>
            <a:ext cx="1970657" cy="54196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wrap="square" lIns="71962" tIns="35982" rIns="71962" bIns="35982" rtlCol="0">
            <a:spAutoFit/>
          </a:bodyPr>
          <a:lstStyle/>
          <a:p>
            <a:pPr defTabSz="913852">
              <a:lnSpc>
                <a:spcPct val="114000"/>
              </a:lnSpc>
              <a:buClr>
                <a:srgbClr val="FFFFFF"/>
              </a:buClr>
              <a:buSzPct val="140000"/>
              <a:defRPr/>
            </a:pPr>
            <a:r>
              <a:rPr lang="de-DE" sz="1400" dirty="0">
                <a:solidFill>
                  <a:srgbClr val="FFFFFF"/>
                </a:solidFill>
                <a:latin typeface="EnBW DIN Pro"/>
                <a:ea typeface="DIN-Regular" panose="020B0500010101010101" pitchFamily="34" charset="0"/>
              </a:rPr>
              <a:t>6 Mio. Erzeugungsanlagen</a:t>
            </a:r>
          </a:p>
        </p:txBody>
      </p:sp>
      <p:sp>
        <p:nvSpPr>
          <p:cNvPr id="150" name="Textfeld 149">
            <a:extLst>
              <a:ext uri="{FF2B5EF4-FFF2-40B4-BE49-F238E27FC236}">
                <a16:creationId xmlns:a16="http://schemas.microsoft.com/office/drawing/2014/main" id="{914F822A-F3F0-4D01-99AC-E44C4D0E3E44}"/>
              </a:ext>
            </a:extLst>
          </p:cNvPr>
          <p:cNvSpPr txBox="1"/>
          <p:nvPr/>
        </p:nvSpPr>
        <p:spPr bwMode="gray">
          <a:xfrm>
            <a:off x="9758006" y="5032014"/>
            <a:ext cx="1981407" cy="29638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wrap="square" lIns="71962" tIns="35982" rIns="71962" bIns="35982" rtlCol="0">
            <a:spAutoFit/>
          </a:bodyPr>
          <a:lstStyle>
            <a:defPPr>
              <a:defRPr lang="de-DE"/>
            </a:defPPr>
            <a:lvl1pPr defTabSz="913852">
              <a:lnSpc>
                <a:spcPct val="114000"/>
              </a:lnSpc>
              <a:buClr>
                <a:schemeClr val="bg1"/>
              </a:buClr>
              <a:buSzPct val="140000"/>
              <a:defRPr sz="1400">
                <a:solidFill>
                  <a:schemeClr val="bg1"/>
                </a:solidFill>
                <a:latin typeface="EnBW DIN Pro"/>
                <a:ea typeface="DIN-Regular" panose="020B0500010101010101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>
              <a:buClr>
                <a:srgbClr val="FFFFFF"/>
              </a:buClr>
              <a:defRPr/>
            </a:pPr>
            <a:r>
              <a:rPr lang="de-DE" dirty="0">
                <a:solidFill>
                  <a:srgbClr val="FFFFFF"/>
                </a:solidFill>
              </a:rPr>
              <a:t>12 Mio. Wärmepumpen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2" name="Textfeld 151">
            <a:extLst>
              <a:ext uri="{FF2B5EF4-FFF2-40B4-BE49-F238E27FC236}">
                <a16:creationId xmlns:a16="http://schemas.microsoft.com/office/drawing/2014/main" id="{56B2E21D-910A-4C11-92C7-2CA0AC497BC7}"/>
              </a:ext>
            </a:extLst>
          </p:cNvPr>
          <p:cNvSpPr txBox="1"/>
          <p:nvPr/>
        </p:nvSpPr>
        <p:spPr bwMode="gray">
          <a:xfrm>
            <a:off x="9754740" y="5467882"/>
            <a:ext cx="1984672" cy="54196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wrap="square" lIns="71962" tIns="35982" rIns="71962" bIns="35982" rtlCol="0">
            <a:spAutoFit/>
          </a:bodyPr>
          <a:lstStyle>
            <a:defPPr>
              <a:defRPr lang="de-DE"/>
            </a:defPPr>
            <a:lvl1pPr defTabSz="913852">
              <a:lnSpc>
                <a:spcPct val="114000"/>
              </a:lnSpc>
              <a:buClr>
                <a:schemeClr val="bg1"/>
              </a:buClr>
              <a:buSzPct val="140000"/>
              <a:defRPr sz="1400">
                <a:solidFill>
                  <a:schemeClr val="bg1"/>
                </a:solidFill>
                <a:latin typeface="EnBW DIN Pro"/>
                <a:ea typeface="DIN-Regular" panose="020B0500010101010101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>
              <a:buClr>
                <a:srgbClr val="FFFFFF"/>
              </a:buClr>
              <a:defRPr/>
            </a:pPr>
            <a:r>
              <a:rPr lang="de-DE" dirty="0">
                <a:solidFill>
                  <a:srgbClr val="FFFFFF"/>
                </a:solidFill>
              </a:rPr>
              <a:t>28 Mio. Elektro-Fahrzeuge 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56" name="Grafik 155">
            <a:extLst>
              <a:ext uri="{FF2B5EF4-FFF2-40B4-BE49-F238E27FC236}">
                <a16:creationId xmlns:a16="http://schemas.microsoft.com/office/drawing/2014/main" id="{F531614E-4EC5-4263-AF65-C837E21935D8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9143066" y="5174480"/>
            <a:ext cx="361809" cy="361809"/>
          </a:xfrm>
          <a:prstGeom prst="rect">
            <a:avLst/>
          </a:prstGeom>
        </p:spPr>
      </p:pic>
      <p:pic>
        <p:nvPicPr>
          <p:cNvPr id="157" name="Grafik 156">
            <a:extLst>
              <a:ext uri="{FF2B5EF4-FFF2-40B4-BE49-F238E27FC236}">
                <a16:creationId xmlns:a16="http://schemas.microsoft.com/office/drawing/2014/main" id="{E42FC249-B139-4AD6-AFF3-DD69BD041100}"/>
              </a:ext>
            </a:extLst>
          </p:cNvPr>
          <p:cNvPicPr>
            <a:picLocks noChangeAspect="1"/>
          </p:cNvPicPr>
          <p:nvPr/>
        </p:nvPicPr>
        <p:blipFill>
          <a:blip r:embed="rId18" cstate="screen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534439" y="5408680"/>
            <a:ext cx="511003" cy="511003"/>
          </a:xfrm>
          <a:prstGeom prst="rect">
            <a:avLst/>
          </a:prstGeom>
        </p:spPr>
      </p:pic>
      <p:pic>
        <p:nvPicPr>
          <p:cNvPr id="158" name="Grafik 157">
            <a:extLst>
              <a:ext uri="{FF2B5EF4-FFF2-40B4-BE49-F238E27FC236}">
                <a16:creationId xmlns:a16="http://schemas.microsoft.com/office/drawing/2014/main" id="{783D476C-6B2B-4FBB-B7F0-9EACDA321DB8}"/>
              </a:ext>
            </a:extLst>
          </p:cNvPr>
          <p:cNvPicPr>
            <a:picLocks noChangeAspect="1"/>
          </p:cNvPicPr>
          <p:nvPr/>
        </p:nvPicPr>
        <p:blipFill>
          <a:blip r:embed="rId18" cstate="screen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45779" y="5561293"/>
            <a:ext cx="511003" cy="511003"/>
          </a:xfrm>
          <a:prstGeom prst="rect">
            <a:avLst/>
          </a:prstGeom>
        </p:spPr>
      </p:pic>
      <p:pic>
        <p:nvPicPr>
          <p:cNvPr id="160" name="Grafik 159">
            <a:extLst>
              <a:ext uri="{FF2B5EF4-FFF2-40B4-BE49-F238E27FC236}">
                <a16:creationId xmlns:a16="http://schemas.microsoft.com/office/drawing/2014/main" id="{87E7EB97-B08D-465B-B611-F0FF68D18301}"/>
              </a:ext>
            </a:extLst>
          </p:cNvPr>
          <p:cNvPicPr>
            <a:picLocks noChangeAspect="1"/>
          </p:cNvPicPr>
          <p:nvPr/>
        </p:nvPicPr>
        <p:blipFill>
          <a:blip r:embed="rId18" cstate="screen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83938" y="5424025"/>
            <a:ext cx="511003" cy="5110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6816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DB0768B8-BB1E-4E22-B2DE-3D7706B7FB3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0" name="think-cell Folie" r:id="rId5" imgW="592" imgH="591" progId="TCLayout.ActiveDocument.1">
                  <p:embed/>
                </p:oleObj>
              </mc:Choice>
              <mc:Fallback>
                <p:oleObj name="think-cell Folie" r:id="rId5" imgW="592" imgH="591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DB0768B8-BB1E-4E22-B2DE-3D7706B7FB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25844DC1-15FE-42F9-8107-3DA7D9B471D0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Aft>
                <a:spcPct val="0"/>
              </a:spcAft>
            </a:pPr>
            <a:endParaRPr kumimoji="0" lang="de-DE" sz="22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EnBW DIN Pro" panose="020B0504020101020102" pitchFamily="34" charset="0"/>
              <a:cs typeface="+mj-cs"/>
              <a:sym typeface="EnBW DIN Pro" panose="020B0504020101020102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F4236CE-924A-4BC7-AFF1-EB8F8D5ED8F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3D4A45-F672-4474-BA28-E624C64DA635}" type="slidenum">
              <a:rPr lang="de-DE" smtClean="0"/>
              <a:t>4</a:t>
            </a:fld>
            <a:endParaRPr lang="de-DE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E2344400-4AEA-4E80-9646-FCCD33EEA2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13" y="471449"/>
            <a:ext cx="9445626" cy="677108"/>
          </a:xfrm>
        </p:spPr>
        <p:txBody>
          <a:bodyPr/>
          <a:lstStyle/>
          <a:p>
            <a:r>
              <a:rPr lang="de-DE" dirty="0"/>
              <a:t>In unseren NETZlaboren untersuchen wir die Auswirkung der Elektromobilität auf das Stromnetz mit unterschiedlichem Fokus</a:t>
            </a:r>
          </a:p>
        </p:txBody>
      </p:sp>
      <p:cxnSp>
        <p:nvCxnSpPr>
          <p:cNvPr id="8" name="Gerader Verbinder 87">
            <a:extLst>
              <a:ext uri="{FF2B5EF4-FFF2-40B4-BE49-F238E27FC236}">
                <a16:creationId xmlns:a16="http://schemas.microsoft.com/office/drawing/2014/main" id="{6DA73BD5-5DE7-457E-877E-1255F4633E87}"/>
              </a:ext>
            </a:extLst>
          </p:cNvPr>
          <p:cNvCxnSpPr/>
          <p:nvPr/>
        </p:nvCxnSpPr>
        <p:spPr bwMode="auto">
          <a:xfrm>
            <a:off x="6626864" y="1994922"/>
            <a:ext cx="0" cy="927686"/>
          </a:xfrm>
          <a:prstGeom prst="line">
            <a:avLst/>
          </a:prstGeom>
          <a:solidFill>
            <a:srgbClr val="F0F0F0"/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FB9EE3F1-D6FD-4513-A347-1D21772D1E11}"/>
              </a:ext>
            </a:extLst>
          </p:cNvPr>
          <p:cNvGrpSpPr/>
          <p:nvPr/>
        </p:nvGrpSpPr>
        <p:grpSpPr>
          <a:xfrm>
            <a:off x="5734735" y="1616050"/>
            <a:ext cx="4087100" cy="4362415"/>
            <a:chOff x="3982603" y="1892897"/>
            <a:chExt cx="4087100" cy="4362415"/>
          </a:xfrm>
        </p:grpSpPr>
        <p:grpSp>
          <p:nvGrpSpPr>
            <p:cNvPr id="10" name="组合 2">
              <a:extLst>
                <a:ext uri="{FF2B5EF4-FFF2-40B4-BE49-F238E27FC236}">
                  <a16:creationId xmlns:a16="http://schemas.microsoft.com/office/drawing/2014/main" id="{0C417003-5359-4C14-92D5-F507AEE3F9CA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122297" y="1892897"/>
              <a:ext cx="3947406" cy="4362415"/>
              <a:chOff x="623888" y="1119188"/>
              <a:chExt cx="4545012" cy="5022850"/>
            </a:xfrm>
            <a:solidFill>
              <a:schemeClr val="bg1">
                <a:lumMod val="85000"/>
              </a:schemeClr>
            </a:solidFill>
          </p:grpSpPr>
          <p:sp>
            <p:nvSpPr>
              <p:cNvPr id="43" name="任意多边形 47">
                <a:extLst>
                  <a:ext uri="{FF2B5EF4-FFF2-40B4-BE49-F238E27FC236}">
                    <a16:creationId xmlns:a16="http://schemas.microsoft.com/office/drawing/2014/main" id="{82C6A7F0-C57C-4F8B-8FDA-34619E5188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65250" y="2919413"/>
                <a:ext cx="785812" cy="877888"/>
              </a:xfrm>
              <a:custGeom>
                <a:avLst/>
                <a:gdLst>
                  <a:gd name="T0" fmla="*/ 115 w 9203997"/>
                  <a:gd name="T1" fmla="*/ 6 h 10285008"/>
                  <a:gd name="T2" fmla="*/ 99 w 9203997"/>
                  <a:gd name="T3" fmla="*/ 12 h 10285008"/>
                  <a:gd name="T4" fmla="*/ 82 w 9203997"/>
                  <a:gd name="T5" fmla="*/ 43 h 10285008"/>
                  <a:gd name="T6" fmla="*/ 65 w 9203997"/>
                  <a:gd name="T7" fmla="*/ 73 h 10285008"/>
                  <a:gd name="T8" fmla="*/ 62 w 9203997"/>
                  <a:gd name="T9" fmla="*/ 86 h 10285008"/>
                  <a:gd name="T10" fmla="*/ 56 w 9203997"/>
                  <a:gd name="T11" fmla="*/ 98 h 10285008"/>
                  <a:gd name="T12" fmla="*/ 45 w 9203997"/>
                  <a:gd name="T13" fmla="*/ 111 h 10285008"/>
                  <a:gd name="T14" fmla="*/ 31 w 9203997"/>
                  <a:gd name="T15" fmla="*/ 113 h 10285008"/>
                  <a:gd name="T16" fmla="*/ 2 w 9203997"/>
                  <a:gd name="T17" fmla="*/ 136 h 10285008"/>
                  <a:gd name="T18" fmla="*/ 2 w 9203997"/>
                  <a:gd name="T19" fmla="*/ 142 h 10285008"/>
                  <a:gd name="T20" fmla="*/ 0 w 9203997"/>
                  <a:gd name="T21" fmla="*/ 154 h 10285008"/>
                  <a:gd name="T22" fmla="*/ 11 w 9203997"/>
                  <a:gd name="T23" fmla="*/ 163 h 10285008"/>
                  <a:gd name="T24" fmla="*/ 12 w 9203997"/>
                  <a:gd name="T25" fmla="*/ 171 h 10285008"/>
                  <a:gd name="T26" fmla="*/ 21 w 9203997"/>
                  <a:gd name="T27" fmla="*/ 172 h 10285008"/>
                  <a:gd name="T28" fmla="*/ 27 w 9203997"/>
                  <a:gd name="T29" fmla="*/ 179 h 10285008"/>
                  <a:gd name="T30" fmla="*/ 46 w 9203997"/>
                  <a:gd name="T31" fmla="*/ 183 h 10285008"/>
                  <a:gd name="T32" fmla="*/ 60 w 9203997"/>
                  <a:gd name="T33" fmla="*/ 197 h 10285008"/>
                  <a:gd name="T34" fmla="*/ 73 w 9203997"/>
                  <a:gd name="T35" fmla="*/ 194 h 10285008"/>
                  <a:gd name="T36" fmla="*/ 94 w 9203997"/>
                  <a:gd name="T37" fmla="*/ 208 h 10285008"/>
                  <a:gd name="T38" fmla="*/ 106 w 9203997"/>
                  <a:gd name="T39" fmla="*/ 208 h 10285008"/>
                  <a:gd name="T40" fmla="*/ 111 w 9203997"/>
                  <a:gd name="T41" fmla="*/ 213 h 10285008"/>
                  <a:gd name="T42" fmla="*/ 109 w 9203997"/>
                  <a:gd name="T43" fmla="*/ 219 h 10285008"/>
                  <a:gd name="T44" fmla="*/ 117 w 9203997"/>
                  <a:gd name="T45" fmla="*/ 226 h 10285008"/>
                  <a:gd name="T46" fmla="*/ 111 w 9203997"/>
                  <a:gd name="T47" fmla="*/ 230 h 10285008"/>
                  <a:gd name="T48" fmla="*/ 123 w 9203997"/>
                  <a:gd name="T49" fmla="*/ 235 h 10285008"/>
                  <a:gd name="T50" fmla="*/ 145 w 9203997"/>
                  <a:gd name="T51" fmla="*/ 236 h 10285008"/>
                  <a:gd name="T52" fmla="*/ 161 w 9203997"/>
                  <a:gd name="T53" fmla="*/ 227 h 10285008"/>
                  <a:gd name="T54" fmla="*/ 169 w 9203997"/>
                  <a:gd name="T55" fmla="*/ 219 h 10285008"/>
                  <a:gd name="T56" fmla="*/ 171 w 9203997"/>
                  <a:gd name="T57" fmla="*/ 211 h 10285008"/>
                  <a:gd name="T58" fmla="*/ 176 w 9203997"/>
                  <a:gd name="T59" fmla="*/ 206 h 10285008"/>
                  <a:gd name="T60" fmla="*/ 182 w 9203997"/>
                  <a:gd name="T61" fmla="*/ 205 h 10285008"/>
                  <a:gd name="T62" fmla="*/ 189 w 9203997"/>
                  <a:gd name="T63" fmla="*/ 205 h 10285008"/>
                  <a:gd name="T64" fmla="*/ 189 w 9203997"/>
                  <a:gd name="T65" fmla="*/ 195 h 10285008"/>
                  <a:gd name="T66" fmla="*/ 195 w 9203997"/>
                  <a:gd name="T67" fmla="*/ 191 h 10285008"/>
                  <a:gd name="T68" fmla="*/ 195 w 9203997"/>
                  <a:gd name="T69" fmla="*/ 183 h 10285008"/>
                  <a:gd name="T70" fmla="*/ 202 w 9203997"/>
                  <a:gd name="T71" fmla="*/ 167 h 10285008"/>
                  <a:gd name="T72" fmla="*/ 211 w 9203997"/>
                  <a:gd name="T73" fmla="*/ 151 h 10285008"/>
                  <a:gd name="T74" fmla="*/ 212 w 9203997"/>
                  <a:gd name="T75" fmla="*/ 138 h 10285008"/>
                  <a:gd name="T76" fmla="*/ 205 w 9203997"/>
                  <a:gd name="T77" fmla="*/ 132 h 10285008"/>
                  <a:gd name="T78" fmla="*/ 189 w 9203997"/>
                  <a:gd name="T79" fmla="*/ 144 h 10285008"/>
                  <a:gd name="T80" fmla="*/ 188 w 9203997"/>
                  <a:gd name="T81" fmla="*/ 133 h 10285008"/>
                  <a:gd name="T82" fmla="*/ 194 w 9203997"/>
                  <a:gd name="T83" fmla="*/ 131 h 10285008"/>
                  <a:gd name="T84" fmla="*/ 192 w 9203997"/>
                  <a:gd name="T85" fmla="*/ 118 h 10285008"/>
                  <a:gd name="T86" fmla="*/ 185 w 9203997"/>
                  <a:gd name="T87" fmla="*/ 112 h 10285008"/>
                  <a:gd name="T88" fmla="*/ 177 w 9203997"/>
                  <a:gd name="T89" fmla="*/ 107 h 10285008"/>
                  <a:gd name="T90" fmla="*/ 182 w 9203997"/>
                  <a:gd name="T91" fmla="*/ 103 h 10285008"/>
                  <a:gd name="T92" fmla="*/ 175 w 9203997"/>
                  <a:gd name="T93" fmla="*/ 90 h 10285008"/>
                  <a:gd name="T94" fmla="*/ 188 w 9203997"/>
                  <a:gd name="T95" fmla="*/ 89 h 10285008"/>
                  <a:gd name="T96" fmla="*/ 182 w 9203997"/>
                  <a:gd name="T97" fmla="*/ 82 h 10285008"/>
                  <a:gd name="T98" fmla="*/ 183 w 9203997"/>
                  <a:gd name="T99" fmla="*/ 75 h 10285008"/>
                  <a:gd name="T100" fmla="*/ 169 w 9203997"/>
                  <a:gd name="T101" fmla="*/ 79 h 10285008"/>
                  <a:gd name="T102" fmla="*/ 160 w 9203997"/>
                  <a:gd name="T103" fmla="*/ 80 h 10285008"/>
                  <a:gd name="T104" fmla="*/ 141 w 9203997"/>
                  <a:gd name="T105" fmla="*/ 73 h 10285008"/>
                  <a:gd name="T106" fmla="*/ 137 w 9203997"/>
                  <a:gd name="T107" fmla="*/ 60 h 10285008"/>
                  <a:gd name="T108" fmla="*/ 138 w 9203997"/>
                  <a:gd name="T109" fmla="*/ 45 h 10285008"/>
                  <a:gd name="T110" fmla="*/ 140 w 9203997"/>
                  <a:gd name="T111" fmla="*/ 39 h 10285008"/>
                  <a:gd name="T112" fmla="*/ 160 w 9203997"/>
                  <a:gd name="T113" fmla="*/ 32 h 10285008"/>
                  <a:gd name="T114" fmla="*/ 161 w 9203997"/>
                  <a:gd name="T115" fmla="*/ 27 h 10285008"/>
                  <a:gd name="T116" fmla="*/ 146 w 9203997"/>
                  <a:gd name="T117" fmla="*/ 19 h 10285008"/>
                  <a:gd name="T118" fmla="*/ 137 w 9203997"/>
                  <a:gd name="T119" fmla="*/ 18 h 10285008"/>
                  <a:gd name="T120" fmla="*/ 125 w 9203997"/>
                  <a:gd name="T121" fmla="*/ 11 h 10285008"/>
                  <a:gd name="T122" fmla="*/ 126 w 9203997"/>
                  <a:gd name="T123" fmla="*/ 0 h 10285008"/>
                  <a:gd name="T124" fmla="*/ 115 w 9203997"/>
                  <a:gd name="T125" fmla="*/ 6 h 10285008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9203997"/>
                  <a:gd name="T190" fmla="*/ 0 h 10285008"/>
                  <a:gd name="T191" fmla="*/ 9203997 w 9203997"/>
                  <a:gd name="T192" fmla="*/ 10285008 h 10285008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9203997" h="10285008">
                    <a:moveTo>
                      <a:pt x="5016346" y="272308"/>
                    </a:moveTo>
                    <a:lnTo>
                      <a:pt x="4313511" y="504554"/>
                    </a:lnTo>
                    <a:lnTo>
                      <a:pt x="3576003" y="1855955"/>
                    </a:lnTo>
                    <a:lnTo>
                      <a:pt x="2843254" y="3158027"/>
                    </a:lnTo>
                    <a:lnTo>
                      <a:pt x="2684877" y="3722301"/>
                    </a:lnTo>
                    <a:lnTo>
                      <a:pt x="2442407" y="4276767"/>
                    </a:lnTo>
                    <a:lnTo>
                      <a:pt x="1962806" y="4845509"/>
                    </a:lnTo>
                    <a:lnTo>
                      <a:pt x="1334055" y="4909986"/>
                    </a:lnTo>
                    <a:lnTo>
                      <a:pt x="71795" y="5904531"/>
                    </a:lnTo>
                    <a:lnTo>
                      <a:pt x="66746" y="6163713"/>
                    </a:lnTo>
                    <a:lnTo>
                      <a:pt x="0" y="6701829"/>
                    </a:lnTo>
                    <a:lnTo>
                      <a:pt x="472411" y="7074979"/>
                    </a:lnTo>
                    <a:lnTo>
                      <a:pt x="514481" y="7452093"/>
                    </a:lnTo>
                    <a:lnTo>
                      <a:pt x="901636" y="7470780"/>
                    </a:lnTo>
                    <a:lnTo>
                      <a:pt x="1155250" y="7793917"/>
                    </a:lnTo>
                    <a:lnTo>
                      <a:pt x="1992520" y="7945910"/>
                    </a:lnTo>
                    <a:lnTo>
                      <a:pt x="2615524" y="8587545"/>
                    </a:lnTo>
                    <a:lnTo>
                      <a:pt x="3162091" y="8427139"/>
                    </a:lnTo>
                    <a:lnTo>
                      <a:pt x="4068662" y="9032556"/>
                    </a:lnTo>
                    <a:lnTo>
                      <a:pt x="4607749" y="9068886"/>
                    </a:lnTo>
                    <a:lnTo>
                      <a:pt x="4816559" y="9256978"/>
                    </a:lnTo>
                    <a:lnTo>
                      <a:pt x="4720742" y="9545354"/>
                    </a:lnTo>
                    <a:lnTo>
                      <a:pt x="5071740" y="9822585"/>
                    </a:lnTo>
                    <a:lnTo>
                      <a:pt x="4844644" y="9992336"/>
                    </a:lnTo>
                    <a:lnTo>
                      <a:pt x="5353439" y="10212581"/>
                    </a:lnTo>
                    <a:lnTo>
                      <a:pt x="6318853" y="10285008"/>
                    </a:lnTo>
                    <a:lnTo>
                      <a:pt x="6997453" y="9857350"/>
                    </a:lnTo>
                    <a:lnTo>
                      <a:pt x="7342878" y="9550925"/>
                    </a:lnTo>
                    <a:lnTo>
                      <a:pt x="7423779" y="9162263"/>
                    </a:lnTo>
                    <a:lnTo>
                      <a:pt x="7639727" y="8958795"/>
                    </a:lnTo>
                    <a:lnTo>
                      <a:pt x="7922697" y="8941384"/>
                    </a:lnTo>
                    <a:lnTo>
                      <a:pt x="8216480" y="8905751"/>
                    </a:lnTo>
                    <a:lnTo>
                      <a:pt x="8241667" y="8480760"/>
                    </a:lnTo>
                    <a:lnTo>
                      <a:pt x="8475663" y="8309384"/>
                    </a:lnTo>
                    <a:lnTo>
                      <a:pt x="8489008" y="7951944"/>
                    </a:lnTo>
                    <a:lnTo>
                      <a:pt x="8789226" y="7285359"/>
                    </a:lnTo>
                    <a:lnTo>
                      <a:pt x="9177886" y="6587370"/>
                    </a:lnTo>
                    <a:lnTo>
                      <a:pt x="9203997" y="5985430"/>
                    </a:lnTo>
                    <a:lnTo>
                      <a:pt x="8916844" y="5725957"/>
                    </a:lnTo>
                    <a:lnTo>
                      <a:pt x="8223616" y="6259298"/>
                    </a:lnTo>
                    <a:lnTo>
                      <a:pt x="8161809" y="5780626"/>
                    </a:lnTo>
                    <a:lnTo>
                      <a:pt x="8423776" y="5683827"/>
                    </a:lnTo>
                    <a:lnTo>
                      <a:pt x="8359998" y="5127211"/>
                    </a:lnTo>
                    <a:lnTo>
                      <a:pt x="8053052" y="4864835"/>
                    </a:lnTo>
                    <a:lnTo>
                      <a:pt x="7698864" y="4649989"/>
                    </a:lnTo>
                    <a:lnTo>
                      <a:pt x="7907152" y="4481514"/>
                    </a:lnTo>
                    <a:lnTo>
                      <a:pt x="7607343" y="3899714"/>
                    </a:lnTo>
                    <a:lnTo>
                      <a:pt x="8187585" y="3893179"/>
                    </a:lnTo>
                    <a:lnTo>
                      <a:pt x="7936573" y="3558294"/>
                    </a:lnTo>
                    <a:lnTo>
                      <a:pt x="7961528" y="3261155"/>
                    </a:lnTo>
                    <a:lnTo>
                      <a:pt x="7372299" y="3424582"/>
                    </a:lnTo>
                    <a:lnTo>
                      <a:pt x="6966693" y="3474202"/>
                    </a:lnTo>
                    <a:lnTo>
                      <a:pt x="6149851" y="3172596"/>
                    </a:lnTo>
                    <a:lnTo>
                      <a:pt x="5981375" y="2603273"/>
                    </a:lnTo>
                    <a:lnTo>
                      <a:pt x="6016138" y="1959666"/>
                    </a:lnTo>
                    <a:lnTo>
                      <a:pt x="6089843" y="1702339"/>
                    </a:lnTo>
                    <a:lnTo>
                      <a:pt x="6966403" y="1380535"/>
                    </a:lnTo>
                    <a:lnTo>
                      <a:pt x="6996116" y="1172538"/>
                    </a:lnTo>
                    <a:lnTo>
                      <a:pt x="6362897" y="816262"/>
                    </a:lnTo>
                    <a:lnTo>
                      <a:pt x="5973140" y="803784"/>
                    </a:lnTo>
                    <a:lnTo>
                      <a:pt x="5456623" y="490279"/>
                    </a:lnTo>
                    <a:lnTo>
                      <a:pt x="5471771" y="0"/>
                    </a:lnTo>
                    <a:lnTo>
                      <a:pt x="5016346" y="272308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>
                  <a:defRPr/>
                </a:pPr>
                <a:endParaRPr lang="zh-CN" altLang="en-US" kern="0">
                  <a:solidFill>
                    <a:sysClr val="windowText" lastClr="000000"/>
                  </a:solidFill>
                  <a:latin typeface="Calibri"/>
                  <a:ea typeface="宋体" panose="02010600030101010101" pitchFamily="2" charset="-122"/>
                </a:endParaRPr>
              </a:p>
            </p:txBody>
          </p:sp>
          <p:sp>
            <p:nvSpPr>
              <p:cNvPr id="44" name="任意多边形 4">
                <a:extLst>
                  <a:ext uri="{FF2B5EF4-FFF2-40B4-BE49-F238E27FC236}">
                    <a16:creationId xmlns:a16="http://schemas.microsoft.com/office/drawing/2014/main" id="{FA736513-76B5-490F-BF3E-5B093692F1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14700" y="4491038"/>
                <a:ext cx="1333500" cy="776288"/>
              </a:xfrm>
              <a:custGeom>
                <a:avLst/>
                <a:gdLst>
                  <a:gd name="T0" fmla="*/ 893642 w 15594186"/>
                  <a:gd name="T1" fmla="*/ 4236959 h 9088095"/>
                  <a:gd name="T2" fmla="*/ 1539919 w 15594186"/>
                  <a:gd name="T3" fmla="*/ 4835996 h 9088095"/>
                  <a:gd name="T4" fmla="*/ 2022189 w 15594186"/>
                  <a:gd name="T5" fmla="*/ 5276365 h 9088095"/>
                  <a:gd name="T6" fmla="*/ 3415492 w 15594186"/>
                  <a:gd name="T7" fmla="*/ 5729212 h 9088095"/>
                  <a:gd name="T8" fmla="*/ 4690230 w 15594186"/>
                  <a:gd name="T9" fmla="*/ 6216821 h 9088095"/>
                  <a:gd name="T10" fmla="*/ 5331168 w 15594186"/>
                  <a:gd name="T11" fmla="*/ 6580526 h 9088095"/>
                  <a:gd name="T12" fmla="*/ 5586115 w 15594186"/>
                  <a:gd name="T13" fmla="*/ 7102899 h 9088095"/>
                  <a:gd name="T14" fmla="*/ 5960562 w 15594186"/>
                  <a:gd name="T15" fmla="*/ 7641183 h 9088095"/>
                  <a:gd name="T16" fmla="*/ 6300180 w 15594186"/>
                  <a:gd name="T17" fmla="*/ 8521157 h 9088095"/>
                  <a:gd name="T18" fmla="*/ 7599873 w 15594186"/>
                  <a:gd name="T19" fmla="*/ 8174396 h 9088095"/>
                  <a:gd name="T20" fmla="*/ 8164147 w 15594186"/>
                  <a:gd name="T21" fmla="*/ 8320586 h 9088095"/>
                  <a:gd name="T22" fmla="*/ 9298033 w 15594186"/>
                  <a:gd name="T23" fmla="*/ 8610296 h 9088095"/>
                  <a:gd name="T24" fmla="*/ 10362394 w 15594186"/>
                  <a:gd name="T25" fmla="*/ 8785910 h 9088095"/>
                  <a:gd name="T26" fmla="*/ 11517696 w 15594186"/>
                  <a:gd name="T27" fmla="*/ 8177065 h 9088095"/>
                  <a:gd name="T28" fmla="*/ 11975882 w 15594186"/>
                  <a:gd name="T29" fmla="*/ 8642389 h 9088095"/>
                  <a:gd name="T30" fmla="*/ 13165946 w 15594186"/>
                  <a:gd name="T31" fmla="*/ 8954385 h 9088095"/>
                  <a:gd name="T32" fmla="*/ 13720412 w 15594186"/>
                  <a:gd name="T33" fmla="*/ 9088095 h 9088095"/>
                  <a:gd name="T34" fmla="*/ 14198214 w 15594186"/>
                  <a:gd name="T35" fmla="*/ 8441818 h 9088095"/>
                  <a:gd name="T36" fmla="*/ 14938913 w 15594186"/>
                  <a:gd name="T37" fmla="*/ 8361558 h 9088095"/>
                  <a:gd name="T38" fmla="*/ 15482759 w 15594186"/>
                  <a:gd name="T39" fmla="*/ 7190241 h 9088095"/>
                  <a:gd name="T40" fmla="*/ 15594186 w 15594186"/>
                  <a:gd name="T41" fmla="*/ 5533982 h 9088095"/>
                  <a:gd name="T42" fmla="*/ 14893530 w 15594186"/>
                  <a:gd name="T43" fmla="*/ 4242298 h 9088095"/>
                  <a:gd name="T44" fmla="*/ 13700796 w 15594186"/>
                  <a:gd name="T45" fmla="*/ 4009636 h 9088095"/>
                  <a:gd name="T46" fmla="*/ 13749836 w 15594186"/>
                  <a:gd name="T47" fmla="*/ 3581745 h 9088095"/>
                  <a:gd name="T48" fmla="*/ 14054693 w 15594186"/>
                  <a:gd name="T49" fmla="*/ 2492429 h 9088095"/>
                  <a:gd name="T50" fmla="*/ 13569753 w 15594186"/>
                  <a:gd name="T51" fmla="*/ 1742733 h 9088095"/>
                  <a:gd name="T52" fmla="*/ 12871767 w 15594186"/>
                  <a:gd name="T53" fmla="*/ 1267601 h 9088095"/>
                  <a:gd name="T54" fmla="*/ 11720934 w 15594186"/>
                  <a:gd name="T55" fmla="*/ 648949 h 9088095"/>
                  <a:gd name="T56" fmla="*/ 11268087 w 15594186"/>
                  <a:gd name="T57" fmla="*/ 104291 h 9088095"/>
                  <a:gd name="T58" fmla="*/ 10562963 w 15594186"/>
                  <a:gd name="T59" fmla="*/ 720272 h 9088095"/>
                  <a:gd name="T60" fmla="*/ 9642122 w 15594186"/>
                  <a:gd name="T61" fmla="*/ 997505 h 9088095"/>
                  <a:gd name="T62" fmla="*/ 9335466 w 15594186"/>
                  <a:gd name="T63" fmla="*/ 1635771 h 9088095"/>
                  <a:gd name="T64" fmla="*/ 8481481 w 15594186"/>
                  <a:gd name="T65" fmla="*/ 3101269 h 9088095"/>
                  <a:gd name="T66" fmla="*/ 7738924 w 15594186"/>
                  <a:gd name="T67" fmla="*/ 3012128 h 9088095"/>
                  <a:gd name="T68" fmla="*/ 7033800 w 15594186"/>
                  <a:gd name="T69" fmla="*/ 3336601 h 9088095"/>
                  <a:gd name="T70" fmla="*/ 6323336 w 15594186"/>
                  <a:gd name="T71" fmla="*/ 2759850 h 9088095"/>
                  <a:gd name="T72" fmla="*/ 5912390 w 15594186"/>
                  <a:gd name="T73" fmla="*/ 2234808 h 9088095"/>
                  <a:gd name="T74" fmla="*/ 4914886 w 15594186"/>
                  <a:gd name="T75" fmla="*/ 2616330 h 9088095"/>
                  <a:gd name="T76" fmla="*/ 4630514 w 15594186"/>
                  <a:gd name="T77" fmla="*/ 1905866 h 9088095"/>
                  <a:gd name="T78" fmla="*/ 4084057 w 15594186"/>
                  <a:gd name="T79" fmla="*/ 2126051 h 9088095"/>
                  <a:gd name="T80" fmla="*/ 3331692 w 15594186"/>
                  <a:gd name="T81" fmla="*/ 2170621 h 9088095"/>
                  <a:gd name="T82" fmla="*/ 2136288 w 15594186"/>
                  <a:gd name="T83" fmla="*/ 2465671 h 9088095"/>
                  <a:gd name="T84" fmla="*/ 1443641 w 15594186"/>
                  <a:gd name="T85" fmla="*/ 1405779 h 9088095"/>
                  <a:gd name="T86" fmla="*/ 908791 w 15594186"/>
                  <a:gd name="T87" fmla="*/ 2301664 h 9088095"/>
                  <a:gd name="T88" fmla="*/ 574510 w 15594186"/>
                  <a:gd name="T89" fmla="*/ 3222504 h 9088095"/>
                  <a:gd name="T90" fmla="*/ 0 w 15594186"/>
                  <a:gd name="T91" fmla="*/ 3618719 h 9088095"/>
                  <a:gd name="T92" fmla="*/ 0 w 15594186"/>
                  <a:gd name="T93" fmla="*/ 0 h 9088095"/>
                  <a:gd name="T94" fmla="*/ 15594186 w 15594186"/>
                  <a:gd name="T95" fmla="*/ 9088095 h 90880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T92" t="T93" r="T94" b="T95"/>
                <a:pathLst>
                  <a:path w="15594186" h="9088095">
                    <a:moveTo>
                      <a:pt x="0" y="3618719"/>
                    </a:moveTo>
                    <a:lnTo>
                      <a:pt x="893642" y="4236959"/>
                    </a:lnTo>
                    <a:lnTo>
                      <a:pt x="1096880" y="4628289"/>
                    </a:lnTo>
                    <a:lnTo>
                      <a:pt x="1539919" y="4835996"/>
                    </a:lnTo>
                    <a:lnTo>
                      <a:pt x="1636199" y="5135514"/>
                    </a:lnTo>
                    <a:lnTo>
                      <a:pt x="2022189" y="5276365"/>
                    </a:lnTo>
                    <a:lnTo>
                      <a:pt x="2505330" y="5123037"/>
                    </a:lnTo>
                    <a:lnTo>
                      <a:pt x="3415492" y="5729212"/>
                    </a:lnTo>
                    <a:lnTo>
                      <a:pt x="4215098" y="5939588"/>
                    </a:lnTo>
                    <a:lnTo>
                      <a:pt x="4690230" y="6216821"/>
                    </a:lnTo>
                    <a:lnTo>
                      <a:pt x="5044127" y="6494054"/>
                    </a:lnTo>
                    <a:lnTo>
                      <a:pt x="5331168" y="6580526"/>
                    </a:lnTo>
                    <a:lnTo>
                      <a:pt x="5620878" y="6813188"/>
                    </a:lnTo>
                    <a:lnTo>
                      <a:pt x="5586115" y="7102899"/>
                    </a:lnTo>
                    <a:lnTo>
                      <a:pt x="5796492" y="7313275"/>
                    </a:lnTo>
                    <a:lnTo>
                      <a:pt x="5960562" y="7641183"/>
                    </a:lnTo>
                    <a:lnTo>
                      <a:pt x="6112089" y="8122689"/>
                    </a:lnTo>
                    <a:lnTo>
                      <a:pt x="6300180" y="8521157"/>
                    </a:lnTo>
                    <a:lnTo>
                      <a:pt x="6780651" y="8597819"/>
                    </a:lnTo>
                    <a:lnTo>
                      <a:pt x="7599873" y="8174396"/>
                    </a:lnTo>
                    <a:lnTo>
                      <a:pt x="7721108" y="8432013"/>
                    </a:lnTo>
                    <a:lnTo>
                      <a:pt x="8164147" y="8320586"/>
                    </a:lnTo>
                    <a:lnTo>
                      <a:pt x="8533191" y="8342871"/>
                    </a:lnTo>
                    <a:lnTo>
                      <a:pt x="9298033" y="8610296"/>
                    </a:lnTo>
                    <a:lnTo>
                      <a:pt x="9750880" y="8842958"/>
                    </a:lnTo>
                    <a:lnTo>
                      <a:pt x="10362394" y="8785910"/>
                    </a:lnTo>
                    <a:lnTo>
                      <a:pt x="10852280" y="8123578"/>
                    </a:lnTo>
                    <a:lnTo>
                      <a:pt x="11517696" y="8177065"/>
                    </a:lnTo>
                    <a:lnTo>
                      <a:pt x="11587222" y="8466776"/>
                    </a:lnTo>
                    <a:lnTo>
                      <a:pt x="11975882" y="8642389"/>
                    </a:lnTo>
                    <a:lnTo>
                      <a:pt x="12802241" y="8833150"/>
                    </a:lnTo>
                    <a:lnTo>
                      <a:pt x="13165946" y="8954385"/>
                    </a:lnTo>
                    <a:lnTo>
                      <a:pt x="13420894" y="8909812"/>
                    </a:lnTo>
                    <a:lnTo>
                      <a:pt x="13720412" y="9088095"/>
                    </a:lnTo>
                    <a:lnTo>
                      <a:pt x="14057363" y="8795715"/>
                    </a:lnTo>
                    <a:lnTo>
                      <a:pt x="14198214" y="8441818"/>
                    </a:lnTo>
                    <a:lnTo>
                      <a:pt x="14684024" y="8097731"/>
                    </a:lnTo>
                    <a:lnTo>
                      <a:pt x="14938913" y="8361558"/>
                    </a:lnTo>
                    <a:lnTo>
                      <a:pt x="15218004" y="7427372"/>
                    </a:lnTo>
                    <a:lnTo>
                      <a:pt x="15482759" y="7190241"/>
                    </a:lnTo>
                    <a:lnTo>
                      <a:pt x="15514850" y="6521679"/>
                    </a:lnTo>
                    <a:lnTo>
                      <a:pt x="15594186" y="5533982"/>
                    </a:lnTo>
                    <a:lnTo>
                      <a:pt x="15470862" y="4789684"/>
                    </a:lnTo>
                    <a:lnTo>
                      <a:pt x="14893530" y="4242298"/>
                    </a:lnTo>
                    <a:lnTo>
                      <a:pt x="14710778" y="3392783"/>
                    </a:lnTo>
                    <a:lnTo>
                      <a:pt x="13700796" y="4009636"/>
                    </a:lnTo>
                    <a:lnTo>
                      <a:pt x="13354038" y="3754689"/>
                    </a:lnTo>
                    <a:lnTo>
                      <a:pt x="13749836" y="3581745"/>
                    </a:lnTo>
                    <a:lnTo>
                      <a:pt x="14195544" y="2635949"/>
                    </a:lnTo>
                    <a:lnTo>
                      <a:pt x="14054693" y="2492429"/>
                    </a:lnTo>
                    <a:lnTo>
                      <a:pt x="13879080" y="2609195"/>
                    </a:lnTo>
                    <a:lnTo>
                      <a:pt x="13569753" y="1742733"/>
                    </a:lnTo>
                    <a:lnTo>
                      <a:pt x="13238142" y="1175790"/>
                    </a:lnTo>
                    <a:lnTo>
                      <a:pt x="12871767" y="1267601"/>
                    </a:lnTo>
                    <a:lnTo>
                      <a:pt x="12466161" y="576754"/>
                    </a:lnTo>
                    <a:lnTo>
                      <a:pt x="11720934" y="648949"/>
                    </a:lnTo>
                    <a:lnTo>
                      <a:pt x="11567606" y="91814"/>
                    </a:lnTo>
                    <a:lnTo>
                      <a:pt x="11268087" y="104291"/>
                    </a:lnTo>
                    <a:lnTo>
                      <a:pt x="10983716" y="0"/>
                    </a:lnTo>
                    <a:lnTo>
                      <a:pt x="10562963" y="720272"/>
                    </a:lnTo>
                    <a:lnTo>
                      <a:pt x="10018305" y="1143695"/>
                    </a:lnTo>
                    <a:lnTo>
                      <a:pt x="9642122" y="997505"/>
                    </a:lnTo>
                    <a:lnTo>
                      <a:pt x="9421938" y="1274736"/>
                    </a:lnTo>
                    <a:lnTo>
                      <a:pt x="9335466" y="1635771"/>
                    </a:lnTo>
                    <a:lnTo>
                      <a:pt x="8491289" y="2298995"/>
                    </a:lnTo>
                    <a:lnTo>
                      <a:pt x="8481481" y="3101269"/>
                    </a:lnTo>
                    <a:lnTo>
                      <a:pt x="8102629" y="3168126"/>
                    </a:lnTo>
                    <a:lnTo>
                      <a:pt x="7738924" y="3012128"/>
                    </a:lnTo>
                    <a:lnTo>
                      <a:pt x="7434425" y="3053161"/>
                    </a:lnTo>
                    <a:lnTo>
                      <a:pt x="7033800" y="3336601"/>
                    </a:lnTo>
                    <a:lnTo>
                      <a:pt x="6565806" y="2757180"/>
                    </a:lnTo>
                    <a:lnTo>
                      <a:pt x="6323336" y="2759850"/>
                    </a:lnTo>
                    <a:lnTo>
                      <a:pt x="6447240" y="2470140"/>
                    </a:lnTo>
                    <a:lnTo>
                      <a:pt x="5912390" y="2234808"/>
                    </a:lnTo>
                    <a:lnTo>
                      <a:pt x="5615542" y="2613660"/>
                    </a:lnTo>
                    <a:lnTo>
                      <a:pt x="4914886" y="2616330"/>
                    </a:lnTo>
                    <a:lnTo>
                      <a:pt x="4781173" y="2215192"/>
                    </a:lnTo>
                    <a:lnTo>
                      <a:pt x="4630514" y="1905866"/>
                    </a:lnTo>
                    <a:lnTo>
                      <a:pt x="4063337" y="1644650"/>
                    </a:lnTo>
                    <a:lnTo>
                      <a:pt x="4084057" y="2126051"/>
                    </a:lnTo>
                    <a:lnTo>
                      <a:pt x="3650826" y="2495095"/>
                    </a:lnTo>
                    <a:lnTo>
                      <a:pt x="3331692" y="2170621"/>
                    </a:lnTo>
                    <a:lnTo>
                      <a:pt x="2655991" y="2371190"/>
                    </a:lnTo>
                    <a:lnTo>
                      <a:pt x="2136288" y="2465671"/>
                    </a:lnTo>
                    <a:lnTo>
                      <a:pt x="1802007" y="1765015"/>
                    </a:lnTo>
                    <a:lnTo>
                      <a:pt x="1443641" y="1405779"/>
                    </a:lnTo>
                    <a:lnTo>
                      <a:pt x="708222" y="1915674"/>
                    </a:lnTo>
                    <a:lnTo>
                      <a:pt x="908791" y="2301664"/>
                    </a:lnTo>
                    <a:lnTo>
                      <a:pt x="886506" y="2878415"/>
                    </a:lnTo>
                    <a:lnTo>
                      <a:pt x="574510" y="3222504"/>
                    </a:lnTo>
                    <a:lnTo>
                      <a:pt x="354325" y="3432881"/>
                    </a:lnTo>
                    <a:lnTo>
                      <a:pt x="0" y="3618719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>
                  <a:defRPr/>
                </a:pPr>
                <a:endParaRPr lang="zh-CN" altLang="en-US" kern="0">
                  <a:solidFill>
                    <a:sysClr val="windowText" lastClr="000000"/>
                  </a:solidFill>
                  <a:latin typeface="Calibri"/>
                  <a:ea typeface="宋体" panose="02010600030101010101" pitchFamily="2" charset="-122"/>
                </a:endParaRPr>
              </a:p>
            </p:txBody>
          </p:sp>
          <p:sp>
            <p:nvSpPr>
              <p:cNvPr id="45" name="任意多边形 5">
                <a:extLst>
                  <a:ext uri="{FF2B5EF4-FFF2-40B4-BE49-F238E27FC236}">
                    <a16:creationId xmlns:a16="http://schemas.microsoft.com/office/drawing/2014/main" id="{582617D6-26A8-45DD-BEA5-1E112C4BA4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5038" y="5143501"/>
                <a:ext cx="1163637" cy="903288"/>
              </a:xfrm>
              <a:custGeom>
                <a:avLst/>
                <a:gdLst>
                  <a:gd name="T0" fmla="*/ 517906 w 13604960"/>
                  <a:gd name="T1" fmla="*/ 3956280 h 10566221"/>
                  <a:gd name="T2" fmla="*/ 458188 w 13604960"/>
                  <a:gd name="T3" fmla="*/ 2607548 h 10566221"/>
                  <a:gd name="T4" fmla="*/ 661426 w 13604960"/>
                  <a:gd name="T5" fmla="*/ 2129746 h 10566221"/>
                  <a:gd name="T6" fmla="*/ 896758 w 13604960"/>
                  <a:gd name="T7" fmla="*/ 1565472 h 10566221"/>
                  <a:gd name="T8" fmla="*/ 1477978 w 13604960"/>
                  <a:gd name="T9" fmla="*/ 892441 h 10566221"/>
                  <a:gd name="T10" fmla="*/ 2109108 w 13604960"/>
                  <a:gd name="T11" fmla="*/ 1003868 h 10566221"/>
                  <a:gd name="T12" fmla="*/ 2960423 w 13604960"/>
                  <a:gd name="T13" fmla="*/ 952159 h 10566221"/>
                  <a:gd name="T14" fmla="*/ 3294704 w 13604960"/>
                  <a:gd name="T15" fmla="*/ 58073 h 10566221"/>
                  <a:gd name="T16" fmla="*/ 4231618 w 13604960"/>
                  <a:gd name="T17" fmla="*/ 481505 h 10566221"/>
                  <a:gd name="T18" fmla="*/ 4900180 w 13604960"/>
                  <a:gd name="T19" fmla="*/ 956635 h 10566221"/>
                  <a:gd name="T20" fmla="*/ 5840637 w 13604960"/>
                  <a:gd name="T21" fmla="*/ 790829 h 10566221"/>
                  <a:gd name="T22" fmla="*/ 6652720 w 13604960"/>
                  <a:gd name="T23" fmla="*/ 701687 h 10566221"/>
                  <a:gd name="T24" fmla="*/ 7870409 w 13604960"/>
                  <a:gd name="T25" fmla="*/ 1201774 h 10566221"/>
                  <a:gd name="T26" fmla="*/ 8971809 w 13604960"/>
                  <a:gd name="T27" fmla="*/ 482394 h 10566221"/>
                  <a:gd name="T28" fmla="*/ 9706751 w 13604960"/>
                  <a:gd name="T29" fmla="*/ 825592 h 10566221"/>
                  <a:gd name="T30" fmla="*/ 10921770 w 13604960"/>
                  <a:gd name="T31" fmla="*/ 1191966 h 10566221"/>
                  <a:gd name="T32" fmla="*/ 11540423 w 13604960"/>
                  <a:gd name="T33" fmla="*/ 1268628 h 10566221"/>
                  <a:gd name="T34" fmla="*/ 12176892 w 13604960"/>
                  <a:gd name="T35" fmla="*/ 1154531 h 10566221"/>
                  <a:gd name="T36" fmla="*/ 12803553 w 13604960"/>
                  <a:gd name="T37" fmla="*/ 456547 h 10566221"/>
                  <a:gd name="T38" fmla="*/ 12847254 w 13604960"/>
                  <a:gd name="T39" fmla="*/ 802425 h 10566221"/>
                  <a:gd name="T40" fmla="*/ 13070108 w 13604960"/>
                  <a:gd name="T41" fmla="*/ 1750019 h 10566221"/>
                  <a:gd name="T42" fmla="*/ 12805067 w 13604960"/>
                  <a:gd name="T43" fmla="*/ 3548116 h 10566221"/>
                  <a:gd name="T44" fmla="*/ 12624399 w 13604960"/>
                  <a:gd name="T45" fmla="*/ 3903695 h 10566221"/>
                  <a:gd name="T46" fmla="*/ 13102201 w 13604960"/>
                  <a:gd name="T47" fmla="*/ 4327118 h 10566221"/>
                  <a:gd name="T48" fmla="*/ 13251063 w 13604960"/>
                  <a:gd name="T49" fmla="*/ 5329961 h 10566221"/>
                  <a:gd name="T50" fmla="*/ 12287451 w 13604960"/>
                  <a:gd name="T51" fmla="*/ 5713282 h 10566221"/>
                  <a:gd name="T52" fmla="*/ 13178868 w 13604960"/>
                  <a:gd name="T53" fmla="*/ 7324100 h 10566221"/>
                  <a:gd name="T54" fmla="*/ 13547912 w 13604960"/>
                  <a:gd name="T55" fmla="*/ 8519503 h 10566221"/>
                  <a:gd name="T56" fmla="*/ 12671642 w 13604960"/>
                  <a:gd name="T57" fmla="*/ 9475106 h 10566221"/>
                  <a:gd name="T58" fmla="*/ 12381932 w 13604960"/>
                  <a:gd name="T59" fmla="*/ 8697786 h 10566221"/>
                  <a:gd name="T60" fmla="*/ 11445944 w 13604960"/>
                  <a:gd name="T61" fmla="*/ 8420554 h 10566221"/>
                  <a:gd name="T62" fmla="*/ 10666825 w 13604960"/>
                  <a:gd name="T63" fmla="*/ 9150633 h 10566221"/>
                  <a:gd name="T64" fmla="*/ 9323432 w 13604960"/>
                  <a:gd name="T65" fmla="*/ 8984827 h 10566221"/>
                  <a:gd name="T66" fmla="*/ 8214500 w 13604960"/>
                  <a:gd name="T67" fmla="*/ 8635399 h 10566221"/>
                  <a:gd name="T68" fmla="*/ 7496898 w 13604960"/>
                  <a:gd name="T69" fmla="*/ 9607948 h 10566221"/>
                  <a:gd name="T70" fmla="*/ 6435207 w 13604960"/>
                  <a:gd name="T71" fmla="*/ 10219462 h 10566221"/>
                  <a:gd name="T72" fmla="*/ 5550929 w 13604960"/>
                  <a:gd name="T73" fmla="*/ 10257765 h 10566221"/>
                  <a:gd name="T74" fmla="*/ 5539322 w 13604960"/>
                  <a:gd name="T75" fmla="*/ 9606149 h 10566221"/>
                  <a:gd name="T76" fmla="*/ 6440546 w 13604960"/>
                  <a:gd name="T77" fmla="*/ 9205012 h 10566221"/>
                  <a:gd name="T78" fmla="*/ 6148166 w 13604960"/>
                  <a:gd name="T79" fmla="*/ 8318937 h 10566221"/>
                  <a:gd name="T80" fmla="*/ 4883237 w 13604960"/>
                  <a:gd name="T81" fmla="*/ 8187897 h 10566221"/>
                  <a:gd name="T82" fmla="*/ 4480300 w 13604960"/>
                  <a:gd name="T83" fmla="*/ 7948097 h 10566221"/>
                  <a:gd name="T84" fmla="*/ 3010333 w 13604960"/>
                  <a:gd name="T85" fmla="*/ 7078965 h 10566221"/>
                  <a:gd name="T86" fmla="*/ 2000351 w 13604960"/>
                  <a:gd name="T87" fmla="*/ 6772309 h 10566221"/>
                  <a:gd name="T88" fmla="*/ 1661601 w 13604960"/>
                  <a:gd name="T89" fmla="*/ 6237459 h 10566221"/>
                  <a:gd name="T90" fmla="*/ 945798 w 13604960"/>
                  <a:gd name="T91" fmla="*/ 5980712 h 10566221"/>
                  <a:gd name="T92" fmla="*/ 1025131 w 13604960"/>
                  <a:gd name="T93" fmla="*/ 4700636 h 10566221"/>
                  <a:gd name="T94" fmla="*/ 449225 w 13604960"/>
                  <a:gd name="T95" fmla="*/ 4290116 h 10566221"/>
                  <a:gd name="T96" fmla="*/ 0 w 13604960"/>
                  <a:gd name="T97" fmla="*/ 0 h 10566221"/>
                  <a:gd name="T98" fmla="*/ 13604960 w 13604960"/>
                  <a:gd name="T99" fmla="*/ 10566221 h 105662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T96" t="T97" r="T98" b="T99"/>
                <a:pathLst>
                  <a:path w="13604960" h="10566221">
                    <a:moveTo>
                      <a:pt x="449225" y="4290116"/>
                    </a:moveTo>
                    <a:lnTo>
                      <a:pt x="517906" y="3956280"/>
                    </a:lnTo>
                    <a:lnTo>
                      <a:pt x="0" y="3171821"/>
                    </a:lnTo>
                    <a:lnTo>
                      <a:pt x="458188" y="2607548"/>
                    </a:lnTo>
                    <a:lnTo>
                      <a:pt x="431434" y="2315168"/>
                    </a:lnTo>
                    <a:lnTo>
                      <a:pt x="661426" y="2129746"/>
                    </a:lnTo>
                    <a:lnTo>
                      <a:pt x="619525" y="1582419"/>
                    </a:lnTo>
                    <a:lnTo>
                      <a:pt x="896758" y="1565472"/>
                    </a:lnTo>
                    <a:lnTo>
                      <a:pt x="985900" y="929003"/>
                    </a:lnTo>
                    <a:lnTo>
                      <a:pt x="1477978" y="892441"/>
                    </a:lnTo>
                    <a:lnTo>
                      <a:pt x="1723118" y="1058247"/>
                    </a:lnTo>
                    <a:lnTo>
                      <a:pt x="2109108" y="1003868"/>
                    </a:lnTo>
                    <a:lnTo>
                      <a:pt x="2529862" y="335306"/>
                    </a:lnTo>
                    <a:lnTo>
                      <a:pt x="2960423" y="952159"/>
                    </a:lnTo>
                    <a:lnTo>
                      <a:pt x="3227848" y="904919"/>
                    </a:lnTo>
                    <a:lnTo>
                      <a:pt x="3294704" y="58073"/>
                    </a:lnTo>
                    <a:lnTo>
                      <a:pt x="4080091" y="-1"/>
                    </a:lnTo>
                    <a:lnTo>
                      <a:pt x="4231618" y="481505"/>
                    </a:lnTo>
                    <a:lnTo>
                      <a:pt x="4419709" y="879973"/>
                    </a:lnTo>
                    <a:lnTo>
                      <a:pt x="4900180" y="956635"/>
                    </a:lnTo>
                    <a:lnTo>
                      <a:pt x="5719402" y="533212"/>
                    </a:lnTo>
                    <a:lnTo>
                      <a:pt x="5840637" y="790829"/>
                    </a:lnTo>
                    <a:lnTo>
                      <a:pt x="6283676" y="679402"/>
                    </a:lnTo>
                    <a:lnTo>
                      <a:pt x="6652720" y="701687"/>
                    </a:lnTo>
                    <a:lnTo>
                      <a:pt x="7417562" y="969112"/>
                    </a:lnTo>
                    <a:lnTo>
                      <a:pt x="7870409" y="1201774"/>
                    </a:lnTo>
                    <a:lnTo>
                      <a:pt x="8481923" y="1144726"/>
                    </a:lnTo>
                    <a:lnTo>
                      <a:pt x="8971809" y="482394"/>
                    </a:lnTo>
                    <a:lnTo>
                      <a:pt x="9637225" y="535881"/>
                    </a:lnTo>
                    <a:lnTo>
                      <a:pt x="9706751" y="825592"/>
                    </a:lnTo>
                    <a:lnTo>
                      <a:pt x="10095411" y="1001205"/>
                    </a:lnTo>
                    <a:lnTo>
                      <a:pt x="10921770" y="1191966"/>
                    </a:lnTo>
                    <a:lnTo>
                      <a:pt x="11285475" y="1313201"/>
                    </a:lnTo>
                    <a:lnTo>
                      <a:pt x="11540423" y="1268628"/>
                    </a:lnTo>
                    <a:lnTo>
                      <a:pt x="11839941" y="1446911"/>
                    </a:lnTo>
                    <a:lnTo>
                      <a:pt x="12176892" y="1154531"/>
                    </a:lnTo>
                    <a:lnTo>
                      <a:pt x="12317743" y="800634"/>
                    </a:lnTo>
                    <a:lnTo>
                      <a:pt x="12803553" y="456547"/>
                    </a:lnTo>
                    <a:lnTo>
                      <a:pt x="13058442" y="720374"/>
                    </a:lnTo>
                    <a:lnTo>
                      <a:pt x="12847254" y="802425"/>
                    </a:lnTo>
                    <a:lnTo>
                      <a:pt x="12604784" y="1278427"/>
                    </a:lnTo>
                    <a:lnTo>
                      <a:pt x="13070108" y="1750019"/>
                    </a:lnTo>
                    <a:lnTo>
                      <a:pt x="13057630" y="3252949"/>
                    </a:lnTo>
                    <a:lnTo>
                      <a:pt x="12805067" y="3548116"/>
                    </a:lnTo>
                    <a:lnTo>
                      <a:pt x="12490687" y="3524843"/>
                    </a:lnTo>
                    <a:lnTo>
                      <a:pt x="12624399" y="3903695"/>
                    </a:lnTo>
                    <a:lnTo>
                      <a:pt x="13003251" y="3703126"/>
                    </a:lnTo>
                    <a:lnTo>
                      <a:pt x="13102201" y="4327118"/>
                    </a:lnTo>
                    <a:lnTo>
                      <a:pt x="13604960" y="4973395"/>
                    </a:lnTo>
                    <a:lnTo>
                      <a:pt x="13251063" y="5329961"/>
                    </a:lnTo>
                    <a:lnTo>
                      <a:pt x="12785739" y="5263105"/>
                    </a:lnTo>
                    <a:lnTo>
                      <a:pt x="12287451" y="5713282"/>
                    </a:lnTo>
                    <a:lnTo>
                      <a:pt x="13340205" y="6581543"/>
                    </a:lnTo>
                    <a:lnTo>
                      <a:pt x="13178868" y="7324100"/>
                    </a:lnTo>
                    <a:lnTo>
                      <a:pt x="13590391" y="7912358"/>
                    </a:lnTo>
                    <a:lnTo>
                      <a:pt x="13547912" y="8519503"/>
                    </a:lnTo>
                    <a:lnTo>
                      <a:pt x="12758114" y="8940256"/>
                    </a:lnTo>
                    <a:lnTo>
                      <a:pt x="12671642" y="9475106"/>
                    </a:lnTo>
                    <a:lnTo>
                      <a:pt x="12337361" y="9210351"/>
                    </a:lnTo>
                    <a:lnTo>
                      <a:pt x="12381932" y="8697786"/>
                    </a:lnTo>
                    <a:lnTo>
                      <a:pt x="12136792" y="8531981"/>
                    </a:lnTo>
                    <a:lnTo>
                      <a:pt x="11445944" y="8420554"/>
                    </a:lnTo>
                    <a:lnTo>
                      <a:pt x="11062623" y="8561404"/>
                    </a:lnTo>
                    <a:lnTo>
                      <a:pt x="10666825" y="9150633"/>
                    </a:lnTo>
                    <a:lnTo>
                      <a:pt x="9932277" y="9205012"/>
                    </a:lnTo>
                    <a:lnTo>
                      <a:pt x="9323432" y="8984827"/>
                    </a:lnTo>
                    <a:lnTo>
                      <a:pt x="8887532" y="8561404"/>
                    </a:lnTo>
                    <a:lnTo>
                      <a:pt x="8214500" y="8635399"/>
                    </a:lnTo>
                    <a:lnTo>
                      <a:pt x="7484421" y="9256721"/>
                    </a:lnTo>
                    <a:lnTo>
                      <a:pt x="7496898" y="9607948"/>
                    </a:lnTo>
                    <a:lnTo>
                      <a:pt x="6645584" y="10477079"/>
                    </a:lnTo>
                    <a:lnTo>
                      <a:pt x="6435207" y="10219462"/>
                    </a:lnTo>
                    <a:lnTo>
                      <a:pt x="5826362" y="10566221"/>
                    </a:lnTo>
                    <a:lnTo>
                      <a:pt x="5550929" y="10257765"/>
                    </a:lnTo>
                    <a:lnTo>
                      <a:pt x="5361038" y="9848619"/>
                    </a:lnTo>
                    <a:lnTo>
                      <a:pt x="5539322" y="9606149"/>
                    </a:lnTo>
                    <a:lnTo>
                      <a:pt x="5985030" y="9685483"/>
                    </a:lnTo>
                    <a:lnTo>
                      <a:pt x="6440546" y="9205012"/>
                    </a:lnTo>
                    <a:lnTo>
                      <a:pt x="6383498" y="8628260"/>
                    </a:lnTo>
                    <a:lnTo>
                      <a:pt x="6148166" y="8318937"/>
                    </a:lnTo>
                    <a:lnTo>
                      <a:pt x="5353900" y="8296652"/>
                    </a:lnTo>
                    <a:lnTo>
                      <a:pt x="4883237" y="8187897"/>
                    </a:lnTo>
                    <a:cubicBezTo>
                      <a:pt x="4885017" y="8054185"/>
                      <a:pt x="4886796" y="7920472"/>
                      <a:pt x="4888576" y="7786760"/>
                    </a:cubicBezTo>
                    <a:lnTo>
                      <a:pt x="4480300" y="7948097"/>
                    </a:lnTo>
                    <a:lnTo>
                      <a:pt x="3935642" y="7234963"/>
                    </a:lnTo>
                    <a:lnTo>
                      <a:pt x="3010333" y="7078965"/>
                    </a:lnTo>
                    <a:lnTo>
                      <a:pt x="2257968" y="7148491"/>
                    </a:lnTo>
                    <a:lnTo>
                      <a:pt x="2000351" y="6772309"/>
                    </a:lnTo>
                    <a:lnTo>
                      <a:pt x="2124255" y="6517361"/>
                    </a:lnTo>
                    <a:lnTo>
                      <a:pt x="1661601" y="6237459"/>
                    </a:lnTo>
                    <a:lnTo>
                      <a:pt x="1359413" y="6453175"/>
                    </a:lnTo>
                    <a:lnTo>
                      <a:pt x="945798" y="5980712"/>
                    </a:lnTo>
                    <a:lnTo>
                      <a:pt x="1569789" y="5124059"/>
                    </a:lnTo>
                    <a:lnTo>
                      <a:pt x="1025131" y="4700636"/>
                    </a:lnTo>
                    <a:lnTo>
                      <a:pt x="589411" y="4726063"/>
                    </a:lnTo>
                    <a:lnTo>
                      <a:pt x="449225" y="4290116"/>
                    </a:ln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>
                  <a:defRPr/>
                </a:pPr>
                <a:endParaRPr lang="zh-CN" altLang="en-US" kern="0">
                  <a:solidFill>
                    <a:sysClr val="windowText" lastClr="000000"/>
                  </a:solidFill>
                  <a:latin typeface="Calibri"/>
                  <a:ea typeface="宋体" panose="02010600030101010101" pitchFamily="2" charset="-122"/>
                </a:endParaRPr>
              </a:p>
            </p:txBody>
          </p:sp>
          <p:sp>
            <p:nvSpPr>
              <p:cNvPr id="46" name="任意多边形 8">
                <a:extLst>
                  <a:ext uri="{FF2B5EF4-FFF2-40B4-BE49-F238E27FC236}">
                    <a16:creationId xmlns:a16="http://schemas.microsoft.com/office/drawing/2014/main" id="{CFC29E31-A0C9-40AA-B807-C25C97D981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60775" y="3722688"/>
                <a:ext cx="1139825" cy="1111250"/>
              </a:xfrm>
              <a:custGeom>
                <a:avLst/>
                <a:gdLst>
                  <a:gd name="T0" fmla="*/ 1875285 w 13323896"/>
                  <a:gd name="T1" fmla="*/ 4149559 h 13000758"/>
                  <a:gd name="T2" fmla="*/ 2340610 w 13323896"/>
                  <a:gd name="T3" fmla="*/ 4904593 h 13000758"/>
                  <a:gd name="T4" fmla="*/ 2625851 w 13323896"/>
                  <a:gd name="T5" fmla="*/ 5684583 h 13000758"/>
                  <a:gd name="T6" fmla="*/ 2286231 w 13323896"/>
                  <a:gd name="T7" fmla="*/ 6335329 h 13000758"/>
                  <a:gd name="T8" fmla="*/ 1541004 w 13323896"/>
                  <a:gd name="T9" fmla="*/ 6387038 h 13000758"/>
                  <a:gd name="T10" fmla="*/ 1836054 w 13323896"/>
                  <a:gd name="T11" fmla="*/ 7327494 h 13000758"/>
                  <a:gd name="T12" fmla="*/ 1558821 w 13323896"/>
                  <a:gd name="T13" fmla="*/ 7894437 h 13000758"/>
                  <a:gd name="T14" fmla="*/ 724453 w 13323896"/>
                  <a:gd name="T15" fmla="*/ 8355293 h 13000758"/>
                  <a:gd name="T16" fmla="*/ 774362 w 13323896"/>
                  <a:gd name="T17" fmla="*/ 9102319 h 13000758"/>
                  <a:gd name="T18" fmla="*/ 617031 w 13323896"/>
                  <a:gd name="T19" fmla="*/ 10029371 h 13000758"/>
                  <a:gd name="T20" fmla="*/ 0 w 13323896"/>
                  <a:gd name="T21" fmla="*/ 10628876 h 13000758"/>
                  <a:gd name="T22" fmla="*/ 739595 w 13323896"/>
                  <a:gd name="T23" fmla="*/ 11202314 h 13000758"/>
                  <a:gd name="T24" fmla="*/ 1565260 w 13323896"/>
                  <a:gd name="T25" fmla="*/ 11602579 h 13000758"/>
                  <a:gd name="T26" fmla="*/ 2392083 w 13323896"/>
                  <a:gd name="T27" fmla="*/ 11465736 h 13000758"/>
                  <a:gd name="T28" fmla="*/ 2518889 w 13323896"/>
                  <a:gd name="T29" fmla="*/ 11752775 h 13000758"/>
                  <a:gd name="T30" fmla="*/ 3387093 w 13323896"/>
                  <a:gd name="T31" fmla="*/ 12048287 h 13000758"/>
                  <a:gd name="T32" fmla="*/ 4061227 w 13323896"/>
                  <a:gd name="T33" fmla="*/ 12165285 h 13000758"/>
                  <a:gd name="T34" fmla="*/ 4441705 w 13323896"/>
                  <a:gd name="T35" fmla="*/ 11286117 h 13000758"/>
                  <a:gd name="T36" fmla="*/ 5371017 w 13323896"/>
                  <a:gd name="T37" fmla="*/ 10268762 h 13000758"/>
                  <a:gd name="T38" fmla="*/ 5964717 w 13323896"/>
                  <a:gd name="T39" fmla="*/ 10140391 h 13000758"/>
                  <a:gd name="T40" fmla="*/ 6931462 w 13323896"/>
                  <a:gd name="T41" fmla="*/ 8996928 h 13000758"/>
                  <a:gd name="T42" fmla="*/ 7515467 w 13323896"/>
                  <a:gd name="T43" fmla="*/ 9078754 h 13000758"/>
                  <a:gd name="T44" fmla="*/ 8402766 w 13323896"/>
                  <a:gd name="T45" fmla="*/ 9563872 h 13000758"/>
                  <a:gd name="T46" fmla="*/ 9184608 w 13323896"/>
                  <a:gd name="T47" fmla="*/ 10166560 h 13000758"/>
                  <a:gd name="T48" fmla="*/ 9829549 w 13323896"/>
                  <a:gd name="T49" fmla="*/ 11600085 h 13000758"/>
                  <a:gd name="T50" fmla="*/ 10140158 w 13323896"/>
                  <a:gd name="T51" fmla="*/ 11625971 h 13000758"/>
                  <a:gd name="T52" fmla="*/ 9303120 w 13323896"/>
                  <a:gd name="T53" fmla="*/ 12743141 h 13000758"/>
                  <a:gd name="T54" fmla="*/ 10661262 w 13323896"/>
                  <a:gd name="T55" fmla="*/ 12388282 h 13000758"/>
                  <a:gd name="T56" fmla="*/ 10480241 w 13323896"/>
                  <a:gd name="T57" fmla="*/ 11274741 h 13000758"/>
                  <a:gd name="T58" fmla="*/ 10180723 w 13323896"/>
                  <a:gd name="T59" fmla="*/ 9849345 h 13000758"/>
                  <a:gd name="T60" fmla="*/ 9648542 w 13323896"/>
                  <a:gd name="T61" fmla="*/ 8645932 h 13000758"/>
                  <a:gd name="T62" fmla="*/ 8751904 w 13323896"/>
                  <a:gd name="T63" fmla="*/ 7388256 h 13000758"/>
                  <a:gd name="T64" fmla="*/ 8601998 w 13323896"/>
                  <a:gd name="T65" fmla="*/ 8213572 h 13000758"/>
                  <a:gd name="T66" fmla="*/ 7338868 w 13323896"/>
                  <a:gd name="T67" fmla="*/ 8281298 h 13000758"/>
                  <a:gd name="T68" fmla="*/ 7532298 w 13323896"/>
                  <a:gd name="T69" fmla="*/ 7473684 h 13000758"/>
                  <a:gd name="T70" fmla="*/ 6385934 w 13323896"/>
                  <a:gd name="T71" fmla="*/ 7392551 h 13000758"/>
                  <a:gd name="T72" fmla="*/ 6663167 w 13323896"/>
                  <a:gd name="T73" fmla="*/ 6716850 h 13000758"/>
                  <a:gd name="T74" fmla="*/ 7395916 w 13323896"/>
                  <a:gd name="T75" fmla="*/ 5417158 h 13000758"/>
                  <a:gd name="T76" fmla="*/ 8042193 w 13323896"/>
                  <a:gd name="T77" fmla="*/ 4907263 h 13000758"/>
                  <a:gd name="T78" fmla="*/ 8428183 w 13323896"/>
                  <a:gd name="T79" fmla="*/ 4429461 h 13000758"/>
                  <a:gd name="T80" fmla="*/ 9584299 w 13323896"/>
                  <a:gd name="T81" fmla="*/ 4666592 h 13000758"/>
                  <a:gd name="T82" fmla="*/ 10838607 w 13323896"/>
                  <a:gd name="T83" fmla="*/ 4110327 h 13000758"/>
                  <a:gd name="T84" fmla="*/ 11890490 w 13323896"/>
                  <a:gd name="T85" fmla="*/ 4647847 h 13000758"/>
                  <a:gd name="T86" fmla="*/ 13323896 w 13323896"/>
                  <a:gd name="T87" fmla="*/ 3724337 h 13000758"/>
                  <a:gd name="T88" fmla="*/ 12588477 w 13323896"/>
                  <a:gd name="T89" fmla="*/ 2927401 h 13000758"/>
                  <a:gd name="T90" fmla="*/ 12288666 w 13323896"/>
                  <a:gd name="T91" fmla="*/ 2015322 h 13000758"/>
                  <a:gd name="T92" fmla="*/ 11498871 w 13323896"/>
                  <a:gd name="T93" fmla="*/ 2072371 h 13000758"/>
                  <a:gd name="T94" fmla="*/ 10950034 w 13323896"/>
                  <a:gd name="T95" fmla="*/ 1712381 h 13000758"/>
                  <a:gd name="T96" fmla="*/ 10017586 w 13323896"/>
                  <a:gd name="T97" fmla="*/ 1337998 h 13000758"/>
                  <a:gd name="T98" fmla="*/ 9431027 w 13323896"/>
                  <a:gd name="T99" fmla="*/ 879812 h 13000758"/>
                  <a:gd name="T100" fmla="*/ 8396090 w 13323896"/>
                  <a:gd name="T101" fmla="*/ 1127621 h 13000758"/>
                  <a:gd name="T102" fmla="*/ 7854972 w 13323896"/>
                  <a:gd name="T103" fmla="*/ 0 h 13000758"/>
                  <a:gd name="T104" fmla="*/ 7037550 w 13323896"/>
                  <a:gd name="T105" fmla="*/ 574026 h 13000758"/>
                  <a:gd name="T106" fmla="*/ 6205851 w 13323896"/>
                  <a:gd name="T107" fmla="*/ 1628578 h 13000758"/>
                  <a:gd name="T108" fmla="*/ 4644073 w 13323896"/>
                  <a:gd name="T109" fmla="*/ 1883526 h 13000758"/>
                  <a:gd name="T110" fmla="*/ 4007604 w 13323896"/>
                  <a:gd name="T111" fmla="*/ 2071617 h 13000758"/>
                  <a:gd name="T112" fmla="*/ 3569904 w 13323896"/>
                  <a:gd name="T113" fmla="*/ 2502179 h 13000758"/>
                  <a:gd name="T114" fmla="*/ 2640128 w 13323896"/>
                  <a:gd name="T115" fmla="*/ 2615405 h 13000758"/>
                  <a:gd name="T116" fmla="*/ 1601106 w 13323896"/>
                  <a:gd name="T117" fmla="*/ 3804085 h 13000758"/>
                  <a:gd name="T118" fmla="*/ 0 w 13323896"/>
                  <a:gd name="T119" fmla="*/ 0 h 13000758"/>
                  <a:gd name="T120" fmla="*/ 13323896 w 13323896"/>
                  <a:gd name="T121" fmla="*/ 13000758 h 130007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T118" t="T119" r="T120" b="T121"/>
                <a:pathLst>
                  <a:path w="13323896" h="13000758">
                    <a:moveTo>
                      <a:pt x="1601106" y="3804085"/>
                    </a:moveTo>
                    <a:lnTo>
                      <a:pt x="1875285" y="4149559"/>
                    </a:lnTo>
                    <a:lnTo>
                      <a:pt x="2209567" y="4404506"/>
                    </a:lnTo>
                    <a:lnTo>
                      <a:pt x="2340610" y="4904593"/>
                    </a:lnTo>
                    <a:lnTo>
                      <a:pt x="2474322" y="5315539"/>
                    </a:lnTo>
                    <a:lnTo>
                      <a:pt x="2625851" y="5684583"/>
                    </a:lnTo>
                    <a:lnTo>
                      <a:pt x="2273753" y="5956477"/>
                    </a:lnTo>
                    <a:lnTo>
                      <a:pt x="2286231" y="6335329"/>
                    </a:lnTo>
                    <a:lnTo>
                      <a:pt x="1820907" y="6335329"/>
                    </a:lnTo>
                    <a:lnTo>
                      <a:pt x="1541004" y="6387038"/>
                    </a:lnTo>
                    <a:lnTo>
                      <a:pt x="1600722" y="6963789"/>
                    </a:lnTo>
                    <a:lnTo>
                      <a:pt x="1836054" y="7327494"/>
                    </a:lnTo>
                    <a:lnTo>
                      <a:pt x="1623008" y="7560156"/>
                    </a:lnTo>
                    <a:lnTo>
                      <a:pt x="1558821" y="7894437"/>
                    </a:lnTo>
                    <a:lnTo>
                      <a:pt x="1214732" y="8093207"/>
                    </a:lnTo>
                    <a:lnTo>
                      <a:pt x="724453" y="8355293"/>
                    </a:lnTo>
                    <a:lnTo>
                      <a:pt x="880450" y="8667289"/>
                    </a:lnTo>
                    <a:lnTo>
                      <a:pt x="774362" y="9102319"/>
                    </a:lnTo>
                    <a:lnTo>
                      <a:pt x="338462" y="9332311"/>
                    </a:lnTo>
                    <a:lnTo>
                      <a:pt x="617031" y="10029371"/>
                    </a:lnTo>
                    <a:lnTo>
                      <a:pt x="41613" y="10279906"/>
                    </a:lnTo>
                    <a:lnTo>
                      <a:pt x="0" y="10628876"/>
                    </a:lnTo>
                    <a:lnTo>
                      <a:pt x="575123" y="10891652"/>
                    </a:lnTo>
                    <a:lnTo>
                      <a:pt x="739595" y="11202314"/>
                    </a:lnTo>
                    <a:lnTo>
                      <a:pt x="869302" y="11610359"/>
                    </a:lnTo>
                    <a:lnTo>
                      <a:pt x="1565260" y="11602579"/>
                    </a:lnTo>
                    <a:lnTo>
                      <a:pt x="1861004" y="11226165"/>
                    </a:lnTo>
                    <a:lnTo>
                      <a:pt x="2392083" y="11465736"/>
                    </a:lnTo>
                    <a:lnTo>
                      <a:pt x="2272413" y="11759681"/>
                    </a:lnTo>
                    <a:lnTo>
                      <a:pt x="2518889" y="11752775"/>
                    </a:lnTo>
                    <a:lnTo>
                      <a:pt x="2985549" y="12325057"/>
                    </a:lnTo>
                    <a:lnTo>
                      <a:pt x="3387093" y="12048287"/>
                    </a:lnTo>
                    <a:lnTo>
                      <a:pt x="3704658" y="12003714"/>
                    </a:lnTo>
                    <a:lnTo>
                      <a:pt x="4061227" y="12165285"/>
                    </a:lnTo>
                    <a:lnTo>
                      <a:pt x="4434857" y="12085257"/>
                    </a:lnTo>
                    <a:cubicBezTo>
                      <a:pt x="4437140" y="11818877"/>
                      <a:pt x="4439422" y="11552497"/>
                      <a:pt x="4441705" y="11286117"/>
                    </a:cubicBezTo>
                    <a:lnTo>
                      <a:pt x="5273404" y="10639376"/>
                    </a:lnTo>
                    <a:lnTo>
                      <a:pt x="5371017" y="10268762"/>
                    </a:lnTo>
                    <a:lnTo>
                      <a:pt x="5589871" y="9984625"/>
                    </a:lnTo>
                    <a:lnTo>
                      <a:pt x="5964717" y="10140391"/>
                    </a:lnTo>
                    <a:lnTo>
                      <a:pt x="6498231" y="9723875"/>
                    </a:lnTo>
                    <a:lnTo>
                      <a:pt x="6931462" y="8996928"/>
                    </a:lnTo>
                    <a:lnTo>
                      <a:pt x="7217170" y="9096982"/>
                    </a:lnTo>
                    <a:lnTo>
                      <a:pt x="7515467" y="9078754"/>
                    </a:lnTo>
                    <a:lnTo>
                      <a:pt x="7674253" y="9647209"/>
                    </a:lnTo>
                    <a:lnTo>
                      <a:pt x="8402766" y="9563872"/>
                    </a:lnTo>
                    <a:lnTo>
                      <a:pt x="8826420" y="10265861"/>
                    </a:lnTo>
                    <a:lnTo>
                      <a:pt x="9184608" y="10166560"/>
                    </a:lnTo>
                    <a:lnTo>
                      <a:pt x="9507694" y="10700659"/>
                    </a:lnTo>
                    <a:lnTo>
                      <a:pt x="9829549" y="11600085"/>
                    </a:lnTo>
                    <a:lnTo>
                      <a:pt x="10003776" y="11483784"/>
                    </a:lnTo>
                    <a:lnTo>
                      <a:pt x="10140158" y="11625971"/>
                    </a:lnTo>
                    <a:lnTo>
                      <a:pt x="9687543" y="12581572"/>
                    </a:lnTo>
                    <a:lnTo>
                      <a:pt x="9303120" y="12743141"/>
                    </a:lnTo>
                    <a:lnTo>
                      <a:pt x="9650110" y="13000758"/>
                    </a:lnTo>
                    <a:lnTo>
                      <a:pt x="10661262" y="12388282"/>
                    </a:lnTo>
                    <a:lnTo>
                      <a:pt x="10433001" y="11915679"/>
                    </a:lnTo>
                    <a:lnTo>
                      <a:pt x="10480241" y="11274741"/>
                    </a:lnTo>
                    <a:lnTo>
                      <a:pt x="10076434" y="10497421"/>
                    </a:lnTo>
                    <a:lnTo>
                      <a:pt x="10180723" y="9849345"/>
                    </a:lnTo>
                    <a:lnTo>
                      <a:pt x="10113867" y="9242299"/>
                    </a:lnTo>
                    <a:lnTo>
                      <a:pt x="9648542" y="8645932"/>
                    </a:lnTo>
                    <a:lnTo>
                      <a:pt x="9250074" y="7779471"/>
                    </a:lnTo>
                    <a:lnTo>
                      <a:pt x="8751904" y="7388256"/>
                    </a:lnTo>
                    <a:lnTo>
                      <a:pt x="8517325" y="7701878"/>
                    </a:lnTo>
                    <a:lnTo>
                      <a:pt x="8601998" y="8213572"/>
                    </a:lnTo>
                    <a:lnTo>
                      <a:pt x="7871048" y="8586156"/>
                    </a:lnTo>
                    <a:lnTo>
                      <a:pt x="7338868" y="8281298"/>
                    </a:lnTo>
                    <a:lnTo>
                      <a:pt x="7802393" y="7919393"/>
                    </a:lnTo>
                    <a:lnTo>
                      <a:pt x="7532298" y="7473684"/>
                    </a:lnTo>
                    <a:lnTo>
                      <a:pt x="6828973" y="7392551"/>
                    </a:lnTo>
                    <a:lnTo>
                      <a:pt x="6385934" y="7392551"/>
                    </a:lnTo>
                    <a:lnTo>
                      <a:pt x="6418897" y="6817599"/>
                    </a:lnTo>
                    <a:lnTo>
                      <a:pt x="6663167" y="6716850"/>
                    </a:lnTo>
                    <a:lnTo>
                      <a:pt x="7561722" y="5738962"/>
                    </a:lnTo>
                    <a:lnTo>
                      <a:pt x="7395916" y="5417158"/>
                    </a:lnTo>
                    <a:lnTo>
                      <a:pt x="7485058" y="5028498"/>
                    </a:lnTo>
                    <a:lnTo>
                      <a:pt x="8042193" y="4907263"/>
                    </a:lnTo>
                    <a:lnTo>
                      <a:pt x="8507517" y="4773550"/>
                    </a:lnTo>
                    <a:lnTo>
                      <a:pt x="8428183" y="4429461"/>
                    </a:lnTo>
                    <a:lnTo>
                      <a:pt x="9029890" y="4464224"/>
                    </a:lnTo>
                    <a:lnTo>
                      <a:pt x="9584299" y="4666592"/>
                    </a:lnTo>
                    <a:lnTo>
                      <a:pt x="10210147" y="4689748"/>
                    </a:lnTo>
                    <a:lnTo>
                      <a:pt x="10838607" y="4110327"/>
                    </a:lnTo>
                    <a:lnTo>
                      <a:pt x="11348502" y="4647847"/>
                    </a:lnTo>
                    <a:lnTo>
                      <a:pt x="11890490" y="4647847"/>
                    </a:lnTo>
                    <a:lnTo>
                      <a:pt x="12769430" y="3852710"/>
                    </a:lnTo>
                    <a:lnTo>
                      <a:pt x="13323896" y="3724337"/>
                    </a:lnTo>
                    <a:lnTo>
                      <a:pt x="12991355" y="3249204"/>
                    </a:lnTo>
                    <a:lnTo>
                      <a:pt x="12588477" y="2927401"/>
                    </a:lnTo>
                    <a:lnTo>
                      <a:pt x="12400385" y="2561026"/>
                    </a:lnTo>
                    <a:lnTo>
                      <a:pt x="12288666" y="2015322"/>
                    </a:lnTo>
                    <a:lnTo>
                      <a:pt x="12049158" y="2244561"/>
                    </a:lnTo>
                    <a:lnTo>
                      <a:pt x="11498871" y="2072371"/>
                    </a:lnTo>
                    <a:lnTo>
                      <a:pt x="11026698" y="2088564"/>
                    </a:lnTo>
                    <a:lnTo>
                      <a:pt x="10950034" y="1712381"/>
                    </a:lnTo>
                    <a:lnTo>
                      <a:pt x="10388430" y="1256865"/>
                    </a:lnTo>
                    <a:lnTo>
                      <a:pt x="10017586" y="1337998"/>
                    </a:lnTo>
                    <a:lnTo>
                      <a:pt x="9651212" y="755907"/>
                    </a:lnTo>
                    <a:lnTo>
                      <a:pt x="9431027" y="879812"/>
                    </a:lnTo>
                    <a:lnTo>
                      <a:pt x="8886369" y="946668"/>
                    </a:lnTo>
                    <a:lnTo>
                      <a:pt x="8396090" y="1127621"/>
                    </a:lnTo>
                    <a:lnTo>
                      <a:pt x="8376474" y="417157"/>
                    </a:lnTo>
                    <a:lnTo>
                      <a:pt x="7854972" y="0"/>
                    </a:lnTo>
                    <a:lnTo>
                      <a:pt x="7314783" y="207651"/>
                    </a:lnTo>
                    <a:lnTo>
                      <a:pt x="7037550" y="574026"/>
                    </a:lnTo>
                    <a:lnTo>
                      <a:pt x="6795080" y="1017064"/>
                    </a:lnTo>
                    <a:lnTo>
                      <a:pt x="6205851" y="1628578"/>
                    </a:lnTo>
                    <a:lnTo>
                      <a:pt x="5755674" y="1985145"/>
                    </a:lnTo>
                    <a:lnTo>
                      <a:pt x="4644073" y="1883526"/>
                    </a:lnTo>
                    <a:lnTo>
                      <a:pt x="4216181" y="1801523"/>
                    </a:lnTo>
                    <a:lnTo>
                      <a:pt x="4007604" y="2071617"/>
                    </a:lnTo>
                    <a:lnTo>
                      <a:pt x="4032559" y="2304279"/>
                    </a:lnTo>
                    <a:lnTo>
                      <a:pt x="3569904" y="2502179"/>
                    </a:lnTo>
                    <a:lnTo>
                      <a:pt x="2919511" y="3050435"/>
                    </a:lnTo>
                    <a:lnTo>
                      <a:pt x="2640128" y="2615405"/>
                    </a:lnTo>
                    <a:lnTo>
                      <a:pt x="1694332" y="2575303"/>
                    </a:lnTo>
                    <a:lnTo>
                      <a:pt x="1601106" y="3804085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>
                  <a:defRPr/>
                </a:pPr>
                <a:endParaRPr lang="zh-CN" altLang="en-US" kern="0">
                  <a:solidFill>
                    <a:sysClr val="windowText" lastClr="000000"/>
                  </a:solidFill>
                  <a:latin typeface="Calibri"/>
                  <a:ea typeface="宋体" panose="02010600030101010101" pitchFamily="2" charset="-122"/>
                </a:endParaRPr>
              </a:p>
            </p:txBody>
          </p:sp>
          <p:sp>
            <p:nvSpPr>
              <p:cNvPr id="47" name="任意多边形 9">
                <a:extLst>
                  <a:ext uri="{FF2B5EF4-FFF2-40B4-BE49-F238E27FC236}">
                    <a16:creationId xmlns:a16="http://schemas.microsoft.com/office/drawing/2014/main" id="{C6852943-F0B9-4F04-8582-A7E36F4FD0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87688" y="3784601"/>
                <a:ext cx="798512" cy="920750"/>
              </a:xfrm>
              <a:custGeom>
                <a:avLst/>
                <a:gdLst>
                  <a:gd name="T0" fmla="*/ 8585338 w 9335905"/>
                  <a:gd name="T1" fmla="*/ 3417968 h 10756198"/>
                  <a:gd name="T2" fmla="*/ 9050663 w 9335905"/>
                  <a:gd name="T3" fmla="*/ 4173002 h 10756198"/>
                  <a:gd name="T4" fmla="*/ 9335904 w 9335905"/>
                  <a:gd name="T5" fmla="*/ 4952992 h 10756198"/>
                  <a:gd name="T6" fmla="*/ 8996284 w 9335905"/>
                  <a:gd name="T7" fmla="*/ 5603738 h 10756198"/>
                  <a:gd name="T8" fmla="*/ 8251057 w 9335905"/>
                  <a:gd name="T9" fmla="*/ 5655447 h 10756198"/>
                  <a:gd name="T10" fmla="*/ 8546107 w 9335905"/>
                  <a:gd name="T11" fmla="*/ 6595903 h 10756198"/>
                  <a:gd name="T12" fmla="*/ 8268874 w 9335905"/>
                  <a:gd name="T13" fmla="*/ 7162846 h 10756198"/>
                  <a:gd name="T14" fmla="*/ 7434506 w 9335905"/>
                  <a:gd name="T15" fmla="*/ 7623702 h 10756198"/>
                  <a:gd name="T16" fmla="*/ 7484415 w 9335905"/>
                  <a:gd name="T17" fmla="*/ 8370728 h 10756198"/>
                  <a:gd name="T18" fmla="*/ 7327084 w 9335905"/>
                  <a:gd name="T19" fmla="*/ 9297780 h 10756198"/>
                  <a:gd name="T20" fmla="*/ 6712955 w 9335905"/>
                  <a:gd name="T21" fmla="*/ 9891720 h 10756198"/>
                  <a:gd name="T22" fmla="*/ 6315308 w 9335905"/>
                  <a:gd name="T23" fmla="*/ 10756198 h 10756198"/>
                  <a:gd name="T24" fmla="*/ 5336083 w 9335905"/>
                  <a:gd name="T25" fmla="*/ 10630960 h 10756198"/>
                  <a:gd name="T26" fmla="*/ 4475192 w 9335905"/>
                  <a:gd name="T27" fmla="*/ 10035927 h 10756198"/>
                  <a:gd name="T28" fmla="*/ 3848300 w 9335905"/>
                  <a:gd name="T29" fmla="*/ 9248799 h 10756198"/>
                  <a:gd name="T30" fmla="*/ 2925660 w 9335905"/>
                  <a:gd name="T31" fmla="*/ 8563290 h 10756198"/>
                  <a:gd name="T32" fmla="*/ 2061868 w 9335905"/>
                  <a:gd name="T33" fmla="*/ 8429577 h 10756198"/>
                  <a:gd name="T34" fmla="*/ 1290535 w 9335905"/>
                  <a:gd name="T35" fmla="*/ 8491057 h 10756198"/>
                  <a:gd name="T36" fmla="*/ 1057222 w 9335905"/>
                  <a:gd name="T37" fmla="*/ 7835878 h 10756198"/>
                  <a:gd name="T38" fmla="*/ 1762347 w 9335905"/>
                  <a:gd name="T39" fmla="*/ 7229703 h 10756198"/>
                  <a:gd name="T40" fmla="*/ 1341593 w 9335905"/>
                  <a:gd name="T41" fmla="*/ 6997041 h 10756198"/>
                  <a:gd name="T42" fmla="*/ 1022459 w 9335905"/>
                  <a:gd name="T43" fmla="*/ 6464860 h 10756198"/>
                  <a:gd name="T44" fmla="*/ 378674 w 9335905"/>
                  <a:gd name="T45" fmla="*/ 6166738 h 10756198"/>
                  <a:gd name="T46" fmla="*/ 683709 w 9335905"/>
                  <a:gd name="T47" fmla="*/ 4979746 h 10756198"/>
                  <a:gd name="T48" fmla="*/ 285244 w 9335905"/>
                  <a:gd name="T49" fmla="*/ 4195288 h 10756198"/>
                  <a:gd name="T50" fmla="*/ 222857 w 9335905"/>
                  <a:gd name="T51" fmla="*/ 3410830 h 10756198"/>
                  <a:gd name="T52" fmla="*/ 767514 w 9335905"/>
                  <a:gd name="T53" fmla="*/ 2881319 h 10756198"/>
                  <a:gd name="T54" fmla="*/ 626664 w 9335905"/>
                  <a:gd name="T55" fmla="*/ 2116476 h 10756198"/>
                  <a:gd name="T56" fmla="*/ 1133889 w 9335905"/>
                  <a:gd name="T57" fmla="*/ 1918577 h 10756198"/>
                  <a:gd name="T58" fmla="*/ 670364 w 9335905"/>
                  <a:gd name="T59" fmla="*/ 1408682 h 10756198"/>
                  <a:gd name="T60" fmla="*/ 349431 w 9335905"/>
                  <a:gd name="T61" fmla="*/ 567178 h 10756198"/>
                  <a:gd name="T62" fmla="*/ 692186 w 9335905"/>
                  <a:gd name="T63" fmla="*/ 0 h 10756198"/>
                  <a:gd name="T64" fmla="*/ 1777497 w 9335905"/>
                  <a:gd name="T65" fmla="*/ 104523 h 10756198"/>
                  <a:gd name="T66" fmla="*/ 1918347 w 9335905"/>
                  <a:gd name="T67" fmla="*/ 904128 h 10756198"/>
                  <a:gd name="T68" fmla="*/ 2645757 w 9335905"/>
                  <a:gd name="T69" fmla="*/ 946030 h 10756198"/>
                  <a:gd name="T70" fmla="*/ 3403462 w 9335905"/>
                  <a:gd name="T71" fmla="*/ 723175 h 10756198"/>
                  <a:gd name="T72" fmla="*/ 3620977 w 9335905"/>
                  <a:gd name="T73" fmla="*/ 1225932 h 10756198"/>
                  <a:gd name="T74" fmla="*/ 4130872 w 9335905"/>
                  <a:gd name="T75" fmla="*/ 1475540 h 10756198"/>
                  <a:gd name="T76" fmla="*/ 5279035 w 9335905"/>
                  <a:gd name="T77" fmla="*/ 1718010 h 10756198"/>
                  <a:gd name="T78" fmla="*/ 5999307 w 9335905"/>
                  <a:gd name="T79" fmla="*/ 1596775 h 10756198"/>
                  <a:gd name="T80" fmla="*/ 6442752 w 9335905"/>
                  <a:gd name="T81" fmla="*/ 2373223 h 10756198"/>
                  <a:gd name="T82" fmla="*/ 8404385 w 9335905"/>
                  <a:gd name="T83" fmla="*/ 1843712 h 10756198"/>
                  <a:gd name="T84" fmla="*/ 0 w 9335905"/>
                  <a:gd name="T85" fmla="*/ 0 h 10756198"/>
                  <a:gd name="T86" fmla="*/ 9335905 w 9335905"/>
                  <a:gd name="T87" fmla="*/ 10756198 h 10756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T84" t="T85" r="T86" b="T87"/>
                <a:pathLst>
                  <a:path w="9335905" h="10756198">
                    <a:moveTo>
                      <a:pt x="8311159" y="3072494"/>
                    </a:moveTo>
                    <a:lnTo>
                      <a:pt x="8585338" y="3417968"/>
                    </a:lnTo>
                    <a:lnTo>
                      <a:pt x="8919620" y="3672915"/>
                    </a:lnTo>
                    <a:lnTo>
                      <a:pt x="9050663" y="4173002"/>
                    </a:lnTo>
                    <a:lnTo>
                      <a:pt x="9184375" y="4583948"/>
                    </a:lnTo>
                    <a:lnTo>
                      <a:pt x="9335904" y="4952992"/>
                    </a:lnTo>
                    <a:lnTo>
                      <a:pt x="8983806" y="5224886"/>
                    </a:lnTo>
                    <a:lnTo>
                      <a:pt x="8996284" y="5603738"/>
                    </a:lnTo>
                    <a:lnTo>
                      <a:pt x="8530960" y="5603738"/>
                    </a:lnTo>
                    <a:lnTo>
                      <a:pt x="8251057" y="5655447"/>
                    </a:lnTo>
                    <a:lnTo>
                      <a:pt x="8310775" y="6232198"/>
                    </a:lnTo>
                    <a:lnTo>
                      <a:pt x="8546107" y="6595903"/>
                    </a:lnTo>
                    <a:lnTo>
                      <a:pt x="8333061" y="6828565"/>
                    </a:lnTo>
                    <a:lnTo>
                      <a:pt x="8268874" y="7162846"/>
                    </a:lnTo>
                    <a:lnTo>
                      <a:pt x="7924785" y="7361616"/>
                    </a:lnTo>
                    <a:lnTo>
                      <a:pt x="7434506" y="7623702"/>
                    </a:lnTo>
                    <a:lnTo>
                      <a:pt x="7590503" y="7935698"/>
                    </a:lnTo>
                    <a:lnTo>
                      <a:pt x="7484415" y="8370728"/>
                    </a:lnTo>
                    <a:lnTo>
                      <a:pt x="7048515" y="8600720"/>
                    </a:lnTo>
                    <a:lnTo>
                      <a:pt x="7327084" y="9297780"/>
                    </a:lnTo>
                    <a:lnTo>
                      <a:pt x="6751666" y="9548315"/>
                    </a:lnTo>
                    <a:lnTo>
                      <a:pt x="6712955" y="9891720"/>
                    </a:lnTo>
                    <a:lnTo>
                      <a:pt x="6743200" y="10382917"/>
                    </a:lnTo>
                    <a:lnTo>
                      <a:pt x="6315308" y="10756198"/>
                    </a:lnTo>
                    <a:lnTo>
                      <a:pt x="5992168" y="10430391"/>
                    </a:lnTo>
                    <a:lnTo>
                      <a:pt x="5336083" y="10630960"/>
                    </a:lnTo>
                    <a:lnTo>
                      <a:pt x="4796996" y="10719868"/>
                    </a:lnTo>
                    <a:lnTo>
                      <a:pt x="4475192" y="10035927"/>
                    </a:lnTo>
                    <a:lnTo>
                      <a:pt x="4107889" y="9661721"/>
                    </a:lnTo>
                    <a:lnTo>
                      <a:pt x="3848300" y="9248799"/>
                    </a:lnTo>
                    <a:lnTo>
                      <a:pt x="3415069" y="8825376"/>
                    </a:lnTo>
                    <a:lnTo>
                      <a:pt x="2925660" y="8563290"/>
                    </a:lnTo>
                    <a:lnTo>
                      <a:pt x="2460336" y="8518719"/>
                    </a:lnTo>
                    <a:lnTo>
                      <a:pt x="2061868" y="8429577"/>
                    </a:lnTo>
                    <a:lnTo>
                      <a:pt x="1675877" y="8385007"/>
                    </a:lnTo>
                    <a:lnTo>
                      <a:pt x="1290535" y="8491057"/>
                    </a:lnTo>
                    <a:lnTo>
                      <a:pt x="943123" y="8011491"/>
                    </a:lnTo>
                    <a:lnTo>
                      <a:pt x="1057222" y="7835878"/>
                    </a:lnTo>
                    <a:lnTo>
                      <a:pt x="1257791" y="7848355"/>
                    </a:lnTo>
                    <a:lnTo>
                      <a:pt x="1762347" y="7229703"/>
                    </a:lnTo>
                    <a:lnTo>
                      <a:pt x="1663397" y="7029134"/>
                    </a:lnTo>
                    <a:lnTo>
                      <a:pt x="1341593" y="6997041"/>
                    </a:lnTo>
                    <a:lnTo>
                      <a:pt x="952933" y="6818757"/>
                    </a:lnTo>
                    <a:lnTo>
                      <a:pt x="1022459" y="6464860"/>
                    </a:lnTo>
                    <a:lnTo>
                      <a:pt x="688178" y="6110963"/>
                    </a:lnTo>
                    <a:lnTo>
                      <a:pt x="378674" y="6166738"/>
                    </a:lnTo>
                    <a:lnTo>
                      <a:pt x="37432" y="5744589"/>
                    </a:lnTo>
                    <a:lnTo>
                      <a:pt x="683709" y="4979746"/>
                    </a:lnTo>
                    <a:lnTo>
                      <a:pt x="0" y="4660612"/>
                    </a:lnTo>
                    <a:lnTo>
                      <a:pt x="285244" y="4195288"/>
                    </a:lnTo>
                    <a:lnTo>
                      <a:pt x="549999" y="3729964"/>
                    </a:lnTo>
                    <a:lnTo>
                      <a:pt x="222857" y="3410830"/>
                    </a:lnTo>
                    <a:lnTo>
                      <a:pt x="384194" y="3089026"/>
                    </a:lnTo>
                    <a:lnTo>
                      <a:pt x="767514" y="2881319"/>
                    </a:lnTo>
                    <a:lnTo>
                      <a:pt x="517382" y="2455987"/>
                    </a:lnTo>
                    <a:lnTo>
                      <a:pt x="626664" y="2116476"/>
                    </a:lnTo>
                    <a:lnTo>
                      <a:pt x="965414" y="2074575"/>
                    </a:lnTo>
                    <a:lnTo>
                      <a:pt x="1133889" y="1918577"/>
                    </a:lnTo>
                    <a:lnTo>
                      <a:pt x="1099126" y="1529917"/>
                    </a:lnTo>
                    <a:lnTo>
                      <a:pt x="670364" y="1408682"/>
                    </a:lnTo>
                    <a:lnTo>
                      <a:pt x="252280" y="930883"/>
                    </a:lnTo>
                    <a:lnTo>
                      <a:pt x="349431" y="567178"/>
                    </a:lnTo>
                    <a:lnTo>
                      <a:pt x="382158" y="11556"/>
                    </a:lnTo>
                    <a:lnTo>
                      <a:pt x="692186" y="0"/>
                    </a:lnTo>
                    <a:lnTo>
                      <a:pt x="1223031" y="50144"/>
                    </a:lnTo>
                    <a:lnTo>
                      <a:pt x="1777497" y="104523"/>
                    </a:lnTo>
                    <a:lnTo>
                      <a:pt x="1529687" y="518138"/>
                    </a:lnTo>
                    <a:lnTo>
                      <a:pt x="1918347" y="904128"/>
                    </a:lnTo>
                    <a:lnTo>
                      <a:pt x="2453197" y="745461"/>
                    </a:lnTo>
                    <a:lnTo>
                      <a:pt x="2645757" y="946030"/>
                    </a:lnTo>
                    <a:lnTo>
                      <a:pt x="3215370" y="968315"/>
                    </a:lnTo>
                    <a:lnTo>
                      <a:pt x="3403462" y="723175"/>
                    </a:lnTo>
                    <a:lnTo>
                      <a:pt x="3700310" y="713368"/>
                    </a:lnTo>
                    <a:lnTo>
                      <a:pt x="3620977" y="1225932"/>
                    </a:lnTo>
                    <a:lnTo>
                      <a:pt x="3799260" y="1656493"/>
                    </a:lnTo>
                    <a:lnTo>
                      <a:pt x="4130872" y="1475540"/>
                    </a:lnTo>
                    <a:lnTo>
                      <a:pt x="4969709" y="1931057"/>
                    </a:lnTo>
                    <a:lnTo>
                      <a:pt x="5279035" y="1718010"/>
                    </a:lnTo>
                    <a:lnTo>
                      <a:pt x="5677503" y="1797344"/>
                    </a:lnTo>
                    <a:lnTo>
                      <a:pt x="5999307" y="1596775"/>
                    </a:lnTo>
                    <a:lnTo>
                      <a:pt x="6548428" y="2101329"/>
                    </a:lnTo>
                    <a:lnTo>
                      <a:pt x="6442752" y="2373223"/>
                    </a:lnTo>
                    <a:lnTo>
                      <a:pt x="8089777" y="1623242"/>
                    </a:lnTo>
                    <a:lnTo>
                      <a:pt x="8404385" y="1843712"/>
                    </a:lnTo>
                    <a:lnTo>
                      <a:pt x="8311159" y="3072494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>
                  <a:defRPr/>
                </a:pPr>
                <a:endParaRPr lang="zh-CN" altLang="en-US" kern="0">
                  <a:solidFill>
                    <a:sysClr val="windowText" lastClr="000000"/>
                  </a:solidFill>
                  <a:latin typeface="Calibri"/>
                  <a:ea typeface="宋体" panose="02010600030101010101" pitchFamily="2" charset="-122"/>
                </a:endParaRPr>
              </a:p>
            </p:txBody>
          </p:sp>
          <p:sp>
            <p:nvSpPr>
              <p:cNvPr id="48" name="任意多边形 10">
                <a:extLst>
                  <a:ext uri="{FF2B5EF4-FFF2-40B4-BE49-F238E27FC236}">
                    <a16:creationId xmlns:a16="http://schemas.microsoft.com/office/drawing/2014/main" id="{A3FB9FA5-1D0A-4A8B-9CC5-A9EE426EA9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08463" y="4102101"/>
                <a:ext cx="284162" cy="354013"/>
              </a:xfrm>
              <a:custGeom>
                <a:avLst/>
                <a:gdLst>
                  <a:gd name="T0" fmla="*/ 47 w 3325052"/>
                  <a:gd name="T1" fmla="*/ 0 h 4157506"/>
                  <a:gd name="T2" fmla="*/ 49 w 3325052"/>
                  <a:gd name="T3" fmla="*/ 8 h 4157506"/>
                  <a:gd name="T4" fmla="*/ 36 w 3325052"/>
                  <a:gd name="T5" fmla="*/ 12 h 4157506"/>
                  <a:gd name="T6" fmla="*/ 25 w 3325052"/>
                  <a:gd name="T7" fmla="*/ 14 h 4157506"/>
                  <a:gd name="T8" fmla="*/ 23 w 3325052"/>
                  <a:gd name="T9" fmla="*/ 23 h 4157506"/>
                  <a:gd name="T10" fmla="*/ 27 w 3325052"/>
                  <a:gd name="T11" fmla="*/ 30 h 4157506"/>
                  <a:gd name="T12" fmla="*/ 6 w 3325052"/>
                  <a:gd name="T13" fmla="*/ 52 h 4157506"/>
                  <a:gd name="T14" fmla="*/ 1 w 3325052"/>
                  <a:gd name="T15" fmla="*/ 55 h 4157506"/>
                  <a:gd name="T16" fmla="*/ 0 w 3325052"/>
                  <a:gd name="T17" fmla="*/ 68 h 4157506"/>
                  <a:gd name="T18" fmla="*/ 11 w 3325052"/>
                  <a:gd name="T19" fmla="*/ 68 h 4157506"/>
                  <a:gd name="T20" fmla="*/ 26 w 3325052"/>
                  <a:gd name="T21" fmla="*/ 70 h 4157506"/>
                  <a:gd name="T22" fmla="*/ 32 w 3325052"/>
                  <a:gd name="T23" fmla="*/ 80 h 4157506"/>
                  <a:gd name="T24" fmla="*/ 22 w 3325052"/>
                  <a:gd name="T25" fmla="*/ 88 h 4157506"/>
                  <a:gd name="T26" fmla="*/ 34 w 3325052"/>
                  <a:gd name="T27" fmla="*/ 95 h 4157506"/>
                  <a:gd name="T28" fmla="*/ 51 w 3325052"/>
                  <a:gd name="T29" fmla="*/ 87 h 4157506"/>
                  <a:gd name="T30" fmla="*/ 49 w 3325052"/>
                  <a:gd name="T31" fmla="*/ 75 h 4157506"/>
                  <a:gd name="T32" fmla="*/ 54 w 3325052"/>
                  <a:gd name="T33" fmla="*/ 68 h 4157506"/>
                  <a:gd name="T34" fmla="*/ 47 w 3325052"/>
                  <a:gd name="T35" fmla="*/ 62 h 4157506"/>
                  <a:gd name="T36" fmla="*/ 48 w 3325052"/>
                  <a:gd name="T37" fmla="*/ 49 h 4157506"/>
                  <a:gd name="T38" fmla="*/ 77 w 3325052"/>
                  <a:gd name="T39" fmla="*/ 23 h 4157506"/>
                  <a:gd name="T40" fmla="*/ 73 w 3325052"/>
                  <a:gd name="T41" fmla="*/ 5 h 4157506"/>
                  <a:gd name="T42" fmla="*/ 60 w 3325052"/>
                  <a:gd name="T43" fmla="*/ 1 h 4157506"/>
                  <a:gd name="T44" fmla="*/ 47 w 3325052"/>
                  <a:gd name="T45" fmla="*/ 0 h 415750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3325052"/>
                  <a:gd name="T70" fmla="*/ 0 h 4157506"/>
                  <a:gd name="T71" fmla="*/ 3325052 w 3325052"/>
                  <a:gd name="T72" fmla="*/ 4157506 h 415750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3325052" h="4157506">
                    <a:moveTo>
                      <a:pt x="2037523" y="0"/>
                    </a:moveTo>
                    <a:lnTo>
                      <a:pt x="2112007" y="348144"/>
                    </a:lnTo>
                    <a:lnTo>
                      <a:pt x="1561776" y="502808"/>
                    </a:lnTo>
                    <a:lnTo>
                      <a:pt x="1102257" y="590614"/>
                    </a:lnTo>
                    <a:lnTo>
                      <a:pt x="1001739" y="994652"/>
                    </a:lnTo>
                    <a:lnTo>
                      <a:pt x="1167314" y="1309552"/>
                    </a:lnTo>
                    <a:lnTo>
                      <a:pt x="272996" y="2283435"/>
                    </a:lnTo>
                    <a:lnTo>
                      <a:pt x="29307" y="2394106"/>
                    </a:lnTo>
                    <a:lnTo>
                      <a:pt x="0" y="2953565"/>
                    </a:lnTo>
                    <a:lnTo>
                      <a:pt x="473567" y="2962037"/>
                    </a:lnTo>
                    <a:lnTo>
                      <a:pt x="1145031" y="3048509"/>
                    </a:lnTo>
                    <a:lnTo>
                      <a:pt x="1409786" y="3487310"/>
                    </a:lnTo>
                    <a:lnTo>
                      <a:pt x="950264" y="3853687"/>
                    </a:lnTo>
                    <a:lnTo>
                      <a:pt x="1475360" y="4157506"/>
                    </a:lnTo>
                    <a:lnTo>
                      <a:pt x="2199815" y="3786831"/>
                    </a:lnTo>
                    <a:lnTo>
                      <a:pt x="2130289" y="3271363"/>
                    </a:lnTo>
                    <a:lnTo>
                      <a:pt x="2361381" y="2959367"/>
                    </a:lnTo>
                    <a:lnTo>
                      <a:pt x="2046716" y="2709759"/>
                    </a:lnTo>
                    <a:lnTo>
                      <a:pt x="2098091" y="2148174"/>
                    </a:lnTo>
                    <a:lnTo>
                      <a:pt x="3325052" y="986644"/>
                    </a:lnTo>
                    <a:lnTo>
                      <a:pt x="3179566" y="233930"/>
                    </a:lnTo>
                    <a:lnTo>
                      <a:pt x="2629040" y="31911"/>
                    </a:lnTo>
                    <a:lnTo>
                      <a:pt x="2037523" y="0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>
                  <a:defRPr/>
                </a:pPr>
                <a:endParaRPr lang="zh-CN" altLang="en-US" kern="0">
                  <a:solidFill>
                    <a:sysClr val="windowText" lastClr="000000"/>
                  </a:solidFill>
                  <a:latin typeface="Calibri"/>
                  <a:ea typeface="宋体" panose="02010600030101010101" pitchFamily="2" charset="-122"/>
                </a:endParaRPr>
              </a:p>
            </p:txBody>
          </p:sp>
          <p:sp>
            <p:nvSpPr>
              <p:cNvPr id="49" name="任意多边形 11">
                <a:extLst>
                  <a:ext uri="{FF2B5EF4-FFF2-40B4-BE49-F238E27FC236}">
                    <a16:creationId xmlns:a16="http://schemas.microsoft.com/office/drawing/2014/main" id="{B6CF50A9-8B4C-4650-8916-FB128F5D33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52838" y="3394076"/>
                <a:ext cx="766762" cy="588963"/>
              </a:xfrm>
              <a:custGeom>
                <a:avLst/>
                <a:gdLst>
                  <a:gd name="T0" fmla="*/ 399806 w 8957523"/>
                  <a:gd name="T1" fmla="*/ 947594 h 6889616"/>
                  <a:gd name="T2" fmla="*/ 157338 w 8957523"/>
                  <a:gd name="T3" fmla="*/ 1620626 h 6889616"/>
                  <a:gd name="T4" fmla="*/ 167144 w 8957523"/>
                  <a:gd name="T5" fmla="*/ 2388138 h 6889616"/>
                  <a:gd name="T6" fmla="*/ 515702 w 8957523"/>
                  <a:gd name="T7" fmla="*/ 3154779 h 6889616"/>
                  <a:gd name="T8" fmla="*/ 1226166 w 8957523"/>
                  <a:gd name="T9" fmla="*/ 3632581 h 6889616"/>
                  <a:gd name="T10" fmla="*/ 1471305 w 8957523"/>
                  <a:gd name="T11" fmla="*/ 4097905 h 6889616"/>
                  <a:gd name="T12" fmla="*/ 1833211 w 8957523"/>
                  <a:gd name="T13" fmla="*/ 4942081 h 6889616"/>
                  <a:gd name="T14" fmla="*/ 1756547 w 8957523"/>
                  <a:gd name="T15" fmla="*/ 5607974 h 6889616"/>
                  <a:gd name="T16" fmla="*/ 1463296 w 8957523"/>
                  <a:gd name="T17" fmla="*/ 6192734 h 6889616"/>
                  <a:gd name="T18" fmla="*/ 2730664 w 8957523"/>
                  <a:gd name="T19" fmla="*/ 6463758 h 6889616"/>
                  <a:gd name="T20" fmla="*/ 3666015 w 8957523"/>
                  <a:gd name="T21" fmla="*/ 6346757 h 6889616"/>
                  <a:gd name="T22" fmla="*/ 4101913 w 8957523"/>
                  <a:gd name="T23" fmla="*/ 5911961 h 6889616"/>
                  <a:gd name="T24" fmla="*/ 4748422 w 8957523"/>
                  <a:gd name="T25" fmla="*/ 5735009 h 6889616"/>
                  <a:gd name="T26" fmla="*/ 6307531 w 8957523"/>
                  <a:gd name="T27" fmla="*/ 5463349 h 6889616"/>
                  <a:gd name="T28" fmla="*/ 7117178 w 8957523"/>
                  <a:gd name="T29" fmla="*/ 4425280 h 6889616"/>
                  <a:gd name="T30" fmla="*/ 7954101 w 8957523"/>
                  <a:gd name="T31" fmla="*/ 3846792 h 6889616"/>
                  <a:gd name="T32" fmla="*/ 7756780 w 8957523"/>
                  <a:gd name="T33" fmla="*/ 3375834 h 6889616"/>
                  <a:gd name="T34" fmla="*/ 8313916 w 8957523"/>
                  <a:gd name="T35" fmla="*/ 3021937 h 6889616"/>
                  <a:gd name="T36" fmla="*/ 8815746 w 8957523"/>
                  <a:gd name="T37" fmla="*/ 1478904 h 6889616"/>
                  <a:gd name="T38" fmla="*/ 7912778 w 8957523"/>
                  <a:gd name="T39" fmla="*/ 1266726 h 6889616"/>
                  <a:gd name="T40" fmla="*/ 7558881 w 8957523"/>
                  <a:gd name="T41" fmla="*/ 801402 h 6889616"/>
                  <a:gd name="T42" fmla="*/ 7167551 w 8957523"/>
                  <a:gd name="T43" fmla="*/ 1321105 h 6889616"/>
                  <a:gd name="T44" fmla="*/ 6883180 w 8957523"/>
                  <a:gd name="T45" fmla="*/ 1712435 h 6889616"/>
                  <a:gd name="T46" fmla="*/ 6016718 w 8957523"/>
                  <a:gd name="T47" fmla="*/ 1365676 h 6889616"/>
                  <a:gd name="T48" fmla="*/ 5240269 w 8957523"/>
                  <a:gd name="T49" fmla="*/ 903021 h 6889616"/>
                  <a:gd name="T50" fmla="*/ 4663518 w 8957523"/>
                  <a:gd name="T51" fmla="*/ 362888 h 6889616"/>
                  <a:gd name="T52" fmla="*/ 4032388 w 8957523"/>
                  <a:gd name="T53" fmla="*/ 184605 h 6889616"/>
                  <a:gd name="T54" fmla="*/ 3557255 w 8957523"/>
                  <a:gd name="T55" fmla="*/ 184605 h 6889616"/>
                  <a:gd name="T56" fmla="*/ 2588304 w 8957523"/>
                  <a:gd name="T57" fmla="*/ 115435 h 6889616"/>
                  <a:gd name="T58" fmla="*/ 1941098 w 8957523"/>
                  <a:gd name="T59" fmla="*/ 91811 h 6889616"/>
                  <a:gd name="T60" fmla="*/ 1723583 w 8957523"/>
                  <a:gd name="T61" fmla="*/ 643607 h 6889616"/>
                  <a:gd name="T62" fmla="*/ 614652 w 8957523"/>
                  <a:gd name="T63" fmla="*/ 408276 h 6889616"/>
                  <a:gd name="T64" fmla="*/ 0 w 8957523"/>
                  <a:gd name="T65" fmla="*/ 0 h 6889616"/>
                  <a:gd name="T66" fmla="*/ 8957523 w 8957523"/>
                  <a:gd name="T67" fmla="*/ 6889616 h 68896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T64" t="T65" r="T66" b="T67"/>
                <a:pathLst>
                  <a:path w="8957523" h="6889616">
                    <a:moveTo>
                      <a:pt x="373955" y="604004"/>
                    </a:moveTo>
                    <a:lnTo>
                      <a:pt x="399806" y="947594"/>
                    </a:lnTo>
                    <a:lnTo>
                      <a:pt x="43239" y="1333585"/>
                    </a:lnTo>
                    <a:lnTo>
                      <a:pt x="157338" y="1620626"/>
                    </a:lnTo>
                    <a:lnTo>
                      <a:pt x="0" y="1923511"/>
                    </a:lnTo>
                    <a:lnTo>
                      <a:pt x="167144" y="2388138"/>
                    </a:lnTo>
                    <a:lnTo>
                      <a:pt x="72312" y="2923778"/>
                    </a:lnTo>
                    <a:lnTo>
                      <a:pt x="515702" y="3154779"/>
                    </a:lnTo>
                    <a:lnTo>
                      <a:pt x="1137024" y="3186873"/>
                    </a:lnTo>
                    <a:lnTo>
                      <a:pt x="1226166" y="3632581"/>
                    </a:lnTo>
                    <a:lnTo>
                      <a:pt x="968548" y="3820672"/>
                    </a:lnTo>
                    <a:lnTo>
                      <a:pt x="1471305" y="4097905"/>
                    </a:lnTo>
                    <a:lnTo>
                      <a:pt x="1867974" y="4263711"/>
                    </a:lnTo>
                    <a:lnTo>
                      <a:pt x="1833211" y="4942081"/>
                    </a:lnTo>
                    <a:lnTo>
                      <a:pt x="2001686" y="5187221"/>
                    </a:lnTo>
                    <a:lnTo>
                      <a:pt x="1756547" y="5607974"/>
                    </a:lnTo>
                    <a:lnTo>
                      <a:pt x="1333124" y="5952063"/>
                    </a:lnTo>
                    <a:lnTo>
                      <a:pt x="1463296" y="6192734"/>
                    </a:lnTo>
                    <a:lnTo>
                      <a:pt x="1784869" y="6420518"/>
                    </a:lnTo>
                    <a:lnTo>
                      <a:pt x="2730664" y="6463758"/>
                    </a:lnTo>
                    <a:lnTo>
                      <a:pt x="3017937" y="6889616"/>
                    </a:lnTo>
                    <a:lnTo>
                      <a:pt x="3666015" y="6346757"/>
                    </a:lnTo>
                    <a:lnTo>
                      <a:pt x="4125645" y="6147237"/>
                    </a:lnTo>
                    <a:lnTo>
                      <a:pt x="4101913" y="5911961"/>
                    </a:lnTo>
                    <a:lnTo>
                      <a:pt x="4305386" y="5641864"/>
                    </a:lnTo>
                    <a:lnTo>
                      <a:pt x="4748422" y="5735009"/>
                    </a:lnTo>
                    <a:lnTo>
                      <a:pt x="5837738" y="5839300"/>
                    </a:lnTo>
                    <a:lnTo>
                      <a:pt x="6307531" y="5463349"/>
                    </a:lnTo>
                    <a:lnTo>
                      <a:pt x="6885794" y="4850785"/>
                    </a:lnTo>
                    <a:lnTo>
                      <a:pt x="7117178" y="4425280"/>
                    </a:lnTo>
                    <a:lnTo>
                      <a:pt x="7395747" y="4058903"/>
                    </a:lnTo>
                    <a:lnTo>
                      <a:pt x="7954101" y="3846792"/>
                    </a:lnTo>
                    <a:lnTo>
                      <a:pt x="7673207" y="3719343"/>
                    </a:lnTo>
                    <a:lnTo>
                      <a:pt x="7756780" y="3375834"/>
                    </a:lnTo>
                    <a:lnTo>
                      <a:pt x="7925256" y="2930126"/>
                    </a:lnTo>
                    <a:lnTo>
                      <a:pt x="8313916" y="3021937"/>
                    </a:lnTo>
                    <a:lnTo>
                      <a:pt x="8957523" y="1920144"/>
                    </a:lnTo>
                    <a:lnTo>
                      <a:pt x="8815746" y="1478904"/>
                    </a:lnTo>
                    <a:lnTo>
                      <a:pt x="8412865" y="1266726"/>
                    </a:lnTo>
                    <a:lnTo>
                      <a:pt x="7912778" y="1266726"/>
                    </a:lnTo>
                    <a:lnTo>
                      <a:pt x="7880685" y="989493"/>
                    </a:lnTo>
                    <a:lnTo>
                      <a:pt x="7558881" y="801402"/>
                    </a:lnTo>
                    <a:lnTo>
                      <a:pt x="7081079" y="754162"/>
                    </a:lnTo>
                    <a:lnTo>
                      <a:pt x="7167551" y="1321105"/>
                    </a:lnTo>
                    <a:lnTo>
                      <a:pt x="7425168" y="1633101"/>
                    </a:lnTo>
                    <a:lnTo>
                      <a:pt x="6883180" y="1712435"/>
                    </a:lnTo>
                    <a:lnTo>
                      <a:pt x="6427664" y="1422724"/>
                    </a:lnTo>
                    <a:lnTo>
                      <a:pt x="6016718" y="1365676"/>
                    </a:lnTo>
                    <a:lnTo>
                      <a:pt x="5581688" y="1581392"/>
                    </a:lnTo>
                    <a:lnTo>
                      <a:pt x="5240269" y="903021"/>
                    </a:lnTo>
                    <a:lnTo>
                      <a:pt x="4752659" y="786311"/>
                    </a:lnTo>
                    <a:lnTo>
                      <a:pt x="4663518" y="362888"/>
                    </a:lnTo>
                    <a:lnTo>
                      <a:pt x="4485234" y="184605"/>
                    </a:lnTo>
                    <a:lnTo>
                      <a:pt x="4032388" y="184605"/>
                    </a:lnTo>
                    <a:lnTo>
                      <a:pt x="3980678" y="6322"/>
                    </a:lnTo>
                    <a:lnTo>
                      <a:pt x="3557255" y="184605"/>
                    </a:lnTo>
                    <a:lnTo>
                      <a:pt x="3239864" y="274591"/>
                    </a:lnTo>
                    <a:lnTo>
                      <a:pt x="2588304" y="115435"/>
                    </a:lnTo>
                    <a:lnTo>
                      <a:pt x="2265572" y="200569"/>
                    </a:lnTo>
                    <a:lnTo>
                      <a:pt x="1941098" y="91811"/>
                    </a:lnTo>
                    <a:lnTo>
                      <a:pt x="1686151" y="0"/>
                    </a:lnTo>
                    <a:lnTo>
                      <a:pt x="1723583" y="643607"/>
                    </a:lnTo>
                    <a:lnTo>
                      <a:pt x="1129886" y="719457"/>
                    </a:lnTo>
                    <a:lnTo>
                      <a:pt x="614652" y="408276"/>
                    </a:lnTo>
                    <a:lnTo>
                      <a:pt x="373955" y="604004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>
                  <a:defRPr/>
                </a:pPr>
                <a:endParaRPr lang="zh-CN" altLang="en-US" kern="0">
                  <a:solidFill>
                    <a:sysClr val="windowText" lastClr="000000"/>
                  </a:solidFill>
                  <a:latin typeface="Calibri"/>
                  <a:ea typeface="宋体" panose="02010600030101010101" pitchFamily="2" charset="-122"/>
                </a:endParaRPr>
              </a:p>
            </p:txBody>
          </p:sp>
          <p:sp>
            <p:nvSpPr>
              <p:cNvPr id="50" name="任意多边形 12">
                <a:extLst>
                  <a:ext uri="{FF2B5EF4-FFF2-40B4-BE49-F238E27FC236}">
                    <a16:creationId xmlns:a16="http://schemas.microsoft.com/office/drawing/2014/main" id="{E5D8B759-FD23-453F-AB9B-035E912F2E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57625" y="2755901"/>
                <a:ext cx="1254125" cy="784225"/>
              </a:xfrm>
              <a:custGeom>
                <a:avLst/>
                <a:gdLst>
                  <a:gd name="T0" fmla="*/ 1358542 w 14665782"/>
                  <a:gd name="T1" fmla="*/ 3180897 h 9174631"/>
                  <a:gd name="T2" fmla="*/ 1403113 w 14665782"/>
                  <a:gd name="T3" fmla="*/ 3643552 h 9174631"/>
                  <a:gd name="T4" fmla="*/ 1757010 w 14665782"/>
                  <a:gd name="T5" fmla="*/ 4185540 h 9174631"/>
                  <a:gd name="T6" fmla="*/ 2110907 w 14665782"/>
                  <a:gd name="T7" fmla="*/ 5007431 h 9174631"/>
                  <a:gd name="T8" fmla="*/ 2594048 w 14665782"/>
                  <a:gd name="T9" fmla="*/ 6069992 h 9174631"/>
                  <a:gd name="T10" fmla="*/ 1848939 w 14665782"/>
                  <a:gd name="T11" fmla="*/ 6575826 h 9174631"/>
                  <a:gd name="T12" fmla="*/ 886080 w 14665782"/>
                  <a:gd name="T13" fmla="*/ 6349895 h 9174631"/>
                  <a:gd name="T14" fmla="*/ 519705 w 14665782"/>
                  <a:gd name="T15" fmla="*/ 6780456 h 9174631"/>
                  <a:gd name="T16" fmla="*/ 0 w 14665782"/>
                  <a:gd name="T17" fmla="*/ 7301958 h 9174631"/>
                  <a:gd name="T18" fmla="*/ 870701 w 14665782"/>
                  <a:gd name="T19" fmla="*/ 7736757 h 9174631"/>
                  <a:gd name="T20" fmla="*/ 1595210 w 14665782"/>
                  <a:gd name="T21" fmla="*/ 7479661 h 9174631"/>
                  <a:gd name="T22" fmla="*/ 2093961 w 14665782"/>
                  <a:gd name="T23" fmla="*/ 7651852 h 9174631"/>
                  <a:gd name="T24" fmla="*/ 2376999 w 14665782"/>
                  <a:gd name="T25" fmla="*/ 8257796 h 9174631"/>
                  <a:gd name="T26" fmla="*/ 3206491 w 14665782"/>
                  <a:gd name="T27" fmla="*/ 9042254 h 9174631"/>
                  <a:gd name="T28" fmla="*/ 4048871 w 14665782"/>
                  <a:gd name="T29" fmla="*/ 8890494 h 9174631"/>
                  <a:gd name="T30" fmla="*/ 5040802 w 14665782"/>
                  <a:gd name="T31" fmla="*/ 9103538 h 9174631"/>
                  <a:gd name="T32" fmla="*/ 4695609 w 14665782"/>
                  <a:gd name="T33" fmla="*/ 8226166 h 9174631"/>
                  <a:gd name="T34" fmla="*/ 5499225 w 14665782"/>
                  <a:gd name="T35" fmla="*/ 8463295 h 9174631"/>
                  <a:gd name="T36" fmla="*/ 6023160 w 14665782"/>
                  <a:gd name="T37" fmla="*/ 8728923 h 9174631"/>
                  <a:gd name="T38" fmla="*/ 6676805 w 14665782"/>
                  <a:gd name="T39" fmla="*/ 8845918 h 9174631"/>
                  <a:gd name="T40" fmla="*/ 6775754 w 14665782"/>
                  <a:gd name="T41" fmla="*/ 8157739 h 9174631"/>
                  <a:gd name="T42" fmla="*/ 7349836 w 14665782"/>
                  <a:gd name="T43" fmla="*/ 8120363 h 9174631"/>
                  <a:gd name="T44" fmla="*/ 8181535 w 14665782"/>
                  <a:gd name="T45" fmla="*/ 8147931 h 9174631"/>
                  <a:gd name="T46" fmla="*/ 9235218 w 14665782"/>
                  <a:gd name="T47" fmla="*/ 7335849 h 9174631"/>
                  <a:gd name="T48" fmla="*/ 9341306 w 14665782"/>
                  <a:gd name="T49" fmla="*/ 7964365 h 9174631"/>
                  <a:gd name="T50" fmla="*/ 9762059 w 14665782"/>
                  <a:gd name="T51" fmla="*/ 7724509 h 9174631"/>
                  <a:gd name="T52" fmla="*/ 12636484 w 14665782"/>
                  <a:gd name="T53" fmla="*/ 8768343 h 9174631"/>
                  <a:gd name="T54" fmla="*/ 13732461 w 14665782"/>
                  <a:gd name="T55" fmla="*/ 8492021 h 9174631"/>
                  <a:gd name="T56" fmla="*/ 13974934 w 14665782"/>
                  <a:gd name="T57" fmla="*/ 7719228 h 9174631"/>
                  <a:gd name="T58" fmla="*/ 14195119 w 14665782"/>
                  <a:gd name="T59" fmla="*/ 6965007 h 9174631"/>
                  <a:gd name="T60" fmla="*/ 14573971 w 14665782"/>
                  <a:gd name="T61" fmla="*/ 6034359 h 9174631"/>
                  <a:gd name="T62" fmla="*/ 14217404 w 14665782"/>
                  <a:gd name="T63" fmla="*/ 5702747 h 9174631"/>
                  <a:gd name="T64" fmla="*/ 14539208 w 14665782"/>
                  <a:gd name="T65" fmla="*/ 5022578 h 9174631"/>
                  <a:gd name="T66" fmla="*/ 14083691 w 14665782"/>
                  <a:gd name="T67" fmla="*/ 4153447 h 9174631"/>
                  <a:gd name="T68" fmla="*/ 14529400 w 14665782"/>
                  <a:gd name="T69" fmla="*/ 3161281 h 9174631"/>
                  <a:gd name="T70" fmla="*/ 14029312 w 14665782"/>
                  <a:gd name="T71" fmla="*/ 2527482 h 9174631"/>
                  <a:gd name="T72" fmla="*/ 13863507 w 14665782"/>
                  <a:gd name="T73" fmla="*/ 2195870 h 9174631"/>
                  <a:gd name="T74" fmla="*/ 13269809 w 14665782"/>
                  <a:gd name="T75" fmla="*/ 1656551 h 9174631"/>
                  <a:gd name="T76" fmla="*/ 12782199 w 14665782"/>
                  <a:gd name="T77" fmla="*/ 926472 h 9174631"/>
                  <a:gd name="T78" fmla="*/ 12252689 w 14665782"/>
                  <a:gd name="T79" fmla="*/ 1037899 h 9174631"/>
                  <a:gd name="T80" fmla="*/ 11207943 w 14665782"/>
                  <a:gd name="T81" fmla="*/ 537812 h 9174631"/>
                  <a:gd name="T82" fmla="*/ 10356629 w 14665782"/>
                  <a:gd name="T83" fmla="*/ 568106 h 9174631"/>
                  <a:gd name="T84" fmla="*/ 10047303 w 14665782"/>
                  <a:gd name="T85" fmla="*/ 179446 h 9174631"/>
                  <a:gd name="T86" fmla="*/ 9260175 w 14665782"/>
                  <a:gd name="T87" fmla="*/ 278395 h 9174631"/>
                  <a:gd name="T88" fmla="*/ 7429172 w 14665782"/>
                  <a:gd name="T89" fmla="*/ 568106 h 9174631"/>
                  <a:gd name="T90" fmla="*/ 6231099 w 14665782"/>
                  <a:gd name="T91" fmla="*/ 619815 h 9174631"/>
                  <a:gd name="T92" fmla="*/ 6171381 w 14665782"/>
                  <a:gd name="T93" fmla="*/ 1235798 h 9174631"/>
                  <a:gd name="T94" fmla="*/ 6456622 w 14665782"/>
                  <a:gd name="T95" fmla="*/ 2359877 h 9174631"/>
                  <a:gd name="T96" fmla="*/ 5305789 w 14665782"/>
                  <a:gd name="T97" fmla="*/ 2669203 h 9174631"/>
                  <a:gd name="T98" fmla="*/ 4862751 w 14665782"/>
                  <a:gd name="T99" fmla="*/ 2909003 h 9174631"/>
                  <a:gd name="T100" fmla="*/ 4422381 w 14665782"/>
                  <a:gd name="T101" fmla="*/ 3762987 h 9174631"/>
                  <a:gd name="T102" fmla="*/ 3791251 w 14665782"/>
                  <a:gd name="T103" fmla="*/ 3909177 h 9174631"/>
                  <a:gd name="T104" fmla="*/ 3048694 w 14665782"/>
                  <a:gd name="T105" fmla="*/ 3191575 h 9174631"/>
                  <a:gd name="T106" fmla="*/ 2298999 w 14665782"/>
                  <a:gd name="T107" fmla="*/ 2835009 h 9174631"/>
                  <a:gd name="T108" fmla="*/ 1999480 w 14665782"/>
                  <a:gd name="T109" fmla="*/ 2391970 h 9174631"/>
                  <a:gd name="T110" fmla="*/ 0 w 14665782"/>
                  <a:gd name="T111" fmla="*/ 0 h 9174631"/>
                  <a:gd name="T112" fmla="*/ 14665782 w 14665782"/>
                  <a:gd name="T113" fmla="*/ 9174631 h 91746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T110" t="T111" r="T112" b="T113"/>
                <a:pathLst>
                  <a:path w="14665782" h="9174631">
                    <a:moveTo>
                      <a:pt x="1293925" y="2569795"/>
                    </a:moveTo>
                    <a:lnTo>
                      <a:pt x="1358542" y="3180897"/>
                    </a:lnTo>
                    <a:lnTo>
                      <a:pt x="982360" y="3272708"/>
                    </a:lnTo>
                    <a:lnTo>
                      <a:pt x="1403113" y="3643552"/>
                    </a:lnTo>
                    <a:lnTo>
                      <a:pt x="1479777" y="4032212"/>
                    </a:lnTo>
                    <a:lnTo>
                      <a:pt x="1757010" y="4185540"/>
                    </a:lnTo>
                    <a:lnTo>
                      <a:pt x="2158148" y="4395917"/>
                    </a:lnTo>
                    <a:lnTo>
                      <a:pt x="2110907" y="5007431"/>
                    </a:lnTo>
                    <a:lnTo>
                      <a:pt x="2489760" y="5450470"/>
                    </a:lnTo>
                    <a:lnTo>
                      <a:pt x="2594048" y="6069992"/>
                    </a:lnTo>
                    <a:lnTo>
                      <a:pt x="2262437" y="6324940"/>
                    </a:lnTo>
                    <a:lnTo>
                      <a:pt x="1848939" y="6575826"/>
                    </a:lnTo>
                    <a:lnTo>
                      <a:pt x="1297025" y="6216182"/>
                    </a:lnTo>
                    <a:lnTo>
                      <a:pt x="886080" y="6349895"/>
                    </a:lnTo>
                    <a:lnTo>
                      <a:pt x="408278" y="6391796"/>
                    </a:lnTo>
                    <a:lnTo>
                      <a:pt x="519705" y="6780456"/>
                    </a:lnTo>
                    <a:lnTo>
                      <a:pt x="353899" y="7047881"/>
                    </a:lnTo>
                    <a:lnTo>
                      <a:pt x="0" y="7301958"/>
                    </a:lnTo>
                    <a:lnTo>
                      <a:pt x="203297" y="7574722"/>
                    </a:lnTo>
                    <a:lnTo>
                      <a:pt x="870701" y="7736757"/>
                    </a:lnTo>
                    <a:lnTo>
                      <a:pt x="1180028" y="7653186"/>
                    </a:lnTo>
                    <a:lnTo>
                      <a:pt x="1595210" y="7479661"/>
                    </a:lnTo>
                    <a:lnTo>
                      <a:pt x="1646919" y="7653186"/>
                    </a:lnTo>
                    <a:lnTo>
                      <a:pt x="2093961" y="7651852"/>
                    </a:lnTo>
                    <a:lnTo>
                      <a:pt x="2280719" y="7825084"/>
                    </a:lnTo>
                    <a:lnTo>
                      <a:pt x="2376999" y="8257796"/>
                    </a:lnTo>
                    <a:lnTo>
                      <a:pt x="2857470" y="8370788"/>
                    </a:lnTo>
                    <a:lnTo>
                      <a:pt x="3206491" y="9042254"/>
                    </a:lnTo>
                    <a:lnTo>
                      <a:pt x="3629449" y="8839016"/>
                    </a:lnTo>
                    <a:lnTo>
                      <a:pt x="4048871" y="8890494"/>
                    </a:lnTo>
                    <a:lnTo>
                      <a:pt x="4487904" y="9174631"/>
                    </a:lnTo>
                    <a:lnTo>
                      <a:pt x="5040802" y="9103538"/>
                    </a:lnTo>
                    <a:lnTo>
                      <a:pt x="4783185" y="8791542"/>
                    </a:lnTo>
                    <a:lnTo>
                      <a:pt x="4695609" y="8226166"/>
                    </a:lnTo>
                    <a:lnTo>
                      <a:pt x="5198368" y="8276076"/>
                    </a:lnTo>
                    <a:lnTo>
                      <a:pt x="5499225" y="8463295"/>
                    </a:lnTo>
                    <a:lnTo>
                      <a:pt x="5534217" y="8731592"/>
                    </a:lnTo>
                    <a:lnTo>
                      <a:pt x="6023160" y="8728923"/>
                    </a:lnTo>
                    <a:lnTo>
                      <a:pt x="6436319" y="8948532"/>
                    </a:lnTo>
                    <a:lnTo>
                      <a:pt x="6676805" y="8845918"/>
                    </a:lnTo>
                    <a:lnTo>
                      <a:pt x="6867566" y="8467066"/>
                    </a:lnTo>
                    <a:lnTo>
                      <a:pt x="6775754" y="8157739"/>
                    </a:lnTo>
                    <a:lnTo>
                      <a:pt x="7323082" y="7781557"/>
                    </a:lnTo>
                    <a:lnTo>
                      <a:pt x="7349836" y="8120363"/>
                    </a:lnTo>
                    <a:lnTo>
                      <a:pt x="7684117" y="8387788"/>
                    </a:lnTo>
                    <a:lnTo>
                      <a:pt x="8181535" y="8147931"/>
                    </a:lnTo>
                    <a:lnTo>
                      <a:pt x="8613895" y="8036504"/>
                    </a:lnTo>
                    <a:lnTo>
                      <a:pt x="9235218" y="7335849"/>
                    </a:lnTo>
                    <a:lnTo>
                      <a:pt x="9378738" y="7540942"/>
                    </a:lnTo>
                    <a:lnTo>
                      <a:pt x="9341306" y="7964365"/>
                    </a:lnTo>
                    <a:lnTo>
                      <a:pt x="9789683" y="8249551"/>
                    </a:lnTo>
                    <a:lnTo>
                      <a:pt x="9762059" y="7724509"/>
                    </a:lnTo>
                    <a:lnTo>
                      <a:pt x="10366435" y="7474086"/>
                    </a:lnTo>
                    <a:lnTo>
                      <a:pt x="12636484" y="8768343"/>
                    </a:lnTo>
                    <a:lnTo>
                      <a:pt x="13143233" y="8714875"/>
                    </a:lnTo>
                    <a:lnTo>
                      <a:pt x="13732461" y="8492021"/>
                    </a:lnTo>
                    <a:lnTo>
                      <a:pt x="14203995" y="8432359"/>
                    </a:lnTo>
                    <a:lnTo>
                      <a:pt x="13974934" y="7719228"/>
                    </a:lnTo>
                    <a:lnTo>
                      <a:pt x="14242359" y="7455287"/>
                    </a:lnTo>
                    <a:lnTo>
                      <a:pt x="14195119" y="6965007"/>
                    </a:lnTo>
                    <a:lnTo>
                      <a:pt x="14608734" y="6668159"/>
                    </a:lnTo>
                    <a:lnTo>
                      <a:pt x="14573971" y="6034359"/>
                    </a:lnTo>
                    <a:lnTo>
                      <a:pt x="14128262" y="6014743"/>
                    </a:lnTo>
                    <a:lnTo>
                      <a:pt x="14217404" y="5702747"/>
                    </a:lnTo>
                    <a:lnTo>
                      <a:pt x="14618542" y="5601999"/>
                    </a:lnTo>
                    <a:lnTo>
                      <a:pt x="14539208" y="5022578"/>
                    </a:lnTo>
                    <a:lnTo>
                      <a:pt x="14665782" y="4477050"/>
                    </a:lnTo>
                    <a:lnTo>
                      <a:pt x="14083691" y="4153447"/>
                    </a:lnTo>
                    <a:lnTo>
                      <a:pt x="14601595" y="3870875"/>
                    </a:lnTo>
                    <a:lnTo>
                      <a:pt x="14529400" y="3161281"/>
                    </a:lnTo>
                    <a:lnTo>
                      <a:pt x="14039120" y="2827000"/>
                    </a:lnTo>
                    <a:lnTo>
                      <a:pt x="14029312" y="2527482"/>
                    </a:lnTo>
                    <a:lnTo>
                      <a:pt x="13672746" y="2473103"/>
                    </a:lnTo>
                    <a:lnTo>
                      <a:pt x="13863507" y="2195870"/>
                    </a:lnTo>
                    <a:lnTo>
                      <a:pt x="13343804" y="1889213"/>
                    </a:lnTo>
                    <a:lnTo>
                      <a:pt x="13269809" y="1656551"/>
                    </a:lnTo>
                    <a:lnTo>
                      <a:pt x="12858864" y="1592365"/>
                    </a:lnTo>
                    <a:lnTo>
                      <a:pt x="12782199" y="926472"/>
                    </a:lnTo>
                    <a:lnTo>
                      <a:pt x="12443218" y="865535"/>
                    </a:lnTo>
                    <a:lnTo>
                      <a:pt x="12252689" y="1037899"/>
                    </a:lnTo>
                    <a:lnTo>
                      <a:pt x="11790034" y="817714"/>
                    </a:lnTo>
                    <a:lnTo>
                      <a:pt x="11207943" y="537812"/>
                    </a:lnTo>
                    <a:lnTo>
                      <a:pt x="11305621" y="0"/>
                    </a:lnTo>
                    <a:lnTo>
                      <a:pt x="10356629" y="568106"/>
                    </a:lnTo>
                    <a:lnTo>
                      <a:pt x="10101681" y="536012"/>
                    </a:lnTo>
                    <a:lnTo>
                      <a:pt x="10047303" y="179446"/>
                    </a:lnTo>
                    <a:lnTo>
                      <a:pt x="9804833" y="68019"/>
                    </a:lnTo>
                    <a:lnTo>
                      <a:pt x="9260175" y="278395"/>
                    </a:lnTo>
                    <a:lnTo>
                      <a:pt x="8765427" y="523535"/>
                    </a:lnTo>
                    <a:lnTo>
                      <a:pt x="7429172" y="568106"/>
                    </a:lnTo>
                    <a:lnTo>
                      <a:pt x="6988803" y="310489"/>
                    </a:lnTo>
                    <a:lnTo>
                      <a:pt x="6231099" y="619815"/>
                    </a:lnTo>
                    <a:lnTo>
                      <a:pt x="6513671" y="951427"/>
                    </a:lnTo>
                    <a:lnTo>
                      <a:pt x="6171381" y="1235798"/>
                    </a:lnTo>
                    <a:lnTo>
                      <a:pt x="6864898" y="2114737"/>
                    </a:lnTo>
                    <a:lnTo>
                      <a:pt x="6456622" y="2359877"/>
                    </a:lnTo>
                    <a:lnTo>
                      <a:pt x="6035869" y="2258257"/>
                    </a:lnTo>
                    <a:lnTo>
                      <a:pt x="5305789" y="2669203"/>
                    </a:lnTo>
                    <a:lnTo>
                      <a:pt x="5152461" y="2577392"/>
                    </a:lnTo>
                    <a:lnTo>
                      <a:pt x="4862751" y="2909003"/>
                    </a:lnTo>
                    <a:lnTo>
                      <a:pt x="5041034" y="3151473"/>
                    </a:lnTo>
                    <a:lnTo>
                      <a:pt x="4422381" y="3762987"/>
                    </a:lnTo>
                    <a:lnTo>
                      <a:pt x="4097908" y="3718417"/>
                    </a:lnTo>
                    <a:lnTo>
                      <a:pt x="3791251" y="3909177"/>
                    </a:lnTo>
                    <a:lnTo>
                      <a:pt x="3714587" y="3567758"/>
                    </a:lnTo>
                    <a:lnTo>
                      <a:pt x="3048694" y="3191575"/>
                    </a:lnTo>
                    <a:cubicBezTo>
                      <a:pt x="3047804" y="3054593"/>
                      <a:pt x="3046915" y="2917612"/>
                      <a:pt x="3046025" y="2780630"/>
                    </a:cubicBezTo>
                    <a:lnTo>
                      <a:pt x="2298999" y="2835009"/>
                    </a:lnTo>
                    <a:lnTo>
                      <a:pt x="2165286" y="2614824"/>
                    </a:lnTo>
                    <a:lnTo>
                      <a:pt x="1999480" y="2391970"/>
                    </a:lnTo>
                    <a:lnTo>
                      <a:pt x="1293925" y="2569795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>
                  <a:defRPr/>
                </a:pPr>
                <a:endParaRPr lang="zh-CN" altLang="en-US" kern="0">
                  <a:solidFill>
                    <a:sysClr val="windowText" lastClr="000000"/>
                  </a:solidFill>
                  <a:latin typeface="Calibri"/>
                  <a:ea typeface="宋体" panose="02010600030101010101" pitchFamily="2" charset="-122"/>
                </a:endParaRPr>
              </a:p>
            </p:txBody>
          </p:sp>
          <p:sp>
            <p:nvSpPr>
              <p:cNvPr id="51" name="任意多边形 13">
                <a:extLst>
                  <a:ext uri="{FF2B5EF4-FFF2-40B4-BE49-F238E27FC236}">
                    <a16:creationId xmlns:a16="http://schemas.microsoft.com/office/drawing/2014/main" id="{C7ABA89C-B674-454B-BA3A-7B349DDAD6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9113" y="3373438"/>
                <a:ext cx="765175" cy="614363"/>
              </a:xfrm>
              <a:custGeom>
                <a:avLst/>
                <a:gdLst>
                  <a:gd name="T0" fmla="*/ 169 w 8959720"/>
                  <a:gd name="T1" fmla="*/ 19 h 7189951"/>
                  <a:gd name="T2" fmla="*/ 169 w 8959720"/>
                  <a:gd name="T3" fmla="*/ 27 h 7189951"/>
                  <a:gd name="T4" fmla="*/ 161 w 8959720"/>
                  <a:gd name="T5" fmla="*/ 36 h 7189951"/>
                  <a:gd name="T6" fmla="*/ 164 w 8959720"/>
                  <a:gd name="T7" fmla="*/ 43 h 7189951"/>
                  <a:gd name="T8" fmla="*/ 160 w 8959720"/>
                  <a:gd name="T9" fmla="*/ 50 h 7189951"/>
                  <a:gd name="T10" fmla="*/ 164 w 8959720"/>
                  <a:gd name="T11" fmla="*/ 60 h 7189951"/>
                  <a:gd name="T12" fmla="*/ 162 w 8959720"/>
                  <a:gd name="T13" fmla="*/ 73 h 7189951"/>
                  <a:gd name="T14" fmla="*/ 172 w 8959720"/>
                  <a:gd name="T15" fmla="*/ 78 h 7189951"/>
                  <a:gd name="T16" fmla="*/ 186 w 8959720"/>
                  <a:gd name="T17" fmla="*/ 79 h 7189951"/>
                  <a:gd name="T18" fmla="*/ 188 w 8959720"/>
                  <a:gd name="T19" fmla="*/ 89 h 7189951"/>
                  <a:gd name="T20" fmla="*/ 182 w 8959720"/>
                  <a:gd name="T21" fmla="*/ 93 h 7189951"/>
                  <a:gd name="T22" fmla="*/ 194 w 8959720"/>
                  <a:gd name="T23" fmla="*/ 100 h 7189951"/>
                  <a:gd name="T24" fmla="*/ 203 w 8959720"/>
                  <a:gd name="T25" fmla="*/ 104 h 7189951"/>
                  <a:gd name="T26" fmla="*/ 202 w 8959720"/>
                  <a:gd name="T27" fmla="*/ 119 h 7189951"/>
                  <a:gd name="T28" fmla="*/ 206 w 8959720"/>
                  <a:gd name="T29" fmla="*/ 125 h 7189951"/>
                  <a:gd name="T30" fmla="*/ 200 w 8959720"/>
                  <a:gd name="T31" fmla="*/ 135 h 7189951"/>
                  <a:gd name="T32" fmla="*/ 191 w 8959720"/>
                  <a:gd name="T33" fmla="*/ 142 h 7189951"/>
                  <a:gd name="T34" fmla="*/ 194 w 8959720"/>
                  <a:gd name="T35" fmla="*/ 148 h 7189951"/>
                  <a:gd name="T36" fmla="*/ 156 w 8959720"/>
                  <a:gd name="T37" fmla="*/ 165 h 7189951"/>
                  <a:gd name="T38" fmla="*/ 159 w 8959720"/>
                  <a:gd name="T39" fmla="*/ 159 h 7189951"/>
                  <a:gd name="T40" fmla="*/ 146 w 8959720"/>
                  <a:gd name="T41" fmla="*/ 147 h 7189951"/>
                  <a:gd name="T42" fmla="*/ 138 w 8959720"/>
                  <a:gd name="T43" fmla="*/ 152 h 7189951"/>
                  <a:gd name="T44" fmla="*/ 129 w 8959720"/>
                  <a:gd name="T45" fmla="*/ 151 h 7189951"/>
                  <a:gd name="T46" fmla="*/ 122 w 8959720"/>
                  <a:gd name="T47" fmla="*/ 155 h 7189951"/>
                  <a:gd name="T48" fmla="*/ 103 w 8959720"/>
                  <a:gd name="T49" fmla="*/ 145 h 7189951"/>
                  <a:gd name="T50" fmla="*/ 95 w 8959720"/>
                  <a:gd name="T51" fmla="*/ 149 h 7189951"/>
                  <a:gd name="T52" fmla="*/ 91 w 8959720"/>
                  <a:gd name="T53" fmla="*/ 139 h 7189951"/>
                  <a:gd name="T54" fmla="*/ 93 w 8959720"/>
                  <a:gd name="T55" fmla="*/ 127 h 7189951"/>
                  <a:gd name="T56" fmla="*/ 86 w 8959720"/>
                  <a:gd name="T57" fmla="*/ 127 h 7189951"/>
                  <a:gd name="T58" fmla="*/ 82 w 8959720"/>
                  <a:gd name="T59" fmla="*/ 133 h 7189951"/>
                  <a:gd name="T60" fmla="*/ 69 w 8959720"/>
                  <a:gd name="T61" fmla="*/ 132 h 7189951"/>
                  <a:gd name="T62" fmla="*/ 64 w 8959720"/>
                  <a:gd name="T63" fmla="*/ 128 h 7189951"/>
                  <a:gd name="T64" fmla="*/ 52 w 8959720"/>
                  <a:gd name="T65" fmla="*/ 132 h 7189951"/>
                  <a:gd name="T66" fmla="*/ 43 w 8959720"/>
                  <a:gd name="T67" fmla="*/ 123 h 7189951"/>
                  <a:gd name="T68" fmla="*/ 49 w 8959720"/>
                  <a:gd name="T69" fmla="*/ 113 h 7189951"/>
                  <a:gd name="T70" fmla="*/ 24 w 8959720"/>
                  <a:gd name="T71" fmla="*/ 111 h 7189951"/>
                  <a:gd name="T72" fmla="*/ 35 w 8959720"/>
                  <a:gd name="T73" fmla="*/ 92 h 7189951"/>
                  <a:gd name="T74" fmla="*/ 21 w 8959720"/>
                  <a:gd name="T75" fmla="*/ 71 h 7189951"/>
                  <a:gd name="T76" fmla="*/ 10 w 8959720"/>
                  <a:gd name="T77" fmla="*/ 64 h 7189951"/>
                  <a:gd name="T78" fmla="*/ 0 w 8959720"/>
                  <a:gd name="T79" fmla="*/ 68 h 7189951"/>
                  <a:gd name="T80" fmla="*/ 0 w 8959720"/>
                  <a:gd name="T81" fmla="*/ 60 h 7189951"/>
                  <a:gd name="T82" fmla="*/ 8 w 8959720"/>
                  <a:gd name="T83" fmla="*/ 54 h 7189951"/>
                  <a:gd name="T84" fmla="*/ 2 w 8959720"/>
                  <a:gd name="T85" fmla="*/ 48 h 7189951"/>
                  <a:gd name="T86" fmla="*/ 8 w 8959720"/>
                  <a:gd name="T87" fmla="*/ 46 h 7189951"/>
                  <a:gd name="T88" fmla="*/ 27 w 8959720"/>
                  <a:gd name="T89" fmla="*/ 49 h 7189951"/>
                  <a:gd name="T90" fmla="*/ 45 w 8959720"/>
                  <a:gd name="T91" fmla="*/ 55 h 7189951"/>
                  <a:gd name="T92" fmla="*/ 63 w 8959720"/>
                  <a:gd name="T93" fmla="*/ 56 h 7189951"/>
                  <a:gd name="T94" fmla="*/ 52 w 8959720"/>
                  <a:gd name="T95" fmla="*/ 33 h 7189951"/>
                  <a:gd name="T96" fmla="*/ 66 w 8959720"/>
                  <a:gd name="T97" fmla="*/ 27 h 7189951"/>
                  <a:gd name="T98" fmla="*/ 73 w 8959720"/>
                  <a:gd name="T99" fmla="*/ 20 h 7189951"/>
                  <a:gd name="T100" fmla="*/ 75 w 8959720"/>
                  <a:gd name="T101" fmla="*/ 13 h 7189951"/>
                  <a:gd name="T102" fmla="*/ 80 w 8959720"/>
                  <a:gd name="T103" fmla="*/ 8 h 7189951"/>
                  <a:gd name="T104" fmla="*/ 89 w 8959720"/>
                  <a:gd name="T105" fmla="*/ 7 h 7189951"/>
                  <a:gd name="T106" fmla="*/ 102 w 8959720"/>
                  <a:gd name="T107" fmla="*/ 11 h 7189951"/>
                  <a:gd name="T108" fmla="*/ 111 w 8959720"/>
                  <a:gd name="T109" fmla="*/ 7 h 7189951"/>
                  <a:gd name="T110" fmla="*/ 119 w 8959720"/>
                  <a:gd name="T111" fmla="*/ 10 h 7189951"/>
                  <a:gd name="T112" fmla="*/ 123 w 8959720"/>
                  <a:gd name="T113" fmla="*/ 0 h 7189951"/>
                  <a:gd name="T114" fmla="*/ 133 w 8959720"/>
                  <a:gd name="T115" fmla="*/ 10 h 7189951"/>
                  <a:gd name="T116" fmla="*/ 132 w 8959720"/>
                  <a:gd name="T117" fmla="*/ 15 h 7189951"/>
                  <a:gd name="T118" fmla="*/ 145 w 8959720"/>
                  <a:gd name="T119" fmla="*/ 7 h 7189951"/>
                  <a:gd name="T120" fmla="*/ 153 w 8959720"/>
                  <a:gd name="T121" fmla="*/ 9 h 7189951"/>
                  <a:gd name="T122" fmla="*/ 161 w 8959720"/>
                  <a:gd name="T123" fmla="*/ 11 h 7189951"/>
                  <a:gd name="T124" fmla="*/ 169 w 8959720"/>
                  <a:gd name="T125" fmla="*/ 19 h 7189951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8959720"/>
                  <a:gd name="T190" fmla="*/ 0 h 7189951"/>
                  <a:gd name="T191" fmla="*/ 8959720 w 8959720"/>
                  <a:gd name="T192" fmla="*/ 7189951 h 7189951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8959720" h="7189951">
                    <a:moveTo>
                      <a:pt x="7331988" y="842820"/>
                    </a:moveTo>
                    <a:lnTo>
                      <a:pt x="7357839" y="1186410"/>
                    </a:lnTo>
                    <a:lnTo>
                      <a:pt x="7001272" y="1572401"/>
                    </a:lnTo>
                    <a:lnTo>
                      <a:pt x="7115371" y="1859442"/>
                    </a:lnTo>
                    <a:lnTo>
                      <a:pt x="6958033" y="2162327"/>
                    </a:lnTo>
                    <a:lnTo>
                      <a:pt x="7125177" y="2626954"/>
                    </a:lnTo>
                    <a:lnTo>
                      <a:pt x="7030345" y="3162594"/>
                    </a:lnTo>
                    <a:lnTo>
                      <a:pt x="7473735" y="3393595"/>
                    </a:lnTo>
                    <a:lnTo>
                      <a:pt x="8095057" y="3425689"/>
                    </a:lnTo>
                    <a:lnTo>
                      <a:pt x="8184199" y="3871397"/>
                    </a:lnTo>
                    <a:lnTo>
                      <a:pt x="7926581" y="4059488"/>
                    </a:lnTo>
                    <a:lnTo>
                      <a:pt x="8429338" y="4336721"/>
                    </a:lnTo>
                    <a:lnTo>
                      <a:pt x="8826007" y="4502527"/>
                    </a:lnTo>
                    <a:lnTo>
                      <a:pt x="8791244" y="5180897"/>
                    </a:lnTo>
                    <a:lnTo>
                      <a:pt x="8959719" y="5426037"/>
                    </a:lnTo>
                    <a:lnTo>
                      <a:pt x="8714580" y="5846790"/>
                    </a:lnTo>
                    <a:lnTo>
                      <a:pt x="8291157" y="6190879"/>
                    </a:lnTo>
                    <a:lnTo>
                      <a:pt x="8420457" y="6441884"/>
                    </a:lnTo>
                    <a:lnTo>
                      <a:pt x="6786664" y="7189951"/>
                    </a:lnTo>
                    <a:lnTo>
                      <a:pt x="6895190" y="6924094"/>
                    </a:lnTo>
                    <a:lnTo>
                      <a:pt x="6332020" y="6410720"/>
                    </a:lnTo>
                    <a:lnTo>
                      <a:pt x="6013349" y="6614767"/>
                    </a:lnTo>
                    <a:lnTo>
                      <a:pt x="5613548" y="6542340"/>
                    </a:lnTo>
                    <a:lnTo>
                      <a:pt x="5312462" y="6749813"/>
                    </a:lnTo>
                    <a:lnTo>
                      <a:pt x="4471187" y="6298534"/>
                    </a:lnTo>
                    <a:lnTo>
                      <a:pt x="4143581" y="6472349"/>
                    </a:lnTo>
                    <a:lnTo>
                      <a:pt x="3962394" y="6051827"/>
                    </a:lnTo>
                    <a:lnTo>
                      <a:pt x="4033256" y="5533692"/>
                    </a:lnTo>
                    <a:lnTo>
                      <a:pt x="3748363" y="5538519"/>
                    </a:lnTo>
                    <a:lnTo>
                      <a:pt x="3558697" y="5785226"/>
                    </a:lnTo>
                    <a:lnTo>
                      <a:pt x="2982937" y="5757880"/>
                    </a:lnTo>
                    <a:lnTo>
                      <a:pt x="2786374" y="5568455"/>
                    </a:lnTo>
                    <a:lnTo>
                      <a:pt x="2257095" y="5717315"/>
                    </a:lnTo>
                    <a:lnTo>
                      <a:pt x="1876678" y="5331556"/>
                    </a:lnTo>
                    <a:lnTo>
                      <a:pt x="2110442" y="4920613"/>
                    </a:lnTo>
                    <a:lnTo>
                      <a:pt x="1024495" y="4813645"/>
                    </a:lnTo>
                    <a:lnTo>
                      <a:pt x="1504730" y="3982824"/>
                    </a:lnTo>
                    <a:lnTo>
                      <a:pt x="911032" y="3074461"/>
                    </a:lnTo>
                    <a:lnTo>
                      <a:pt x="423423" y="2772273"/>
                    </a:lnTo>
                    <a:lnTo>
                      <a:pt x="0" y="2975511"/>
                    </a:lnTo>
                    <a:lnTo>
                      <a:pt x="19616" y="2606467"/>
                    </a:lnTo>
                    <a:lnTo>
                      <a:pt x="334281" y="2363997"/>
                    </a:lnTo>
                    <a:lnTo>
                      <a:pt x="86472" y="2096572"/>
                    </a:lnTo>
                    <a:lnTo>
                      <a:pt x="360858" y="2019503"/>
                    </a:lnTo>
                    <a:lnTo>
                      <a:pt x="1170449" y="2122398"/>
                    </a:lnTo>
                    <a:lnTo>
                      <a:pt x="1970054" y="2399631"/>
                    </a:lnTo>
                    <a:lnTo>
                      <a:pt x="2757182" y="2431724"/>
                    </a:lnTo>
                    <a:lnTo>
                      <a:pt x="2274042" y="1451166"/>
                    </a:lnTo>
                    <a:lnTo>
                      <a:pt x="2888225" y="1181127"/>
                    </a:lnTo>
                    <a:lnTo>
                      <a:pt x="3175266" y="869132"/>
                    </a:lnTo>
                    <a:lnTo>
                      <a:pt x="3242122" y="579421"/>
                    </a:lnTo>
                    <a:lnTo>
                      <a:pt x="3474784" y="356567"/>
                    </a:lnTo>
                    <a:lnTo>
                      <a:pt x="3891125" y="290553"/>
                    </a:lnTo>
                    <a:lnTo>
                      <a:pt x="4415240" y="481285"/>
                    </a:lnTo>
                    <a:lnTo>
                      <a:pt x="4823516" y="325288"/>
                    </a:lnTo>
                    <a:lnTo>
                      <a:pt x="5189891" y="436715"/>
                    </a:lnTo>
                    <a:lnTo>
                      <a:pt x="5350358" y="0"/>
                    </a:lnTo>
                    <a:lnTo>
                      <a:pt x="5783588" y="424237"/>
                    </a:lnTo>
                    <a:lnTo>
                      <a:pt x="5736348" y="668562"/>
                    </a:lnTo>
                    <a:lnTo>
                      <a:pt x="6315769" y="311996"/>
                    </a:lnTo>
                    <a:lnTo>
                      <a:pt x="6647381" y="401137"/>
                    </a:lnTo>
                    <a:lnTo>
                      <a:pt x="7013755" y="490279"/>
                    </a:lnTo>
                    <a:lnTo>
                      <a:pt x="7331988" y="842820"/>
                    </a:ln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>
                  <a:defRPr/>
                </a:pPr>
                <a:endParaRPr lang="zh-CN" altLang="en-US" kern="0">
                  <a:solidFill>
                    <a:sysClr val="windowText" lastClr="000000"/>
                  </a:solidFill>
                  <a:latin typeface="Calibri"/>
                  <a:ea typeface="宋体" panose="02010600030101010101" pitchFamily="2" charset="-122"/>
                </a:endParaRPr>
              </a:p>
            </p:txBody>
          </p:sp>
          <p:sp>
            <p:nvSpPr>
              <p:cNvPr id="52" name="任意多边形 14">
                <a:extLst>
                  <a:ext uri="{FF2B5EF4-FFF2-40B4-BE49-F238E27FC236}">
                    <a16:creationId xmlns:a16="http://schemas.microsoft.com/office/drawing/2014/main" id="{575B40FE-ECA2-40DF-843A-EEBB2E77AB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08475" y="3382963"/>
                <a:ext cx="860425" cy="617538"/>
              </a:xfrm>
              <a:custGeom>
                <a:avLst/>
                <a:gdLst>
                  <a:gd name="T0" fmla="*/ 5020079 w 10067844"/>
                  <a:gd name="T1" fmla="*/ 6906330 h 7222577"/>
                  <a:gd name="T2" fmla="*/ 4720329 w 10067844"/>
                  <a:gd name="T3" fmla="*/ 5999537 h 7222577"/>
                  <a:gd name="T4" fmla="*/ 3910916 w 10067844"/>
                  <a:gd name="T5" fmla="*/ 6048111 h 7222577"/>
                  <a:gd name="T6" fmla="*/ 3381405 w 10067844"/>
                  <a:gd name="T7" fmla="*/ 5685740 h 7222577"/>
                  <a:gd name="T8" fmla="*/ 2450808 w 10067844"/>
                  <a:gd name="T9" fmla="*/ 5315484 h 7222577"/>
                  <a:gd name="T10" fmla="*/ 1854388 w 10067844"/>
                  <a:gd name="T11" fmla="*/ 4860948 h 7222577"/>
                  <a:gd name="T12" fmla="*/ 819451 w 10067844"/>
                  <a:gd name="T13" fmla="*/ 5106088 h 7222577"/>
                  <a:gd name="T14" fmla="*/ 287268 w 10067844"/>
                  <a:gd name="T15" fmla="*/ 3984447 h 7222577"/>
                  <a:gd name="T16" fmla="*/ 100283 w 10067844"/>
                  <a:gd name="T17" fmla="*/ 3495504 h 7222577"/>
                  <a:gd name="T18" fmla="*/ 650975 w 10067844"/>
                  <a:gd name="T19" fmla="*/ 3148280 h 7222577"/>
                  <a:gd name="T20" fmla="*/ 1148102 w 10067844"/>
                  <a:gd name="T21" fmla="*/ 1610649 h 7222577"/>
                  <a:gd name="T22" fmla="*/ 1588296 w 10067844"/>
                  <a:gd name="T23" fmla="*/ 1131217 h 7222577"/>
                  <a:gd name="T24" fmla="*/ 2043812 w 10067844"/>
                  <a:gd name="T25" fmla="*/ 445708 h 7222577"/>
                  <a:gd name="T26" fmla="*/ 2404847 w 10067844"/>
                  <a:gd name="T27" fmla="*/ 1051939 h 7222577"/>
                  <a:gd name="T28" fmla="*/ 3334625 w 10067844"/>
                  <a:gd name="T29" fmla="*/ 700655 h 7222577"/>
                  <a:gd name="T30" fmla="*/ 4099468 w 10067844"/>
                  <a:gd name="T31" fmla="*/ 205093 h 7222577"/>
                  <a:gd name="T32" fmla="*/ 4510413 w 10067844"/>
                  <a:gd name="T33" fmla="*/ 913702 h 7222577"/>
                  <a:gd name="T34" fmla="*/ 5087165 w 10067844"/>
                  <a:gd name="T35" fmla="*/ 138237 h 7222577"/>
                  <a:gd name="T36" fmla="*/ 7863963 w 10067844"/>
                  <a:gd name="T37" fmla="*/ 1379026 h 7222577"/>
                  <a:gd name="T38" fmla="*/ 8924725 w 10067844"/>
                  <a:gd name="T39" fmla="*/ 1096510 h 7222577"/>
                  <a:gd name="T40" fmla="*/ 9467642 w 10067844"/>
                  <a:gd name="T41" fmla="*/ 1574256 h 7222577"/>
                  <a:gd name="T42" fmla="*/ 9470312 w 10067844"/>
                  <a:gd name="T43" fmla="*/ 3049562 h 7222577"/>
                  <a:gd name="T44" fmla="*/ 9163655 w 10067844"/>
                  <a:gd name="T45" fmla="*/ 2405954 h 7222577"/>
                  <a:gd name="T46" fmla="*/ 8569087 w 10067844"/>
                  <a:gd name="T47" fmla="*/ 2237479 h 7222577"/>
                  <a:gd name="T48" fmla="*/ 8294524 w 10067844"/>
                  <a:gd name="T49" fmla="*/ 3103940 h 7222577"/>
                  <a:gd name="T50" fmla="*/ 7517204 w 10067844"/>
                  <a:gd name="T51" fmla="*/ 2851663 h 7222577"/>
                  <a:gd name="T52" fmla="*/ 6908359 w 10067844"/>
                  <a:gd name="T53" fmla="*/ 2673379 h 7222577"/>
                  <a:gd name="T54" fmla="*/ 5839530 w 10067844"/>
                  <a:gd name="T55" fmla="*/ 2878417 h 7222577"/>
                  <a:gd name="T56" fmla="*/ 6358362 w 10067844"/>
                  <a:gd name="T57" fmla="*/ 3834020 h 7222577"/>
                  <a:gd name="T58" fmla="*/ 7047411 w 10067844"/>
                  <a:gd name="T59" fmla="*/ 4707620 h 7222577"/>
                  <a:gd name="T60" fmla="*/ 6591895 w 10067844"/>
                  <a:gd name="T61" fmla="*/ 5068655 h 7222577"/>
                  <a:gd name="T62" fmla="*/ 6948461 w 10067844"/>
                  <a:gd name="T63" fmla="*/ 6053682 h 7222577"/>
                  <a:gd name="T64" fmla="*/ 6916368 w 10067844"/>
                  <a:gd name="T65" fmla="*/ 6932621 h 7222577"/>
                  <a:gd name="T66" fmla="*/ 6087339 w 10067844"/>
                  <a:gd name="T67" fmla="*/ 6917474 h 7222577"/>
                  <a:gd name="T68" fmla="*/ 0 w 10067844"/>
                  <a:gd name="T69" fmla="*/ 0 h 7222577"/>
                  <a:gd name="T70" fmla="*/ 10067844 w 10067844"/>
                  <a:gd name="T71" fmla="*/ 7222577 h 72225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T68" t="T69" r="T70" b="T71"/>
                <a:pathLst>
                  <a:path w="10067844" h="7222577">
                    <a:moveTo>
                      <a:pt x="5421247" y="7222577"/>
                    </a:moveTo>
                    <a:lnTo>
                      <a:pt x="5020079" y="6906330"/>
                    </a:lnTo>
                    <a:lnTo>
                      <a:pt x="4826417" y="6541291"/>
                    </a:lnTo>
                    <a:lnTo>
                      <a:pt x="4720329" y="5999537"/>
                    </a:lnTo>
                    <a:lnTo>
                      <a:pt x="4482097" y="6220824"/>
                    </a:lnTo>
                    <a:lnTo>
                      <a:pt x="3910916" y="6048111"/>
                    </a:lnTo>
                    <a:lnTo>
                      <a:pt x="3459635" y="6066159"/>
                    </a:lnTo>
                    <a:lnTo>
                      <a:pt x="3381405" y="5685740"/>
                    </a:lnTo>
                    <a:lnTo>
                      <a:pt x="2811561" y="5240032"/>
                    </a:lnTo>
                    <a:lnTo>
                      <a:pt x="2450808" y="5315484"/>
                    </a:lnTo>
                    <a:lnTo>
                      <a:pt x="2089722" y="4730139"/>
                    </a:lnTo>
                    <a:lnTo>
                      <a:pt x="1854388" y="4860948"/>
                    </a:lnTo>
                    <a:lnTo>
                      <a:pt x="1323543" y="4923801"/>
                    </a:lnTo>
                    <a:lnTo>
                      <a:pt x="819451" y="5106088"/>
                    </a:lnTo>
                    <a:lnTo>
                      <a:pt x="805174" y="4401195"/>
                    </a:lnTo>
                    <a:lnTo>
                      <a:pt x="287268" y="3984447"/>
                    </a:lnTo>
                    <a:lnTo>
                      <a:pt x="0" y="3845164"/>
                    </a:lnTo>
                    <a:lnTo>
                      <a:pt x="100283" y="3495504"/>
                    </a:lnTo>
                    <a:lnTo>
                      <a:pt x="259180" y="3070745"/>
                    </a:lnTo>
                    <a:lnTo>
                      <a:pt x="650975" y="3148280"/>
                    </a:lnTo>
                    <a:lnTo>
                      <a:pt x="1291447" y="2040913"/>
                    </a:lnTo>
                    <a:lnTo>
                      <a:pt x="1148102" y="1610649"/>
                    </a:lnTo>
                    <a:lnTo>
                      <a:pt x="1397535" y="1510069"/>
                    </a:lnTo>
                    <a:lnTo>
                      <a:pt x="1588296" y="1131217"/>
                    </a:lnTo>
                    <a:lnTo>
                      <a:pt x="1496484" y="821890"/>
                    </a:lnTo>
                    <a:lnTo>
                      <a:pt x="2043812" y="445708"/>
                    </a:lnTo>
                    <a:lnTo>
                      <a:pt x="2070566" y="784514"/>
                    </a:lnTo>
                    <a:lnTo>
                      <a:pt x="2404847" y="1051939"/>
                    </a:lnTo>
                    <a:lnTo>
                      <a:pt x="2902265" y="812082"/>
                    </a:lnTo>
                    <a:lnTo>
                      <a:pt x="3334625" y="700655"/>
                    </a:lnTo>
                    <a:lnTo>
                      <a:pt x="3955948" y="0"/>
                    </a:lnTo>
                    <a:lnTo>
                      <a:pt x="4099468" y="205093"/>
                    </a:lnTo>
                    <a:lnTo>
                      <a:pt x="4062036" y="628516"/>
                    </a:lnTo>
                    <a:lnTo>
                      <a:pt x="4510413" y="913702"/>
                    </a:lnTo>
                    <a:lnTo>
                      <a:pt x="4482789" y="388660"/>
                    </a:lnTo>
                    <a:lnTo>
                      <a:pt x="5087165" y="138237"/>
                    </a:lnTo>
                    <a:lnTo>
                      <a:pt x="7357214" y="1432494"/>
                    </a:lnTo>
                    <a:lnTo>
                      <a:pt x="7863963" y="1379026"/>
                    </a:lnTo>
                    <a:lnTo>
                      <a:pt x="8453191" y="1156172"/>
                    </a:lnTo>
                    <a:lnTo>
                      <a:pt x="8924725" y="1096510"/>
                    </a:lnTo>
                    <a:lnTo>
                      <a:pt x="9537168" y="1230167"/>
                    </a:lnTo>
                    <a:lnTo>
                      <a:pt x="9467642" y="1574256"/>
                    </a:lnTo>
                    <a:lnTo>
                      <a:pt x="10067844" y="2468283"/>
                    </a:lnTo>
                    <a:lnTo>
                      <a:pt x="9470312" y="3049562"/>
                    </a:lnTo>
                    <a:lnTo>
                      <a:pt x="8620796" y="3252800"/>
                    </a:lnTo>
                    <a:lnTo>
                      <a:pt x="9163655" y="2405954"/>
                    </a:lnTo>
                    <a:lnTo>
                      <a:pt x="8925654" y="2205386"/>
                    </a:lnTo>
                    <a:lnTo>
                      <a:pt x="8569087" y="2237479"/>
                    </a:lnTo>
                    <a:lnTo>
                      <a:pt x="8269569" y="2569091"/>
                    </a:lnTo>
                    <a:lnTo>
                      <a:pt x="8294524" y="3103940"/>
                    </a:lnTo>
                    <a:lnTo>
                      <a:pt x="7616153" y="3428414"/>
                    </a:lnTo>
                    <a:lnTo>
                      <a:pt x="7517204" y="2851663"/>
                    </a:lnTo>
                    <a:lnTo>
                      <a:pt x="7230163" y="2415762"/>
                    </a:lnTo>
                    <a:lnTo>
                      <a:pt x="6908359" y="2673379"/>
                    </a:lnTo>
                    <a:lnTo>
                      <a:pt x="6253145" y="2435378"/>
                    </a:lnTo>
                    <a:lnTo>
                      <a:pt x="5839530" y="2878417"/>
                    </a:lnTo>
                    <a:lnTo>
                      <a:pt x="6016942" y="3390981"/>
                    </a:lnTo>
                    <a:lnTo>
                      <a:pt x="6358362" y="3834020"/>
                    </a:lnTo>
                    <a:lnTo>
                      <a:pt x="6990362" y="4351053"/>
                    </a:lnTo>
                    <a:lnTo>
                      <a:pt x="7047411" y="4707620"/>
                    </a:lnTo>
                    <a:lnTo>
                      <a:pt x="6582087" y="4794092"/>
                    </a:lnTo>
                    <a:lnTo>
                      <a:pt x="6591895" y="5068655"/>
                    </a:lnTo>
                    <a:lnTo>
                      <a:pt x="6846842" y="5489409"/>
                    </a:lnTo>
                    <a:lnTo>
                      <a:pt x="6948461" y="6053682"/>
                    </a:lnTo>
                    <a:lnTo>
                      <a:pt x="6722937" y="6543961"/>
                    </a:lnTo>
                    <a:lnTo>
                      <a:pt x="6916368" y="6932621"/>
                    </a:lnTo>
                    <a:lnTo>
                      <a:pt x="6218382" y="7041379"/>
                    </a:lnTo>
                    <a:lnTo>
                      <a:pt x="6087339" y="6917474"/>
                    </a:lnTo>
                    <a:lnTo>
                      <a:pt x="5421247" y="7222577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>
                  <a:defRPr/>
                </a:pPr>
                <a:endParaRPr lang="zh-CN" altLang="en-US" kern="0">
                  <a:solidFill>
                    <a:sysClr val="windowText" lastClr="000000"/>
                  </a:solidFill>
                  <a:latin typeface="Calibri"/>
                  <a:ea typeface="宋体" panose="02010600030101010101" pitchFamily="2" charset="-122"/>
                </a:endParaRPr>
              </a:p>
            </p:txBody>
          </p:sp>
          <p:sp>
            <p:nvSpPr>
              <p:cNvPr id="53" name="任意多边形 15">
                <a:extLst>
                  <a:ext uri="{FF2B5EF4-FFF2-40B4-BE49-F238E27FC236}">
                    <a16:creationId xmlns:a16="http://schemas.microsoft.com/office/drawing/2014/main" id="{650B82FC-6687-4B6A-BB3E-7C4EEDDA4C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3925" y="1927226"/>
                <a:ext cx="758825" cy="750888"/>
              </a:xfrm>
              <a:custGeom>
                <a:avLst/>
                <a:gdLst>
                  <a:gd name="T0" fmla="*/ 1944168 w 8875583"/>
                  <a:gd name="T1" fmla="*/ 1999478 h 8783239"/>
                  <a:gd name="T2" fmla="*/ 2094827 w 8875583"/>
                  <a:gd name="T3" fmla="*/ 2776798 h 8783239"/>
                  <a:gd name="T4" fmla="*/ 2830245 w 8875583"/>
                  <a:gd name="T5" fmla="*/ 3372294 h 8783239"/>
                  <a:gd name="T6" fmla="*/ 1961114 w 8875583"/>
                  <a:gd name="T7" fmla="*/ 3813534 h 8783239"/>
                  <a:gd name="T8" fmla="*/ 1565316 w 8875583"/>
                  <a:gd name="T9" fmla="*/ 4014102 h 8783239"/>
                  <a:gd name="T10" fmla="*/ 1265798 w 8875583"/>
                  <a:gd name="T11" fmla="*/ 4922465 h 8783239"/>
                  <a:gd name="T12" fmla="*/ 1747609 w 8875583"/>
                  <a:gd name="T13" fmla="*/ 5552318 h 8783239"/>
                  <a:gd name="T14" fmla="*/ 946668 w 8875583"/>
                  <a:gd name="T15" fmla="*/ 6117869 h 8783239"/>
                  <a:gd name="T16" fmla="*/ 191634 w 8875583"/>
                  <a:gd name="T17" fmla="*/ 6583193 h 8783239"/>
                  <a:gd name="T18" fmla="*/ 468866 w 8875583"/>
                  <a:gd name="T19" fmla="*/ 6976322 h 8783239"/>
                  <a:gd name="T20" fmla="*/ 1020663 w 8875583"/>
                  <a:gd name="T21" fmla="*/ 7496024 h 8783239"/>
                  <a:gd name="T22" fmla="*/ 1473509 w 8875583"/>
                  <a:gd name="T23" fmla="*/ 7629737 h 8783239"/>
                  <a:gd name="T24" fmla="*/ 1324650 w 8875583"/>
                  <a:gd name="T25" fmla="*/ 8617433 h 8783239"/>
                  <a:gd name="T26" fmla="*/ 2285592 w 8875583"/>
                  <a:gd name="T27" fmla="*/ 7713539 h 8783239"/>
                  <a:gd name="T28" fmla="*/ 2815103 w 8875583"/>
                  <a:gd name="T29" fmla="*/ 8117346 h 8783239"/>
                  <a:gd name="T30" fmla="*/ 3339270 w 8875583"/>
                  <a:gd name="T31" fmla="*/ 7961347 h 8783239"/>
                  <a:gd name="T32" fmla="*/ 3921361 w 8875583"/>
                  <a:gd name="T33" fmla="*/ 8209156 h 8783239"/>
                  <a:gd name="T34" fmla="*/ 4438394 w 8875583"/>
                  <a:gd name="T35" fmla="*/ 8506004 h 8783239"/>
                  <a:gd name="T36" fmla="*/ 4930472 w 8875583"/>
                  <a:gd name="T37" fmla="*/ 7944400 h 8783239"/>
                  <a:gd name="T38" fmla="*/ 5437698 w 8875583"/>
                  <a:gd name="T39" fmla="*/ 7097554 h 8783239"/>
                  <a:gd name="T40" fmla="*/ 5957462 w 8875583"/>
                  <a:gd name="T41" fmla="*/ 6542054 h 8783239"/>
                  <a:gd name="T42" fmla="*/ 6823862 w 8875583"/>
                  <a:gd name="T43" fmla="*/ 6288141 h 8783239"/>
                  <a:gd name="T44" fmla="*/ 7158144 w 8875583"/>
                  <a:gd name="T45" fmla="*/ 5312922 h 8783239"/>
                  <a:gd name="T46" fmla="*/ 7645753 w 8875583"/>
                  <a:gd name="T47" fmla="*/ 4666645 h 8783239"/>
                  <a:gd name="T48" fmla="*/ 8200219 w 8875583"/>
                  <a:gd name="T49" fmla="*/ 4248561 h 8783239"/>
                  <a:gd name="T50" fmla="*/ 8655735 w 8875583"/>
                  <a:gd name="T51" fmla="*/ 3850093 h 8783239"/>
                  <a:gd name="T52" fmla="*/ 8838488 w 8875583"/>
                  <a:gd name="T53" fmla="*/ 3264405 h 8783239"/>
                  <a:gd name="T54" fmla="*/ 8583540 w 8875583"/>
                  <a:gd name="T55" fmla="*/ 2413090 h 8783239"/>
                  <a:gd name="T56" fmla="*/ 8768443 w 8875583"/>
                  <a:gd name="T57" fmla="*/ 1676801 h 8783239"/>
                  <a:gd name="T58" fmla="*/ 8242120 w 8875583"/>
                  <a:gd name="T59" fmla="*/ 1039406 h 8783239"/>
                  <a:gd name="T60" fmla="*/ 7734895 w 8875583"/>
                  <a:gd name="T61" fmla="*/ 873600 h 8783239"/>
                  <a:gd name="T62" fmla="*/ 6913004 w 8875583"/>
                  <a:gd name="T63" fmla="*/ 962742 h 8783239"/>
                  <a:gd name="T64" fmla="*/ 6274736 w 8875583"/>
                  <a:gd name="T65" fmla="*/ 834368 h 8783239"/>
                  <a:gd name="T66" fmla="*/ 5901223 w 8875583"/>
                  <a:gd name="T67" fmla="*/ 443039 h 8783239"/>
                  <a:gd name="T68" fmla="*/ 5047238 w 8875583"/>
                  <a:gd name="T69" fmla="*/ 458186 h 8783239"/>
                  <a:gd name="T70" fmla="*/ 4693341 w 8875583"/>
                  <a:gd name="T71" fmla="*/ 0 h 8783239"/>
                  <a:gd name="T72" fmla="*/ 3750215 w 8875583"/>
                  <a:gd name="T73" fmla="*/ 385988 h 8783239"/>
                  <a:gd name="T74" fmla="*/ 3953454 w 8875583"/>
                  <a:gd name="T75" fmla="*/ 950261 h 8783239"/>
                  <a:gd name="T76" fmla="*/ 3744876 w 8875583"/>
                  <a:gd name="T77" fmla="*/ 1472634 h 8783239"/>
                  <a:gd name="T78" fmla="*/ 2295395 w 8875583"/>
                  <a:gd name="T79" fmla="*/ 1277404 h 8783239"/>
                  <a:gd name="T80" fmla="*/ 1661596 w 8875583"/>
                  <a:gd name="T81" fmla="*/ 1081304 h 8783239"/>
                  <a:gd name="T82" fmla="*/ 0 w 8875583"/>
                  <a:gd name="T83" fmla="*/ 0 h 8783239"/>
                  <a:gd name="T84" fmla="*/ 8875583 w 8875583"/>
                  <a:gd name="T85" fmla="*/ 8783239 h 87832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T82" t="T83" r="T84" b="T85"/>
                <a:pathLst>
                  <a:path w="8875583" h="8783239">
                    <a:moveTo>
                      <a:pt x="1559139" y="1692825"/>
                    </a:moveTo>
                    <a:lnTo>
                      <a:pt x="1944168" y="1999478"/>
                    </a:lnTo>
                    <a:lnTo>
                      <a:pt x="1995877" y="2378330"/>
                    </a:lnTo>
                    <a:lnTo>
                      <a:pt x="2094827" y="2776798"/>
                    </a:lnTo>
                    <a:lnTo>
                      <a:pt x="2406822" y="3019268"/>
                    </a:lnTo>
                    <a:lnTo>
                      <a:pt x="2830245" y="3372294"/>
                    </a:lnTo>
                    <a:lnTo>
                      <a:pt x="2404153" y="3657536"/>
                    </a:lnTo>
                    <a:lnTo>
                      <a:pt x="1961114" y="3813534"/>
                    </a:lnTo>
                    <a:lnTo>
                      <a:pt x="1641980" y="3781440"/>
                    </a:lnTo>
                    <a:lnTo>
                      <a:pt x="1565316" y="4014102"/>
                    </a:lnTo>
                    <a:lnTo>
                      <a:pt x="1297891" y="4323429"/>
                    </a:lnTo>
                    <a:lnTo>
                      <a:pt x="1265798" y="4922465"/>
                    </a:lnTo>
                    <a:lnTo>
                      <a:pt x="1255992" y="5107887"/>
                    </a:lnTo>
                    <a:lnTo>
                      <a:pt x="1747609" y="5552318"/>
                    </a:lnTo>
                    <a:lnTo>
                      <a:pt x="1411992" y="5840636"/>
                    </a:lnTo>
                    <a:lnTo>
                      <a:pt x="946668" y="6117869"/>
                    </a:lnTo>
                    <a:lnTo>
                      <a:pt x="446581" y="6127677"/>
                    </a:lnTo>
                    <a:lnTo>
                      <a:pt x="191634" y="6583193"/>
                    </a:lnTo>
                    <a:lnTo>
                      <a:pt x="0" y="6855087"/>
                    </a:lnTo>
                    <a:lnTo>
                      <a:pt x="468866" y="6976322"/>
                    </a:lnTo>
                    <a:lnTo>
                      <a:pt x="605249" y="7189368"/>
                    </a:lnTo>
                    <a:lnTo>
                      <a:pt x="1020663" y="7496024"/>
                    </a:lnTo>
                    <a:lnTo>
                      <a:pt x="1352274" y="7305264"/>
                    </a:lnTo>
                    <a:lnTo>
                      <a:pt x="1473509" y="7629737"/>
                    </a:lnTo>
                    <a:lnTo>
                      <a:pt x="1706171" y="8152109"/>
                    </a:lnTo>
                    <a:lnTo>
                      <a:pt x="1324650" y="8617433"/>
                    </a:lnTo>
                    <a:lnTo>
                      <a:pt x="1572459" y="8783239"/>
                    </a:lnTo>
                    <a:lnTo>
                      <a:pt x="2285592" y="7713539"/>
                    </a:lnTo>
                    <a:lnTo>
                      <a:pt x="2604726" y="7760780"/>
                    </a:lnTo>
                    <a:lnTo>
                      <a:pt x="2815103" y="8117346"/>
                    </a:lnTo>
                    <a:lnTo>
                      <a:pt x="3042480" y="8366024"/>
                    </a:lnTo>
                    <a:lnTo>
                      <a:pt x="3339270" y="7961347"/>
                    </a:lnTo>
                    <a:lnTo>
                      <a:pt x="3621842" y="7862397"/>
                    </a:lnTo>
                    <a:lnTo>
                      <a:pt x="3921361" y="8209156"/>
                    </a:lnTo>
                    <a:lnTo>
                      <a:pt x="4109452" y="8473911"/>
                    </a:lnTo>
                    <a:lnTo>
                      <a:pt x="4438394" y="8506004"/>
                    </a:lnTo>
                    <a:cubicBezTo>
                      <a:pt x="4438994" y="8135470"/>
                      <a:pt x="4439593" y="7764937"/>
                      <a:pt x="4440193" y="7394403"/>
                    </a:cubicBezTo>
                    <a:lnTo>
                      <a:pt x="4930472" y="7944400"/>
                    </a:lnTo>
                    <a:lnTo>
                      <a:pt x="5507224" y="7562878"/>
                    </a:lnTo>
                    <a:lnTo>
                      <a:pt x="5437698" y="7097554"/>
                    </a:lnTo>
                    <a:lnTo>
                      <a:pt x="5940454" y="6976319"/>
                    </a:lnTo>
                    <a:lnTo>
                      <a:pt x="5957462" y="6542054"/>
                    </a:lnTo>
                    <a:lnTo>
                      <a:pt x="6145492" y="6265856"/>
                    </a:lnTo>
                    <a:lnTo>
                      <a:pt x="6823862" y="6288141"/>
                    </a:lnTo>
                    <a:lnTo>
                      <a:pt x="7069002" y="5723868"/>
                    </a:lnTo>
                    <a:lnTo>
                      <a:pt x="7158144" y="5312922"/>
                    </a:lnTo>
                    <a:lnTo>
                      <a:pt x="7078810" y="4869883"/>
                    </a:lnTo>
                    <a:lnTo>
                      <a:pt x="7645753" y="4666645"/>
                    </a:lnTo>
                    <a:lnTo>
                      <a:pt x="8034413" y="4567695"/>
                    </a:lnTo>
                    <a:lnTo>
                      <a:pt x="8200219" y="4248561"/>
                    </a:lnTo>
                    <a:lnTo>
                      <a:pt x="8378502" y="3894664"/>
                    </a:lnTo>
                    <a:lnTo>
                      <a:pt x="8655735" y="3850093"/>
                    </a:lnTo>
                    <a:lnTo>
                      <a:pt x="8875583" y="3604975"/>
                    </a:lnTo>
                    <a:lnTo>
                      <a:pt x="8838488" y="3264405"/>
                    </a:lnTo>
                    <a:lnTo>
                      <a:pt x="8771632" y="2786603"/>
                    </a:lnTo>
                    <a:lnTo>
                      <a:pt x="8583540" y="2413090"/>
                    </a:lnTo>
                    <a:lnTo>
                      <a:pt x="8682490" y="2024430"/>
                    </a:lnTo>
                    <a:lnTo>
                      <a:pt x="8768443" y="1676801"/>
                    </a:lnTo>
                    <a:lnTo>
                      <a:pt x="8531831" y="1351401"/>
                    </a:lnTo>
                    <a:lnTo>
                      <a:pt x="8242120" y="1039406"/>
                    </a:lnTo>
                    <a:lnTo>
                      <a:pt x="8009458" y="1007312"/>
                    </a:lnTo>
                    <a:lnTo>
                      <a:pt x="7734895" y="873600"/>
                    </a:lnTo>
                    <a:lnTo>
                      <a:pt x="7234808" y="851314"/>
                    </a:lnTo>
                    <a:lnTo>
                      <a:pt x="6913004" y="962742"/>
                    </a:lnTo>
                    <a:lnTo>
                      <a:pt x="6507398" y="930648"/>
                    </a:lnTo>
                    <a:lnTo>
                      <a:pt x="6274736" y="834368"/>
                    </a:lnTo>
                    <a:lnTo>
                      <a:pt x="6175786" y="455516"/>
                    </a:lnTo>
                    <a:lnTo>
                      <a:pt x="5901223" y="443039"/>
                    </a:lnTo>
                    <a:lnTo>
                      <a:pt x="5490277" y="509895"/>
                    </a:lnTo>
                    <a:lnTo>
                      <a:pt x="5047238" y="458186"/>
                    </a:lnTo>
                    <a:lnTo>
                      <a:pt x="5126572" y="57048"/>
                    </a:lnTo>
                    <a:lnTo>
                      <a:pt x="4693341" y="0"/>
                    </a:lnTo>
                    <a:lnTo>
                      <a:pt x="4349252" y="131043"/>
                    </a:lnTo>
                    <a:lnTo>
                      <a:pt x="3750215" y="385988"/>
                    </a:lnTo>
                    <a:lnTo>
                      <a:pt x="4074689" y="774648"/>
                    </a:lnTo>
                    <a:lnTo>
                      <a:pt x="3953454" y="950261"/>
                    </a:lnTo>
                    <a:lnTo>
                      <a:pt x="3874120" y="1272065"/>
                    </a:lnTo>
                    <a:lnTo>
                      <a:pt x="3744876" y="1472634"/>
                    </a:lnTo>
                    <a:lnTo>
                      <a:pt x="2735765" y="1485111"/>
                    </a:lnTo>
                    <a:lnTo>
                      <a:pt x="2295395" y="1277404"/>
                    </a:lnTo>
                    <a:lnTo>
                      <a:pt x="1976261" y="908360"/>
                    </a:lnTo>
                    <a:lnTo>
                      <a:pt x="1661596" y="1081304"/>
                    </a:lnTo>
                    <a:lnTo>
                      <a:pt x="1559139" y="1692825"/>
                    </a:ln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>
                  <a:defRPr/>
                </a:pPr>
                <a:endParaRPr lang="zh-CN" altLang="en-US" kern="0">
                  <a:solidFill>
                    <a:sysClr val="windowText" lastClr="000000"/>
                  </a:solidFill>
                  <a:latin typeface="Calibri"/>
                  <a:ea typeface="宋体" panose="02010600030101010101" pitchFamily="2" charset="-122"/>
                </a:endParaRPr>
              </a:p>
            </p:txBody>
          </p:sp>
          <p:sp>
            <p:nvSpPr>
              <p:cNvPr id="54" name="任意多边形 16">
                <a:extLst>
                  <a:ext uri="{FF2B5EF4-FFF2-40B4-BE49-F238E27FC236}">
                    <a16:creationId xmlns:a16="http://schemas.microsoft.com/office/drawing/2014/main" id="{5B986DDF-9AEB-4747-BA3F-30E1A33C6E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86175" y="2003426"/>
                <a:ext cx="1138237" cy="1087438"/>
              </a:xfrm>
              <a:custGeom>
                <a:avLst/>
                <a:gdLst>
                  <a:gd name="T0" fmla="*/ 12359412 w 13301756"/>
                  <a:gd name="T1" fmla="*/ 9369799 h 12713308"/>
                  <a:gd name="T2" fmla="*/ 12040741 w 13301756"/>
                  <a:gd name="T3" fmla="*/ 8990947 h 12713308"/>
                  <a:gd name="T4" fmla="*/ 11261856 w 13301756"/>
                  <a:gd name="T5" fmla="*/ 9085661 h 12713308"/>
                  <a:gd name="T6" fmla="*/ 9424178 w 13301756"/>
                  <a:gd name="T7" fmla="*/ 9375369 h 12713308"/>
                  <a:gd name="T8" fmla="*/ 8226105 w 13301756"/>
                  <a:gd name="T9" fmla="*/ 9421508 h 12713308"/>
                  <a:gd name="T10" fmla="*/ 8163254 w 13301756"/>
                  <a:gd name="T11" fmla="*/ 10030352 h 12713308"/>
                  <a:gd name="T12" fmla="*/ 8443156 w 13301756"/>
                  <a:gd name="T13" fmla="*/ 11165807 h 12713308"/>
                  <a:gd name="T14" fmla="*/ 7291219 w 13301756"/>
                  <a:gd name="T15" fmla="*/ 11470896 h 12713308"/>
                  <a:gd name="T16" fmla="*/ 6859090 w 13301756"/>
                  <a:gd name="T17" fmla="*/ 11712032 h 12713308"/>
                  <a:gd name="T18" fmla="*/ 6413151 w 13301756"/>
                  <a:gd name="T19" fmla="*/ 12570251 h 12713308"/>
                  <a:gd name="T20" fmla="*/ 5786258 w 13301756"/>
                  <a:gd name="T21" fmla="*/ 12713308 h 12713308"/>
                  <a:gd name="T22" fmla="*/ 5046370 w 13301756"/>
                  <a:gd name="T23" fmla="*/ 11997737 h 12713308"/>
                  <a:gd name="T24" fmla="*/ 4288434 w 13301756"/>
                  <a:gd name="T25" fmla="*/ 11638040 h 12713308"/>
                  <a:gd name="T26" fmla="*/ 3995589 w 13301756"/>
                  <a:gd name="T27" fmla="*/ 11195231 h 12713308"/>
                  <a:gd name="T28" fmla="*/ 2955081 w 13301756"/>
                  <a:gd name="T29" fmla="*/ 11040330 h 12713308"/>
                  <a:gd name="T30" fmla="*/ 2269572 w 13301756"/>
                  <a:gd name="T31" fmla="*/ 10421677 h 12713308"/>
                  <a:gd name="T32" fmla="*/ 1752130 w 13301756"/>
                  <a:gd name="T33" fmla="*/ 9512097 h 12713308"/>
                  <a:gd name="T34" fmla="*/ 1061691 w 13301756"/>
                  <a:gd name="T35" fmla="*/ 9070277 h 12713308"/>
                  <a:gd name="T36" fmla="*/ 0 w 13301756"/>
                  <a:gd name="T37" fmla="*/ 8365153 h 12713308"/>
                  <a:gd name="T38" fmla="*/ 533979 w 13301756"/>
                  <a:gd name="T39" fmla="*/ 7709068 h 12713308"/>
                  <a:gd name="T40" fmla="*/ 739887 w 13301756"/>
                  <a:gd name="T41" fmla="*/ 7077941 h 12713308"/>
                  <a:gd name="T42" fmla="*/ 1321978 w 13301756"/>
                  <a:gd name="T43" fmla="*/ 7325750 h 12713308"/>
                  <a:gd name="T44" fmla="*/ 1839011 w 13301756"/>
                  <a:gd name="T45" fmla="*/ 7622598 h 12713308"/>
                  <a:gd name="T46" fmla="*/ 2331089 w 13301756"/>
                  <a:gd name="T47" fmla="*/ 7060994 h 12713308"/>
                  <a:gd name="T48" fmla="*/ 2838315 w 13301756"/>
                  <a:gd name="T49" fmla="*/ 6214148 h 12713308"/>
                  <a:gd name="T50" fmla="*/ 3358079 w 13301756"/>
                  <a:gd name="T51" fmla="*/ 5658648 h 12713308"/>
                  <a:gd name="T52" fmla="*/ 4224479 w 13301756"/>
                  <a:gd name="T53" fmla="*/ 5404735 h 12713308"/>
                  <a:gd name="T54" fmla="*/ 4558761 w 13301756"/>
                  <a:gd name="T55" fmla="*/ 4429516 h 12713308"/>
                  <a:gd name="T56" fmla="*/ 5046370 w 13301756"/>
                  <a:gd name="T57" fmla="*/ 3783239 h 12713308"/>
                  <a:gd name="T58" fmla="*/ 5600836 w 13301756"/>
                  <a:gd name="T59" fmla="*/ 3365155 h 12713308"/>
                  <a:gd name="T60" fmla="*/ 6056352 w 13301756"/>
                  <a:gd name="T61" fmla="*/ 2966687 h 12713308"/>
                  <a:gd name="T62" fmla="*/ 6239105 w 13301756"/>
                  <a:gd name="T63" fmla="*/ 2380999 h 12713308"/>
                  <a:gd name="T64" fmla="*/ 5984157 w 13301756"/>
                  <a:gd name="T65" fmla="*/ 1529684 h 12713308"/>
                  <a:gd name="T66" fmla="*/ 6169060 w 13301756"/>
                  <a:gd name="T67" fmla="*/ 793395 h 12713308"/>
                  <a:gd name="T68" fmla="*/ 8144972 w 13301756"/>
                  <a:gd name="T69" fmla="*/ 541983 h 12713308"/>
                  <a:gd name="T70" fmla="*/ 9241426 w 13301756"/>
                  <a:gd name="T71" fmla="*/ 363702 h 12713308"/>
                  <a:gd name="T72" fmla="*/ 10156927 w 13301756"/>
                  <a:gd name="T73" fmla="*/ 143520 h 12713308"/>
                  <a:gd name="T74" fmla="*/ 10619582 w 13301756"/>
                  <a:gd name="T75" fmla="*/ 366375 h 12713308"/>
                  <a:gd name="T76" fmla="*/ 10963671 w 13301756"/>
                  <a:gd name="T77" fmla="*/ 1798909 h 12713308"/>
                  <a:gd name="T78" fmla="*/ 11327376 w 13301756"/>
                  <a:gd name="T79" fmla="*/ 3029076 h 12713308"/>
                  <a:gd name="T80" fmla="*/ 10725670 w 13301756"/>
                  <a:gd name="T81" fmla="*/ 3135164 h 12713308"/>
                  <a:gd name="T82" fmla="*/ 10995474 w 13301756"/>
                  <a:gd name="T83" fmla="*/ 3864836 h 12713308"/>
                  <a:gd name="T84" fmla="*/ 10928908 w 13301756"/>
                  <a:gd name="T85" fmla="*/ 5336080 h 12713308"/>
                  <a:gd name="T86" fmla="*/ 11854217 w 13301756"/>
                  <a:gd name="T87" fmla="*/ 5708723 h 12713308"/>
                  <a:gd name="T88" fmla="*/ 13151240 w 13301756"/>
                  <a:gd name="T89" fmla="*/ 7107365 h 12713308"/>
                  <a:gd name="T90" fmla="*/ 13042482 w 13301756"/>
                  <a:gd name="T91" fmla="*/ 8060299 h 12713308"/>
                  <a:gd name="T92" fmla="*/ 13301756 w 13301756"/>
                  <a:gd name="T93" fmla="*/ 8809883 h 12713308"/>
                  <a:gd name="T94" fmla="*/ 0 w 13301756"/>
                  <a:gd name="T95" fmla="*/ 0 h 12713308"/>
                  <a:gd name="T96" fmla="*/ 13301756 w 13301756"/>
                  <a:gd name="T97" fmla="*/ 12713308 h 127133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T94" t="T95" r="T96" b="T97"/>
                <a:pathLst>
                  <a:path w="13301756" h="12713308">
                    <a:moveTo>
                      <a:pt x="13301756" y="8809883"/>
                    </a:moveTo>
                    <a:lnTo>
                      <a:pt x="12359412" y="9369799"/>
                    </a:lnTo>
                    <a:lnTo>
                      <a:pt x="12106263" y="9340609"/>
                    </a:lnTo>
                    <a:lnTo>
                      <a:pt x="12040741" y="8990947"/>
                    </a:lnTo>
                    <a:lnTo>
                      <a:pt x="11796703" y="8871279"/>
                    </a:lnTo>
                    <a:lnTo>
                      <a:pt x="11261856" y="9085661"/>
                    </a:lnTo>
                    <a:lnTo>
                      <a:pt x="10753294" y="9325228"/>
                    </a:lnTo>
                    <a:lnTo>
                      <a:pt x="9424178" y="9375369"/>
                    </a:lnTo>
                    <a:lnTo>
                      <a:pt x="8985376" y="9119552"/>
                    </a:lnTo>
                    <a:lnTo>
                      <a:pt x="8226105" y="9421508"/>
                    </a:lnTo>
                    <a:lnTo>
                      <a:pt x="8511346" y="9750218"/>
                    </a:lnTo>
                    <a:lnTo>
                      <a:pt x="8163254" y="10030352"/>
                    </a:lnTo>
                    <a:lnTo>
                      <a:pt x="8858105" y="10920435"/>
                    </a:lnTo>
                    <a:lnTo>
                      <a:pt x="8443156" y="11165807"/>
                    </a:lnTo>
                    <a:lnTo>
                      <a:pt x="8039115" y="11064187"/>
                    </a:lnTo>
                    <a:lnTo>
                      <a:pt x="7291219" y="11470896"/>
                    </a:lnTo>
                    <a:lnTo>
                      <a:pt x="7150022" y="11385701"/>
                    </a:lnTo>
                    <a:lnTo>
                      <a:pt x="6859090" y="11712032"/>
                    </a:lnTo>
                    <a:lnTo>
                      <a:pt x="7031571" y="11948931"/>
                    </a:lnTo>
                    <a:lnTo>
                      <a:pt x="6413151" y="12570251"/>
                    </a:lnTo>
                    <a:lnTo>
                      <a:pt x="6098254" y="12517442"/>
                    </a:lnTo>
                    <a:lnTo>
                      <a:pt x="5786258" y="12713308"/>
                    </a:lnTo>
                    <a:lnTo>
                      <a:pt x="5708028" y="12369682"/>
                    </a:lnTo>
                    <a:lnTo>
                      <a:pt x="5046370" y="11997737"/>
                    </a:lnTo>
                    <a:lnTo>
                      <a:pt x="5039232" y="11586794"/>
                    </a:lnTo>
                    <a:lnTo>
                      <a:pt x="4288434" y="11638040"/>
                    </a:lnTo>
                    <a:lnTo>
                      <a:pt x="4175440" y="11445941"/>
                    </a:lnTo>
                    <a:lnTo>
                      <a:pt x="3995589" y="11195231"/>
                    </a:lnTo>
                    <a:lnTo>
                      <a:pt x="3283499" y="11370606"/>
                    </a:lnTo>
                    <a:lnTo>
                      <a:pt x="2955081" y="11040330"/>
                    </a:lnTo>
                    <a:lnTo>
                      <a:pt x="3012129" y="10708718"/>
                    </a:lnTo>
                    <a:lnTo>
                      <a:pt x="2269572" y="10421677"/>
                    </a:lnTo>
                    <a:lnTo>
                      <a:pt x="1744530" y="10115020"/>
                    </a:lnTo>
                    <a:cubicBezTo>
                      <a:pt x="1747063" y="9914046"/>
                      <a:pt x="1749597" y="9713071"/>
                      <a:pt x="1752130" y="9512097"/>
                    </a:cubicBezTo>
                    <a:lnTo>
                      <a:pt x="1848819" y="9035514"/>
                    </a:lnTo>
                    <a:lnTo>
                      <a:pt x="1061691" y="9070277"/>
                    </a:lnTo>
                    <a:lnTo>
                      <a:pt x="589229" y="8973997"/>
                    </a:lnTo>
                    <a:lnTo>
                      <a:pt x="0" y="8365153"/>
                    </a:lnTo>
                    <a:lnTo>
                      <a:pt x="31221" y="7817128"/>
                    </a:lnTo>
                    <a:lnTo>
                      <a:pt x="533979" y="7709068"/>
                    </a:lnTo>
                    <a:lnTo>
                      <a:pt x="443097" y="7482618"/>
                    </a:lnTo>
                    <a:lnTo>
                      <a:pt x="739887" y="7077941"/>
                    </a:lnTo>
                    <a:lnTo>
                      <a:pt x="1022459" y="6978991"/>
                    </a:lnTo>
                    <a:lnTo>
                      <a:pt x="1321978" y="7325750"/>
                    </a:lnTo>
                    <a:lnTo>
                      <a:pt x="1510069" y="7590505"/>
                    </a:lnTo>
                    <a:lnTo>
                      <a:pt x="1839011" y="7622598"/>
                    </a:lnTo>
                    <a:cubicBezTo>
                      <a:pt x="1839611" y="7252064"/>
                      <a:pt x="1840210" y="6881531"/>
                      <a:pt x="1840810" y="6510997"/>
                    </a:cubicBezTo>
                    <a:lnTo>
                      <a:pt x="2331089" y="7060994"/>
                    </a:lnTo>
                    <a:lnTo>
                      <a:pt x="2907841" y="6679472"/>
                    </a:lnTo>
                    <a:lnTo>
                      <a:pt x="2838315" y="6214148"/>
                    </a:lnTo>
                    <a:lnTo>
                      <a:pt x="3341071" y="6092913"/>
                    </a:lnTo>
                    <a:lnTo>
                      <a:pt x="3358079" y="5658648"/>
                    </a:lnTo>
                    <a:lnTo>
                      <a:pt x="3546109" y="5382450"/>
                    </a:lnTo>
                    <a:lnTo>
                      <a:pt x="4224479" y="5404735"/>
                    </a:lnTo>
                    <a:lnTo>
                      <a:pt x="4469619" y="4840462"/>
                    </a:lnTo>
                    <a:lnTo>
                      <a:pt x="4558761" y="4429516"/>
                    </a:lnTo>
                    <a:lnTo>
                      <a:pt x="4479427" y="3986477"/>
                    </a:lnTo>
                    <a:lnTo>
                      <a:pt x="5046370" y="3783239"/>
                    </a:lnTo>
                    <a:lnTo>
                      <a:pt x="5435030" y="3684289"/>
                    </a:lnTo>
                    <a:lnTo>
                      <a:pt x="5600836" y="3365155"/>
                    </a:lnTo>
                    <a:lnTo>
                      <a:pt x="5779119" y="3011258"/>
                    </a:lnTo>
                    <a:lnTo>
                      <a:pt x="6056352" y="2966687"/>
                    </a:lnTo>
                    <a:lnTo>
                      <a:pt x="6276200" y="2721569"/>
                    </a:lnTo>
                    <a:lnTo>
                      <a:pt x="6239105" y="2380999"/>
                    </a:lnTo>
                    <a:lnTo>
                      <a:pt x="6172249" y="1903197"/>
                    </a:lnTo>
                    <a:lnTo>
                      <a:pt x="5984157" y="1529684"/>
                    </a:lnTo>
                    <a:lnTo>
                      <a:pt x="6083107" y="1141024"/>
                    </a:lnTo>
                    <a:lnTo>
                      <a:pt x="6169060" y="793395"/>
                    </a:lnTo>
                    <a:lnTo>
                      <a:pt x="7751843" y="692642"/>
                    </a:lnTo>
                    <a:lnTo>
                      <a:pt x="8144972" y="541983"/>
                    </a:lnTo>
                    <a:lnTo>
                      <a:pt x="8530962" y="608842"/>
                    </a:lnTo>
                    <a:lnTo>
                      <a:pt x="9241426" y="363702"/>
                    </a:lnTo>
                    <a:lnTo>
                      <a:pt x="9770937" y="197896"/>
                    </a:lnTo>
                    <a:lnTo>
                      <a:pt x="10156927" y="143520"/>
                    </a:lnTo>
                    <a:lnTo>
                      <a:pt x="10533110" y="0"/>
                    </a:lnTo>
                    <a:lnTo>
                      <a:pt x="10619582" y="366375"/>
                    </a:lnTo>
                    <a:lnTo>
                      <a:pt x="10517963" y="1844350"/>
                    </a:lnTo>
                    <a:lnTo>
                      <a:pt x="10963671" y="1798909"/>
                    </a:lnTo>
                    <a:lnTo>
                      <a:pt x="11005572" y="2702803"/>
                    </a:lnTo>
                    <a:lnTo>
                      <a:pt x="11327376" y="3029076"/>
                    </a:lnTo>
                    <a:lnTo>
                      <a:pt x="11034996" y="3628112"/>
                    </a:lnTo>
                    <a:lnTo>
                      <a:pt x="10725670" y="3135164"/>
                    </a:lnTo>
                    <a:lnTo>
                      <a:pt x="10626720" y="3692299"/>
                    </a:lnTo>
                    <a:lnTo>
                      <a:pt x="10995474" y="3864836"/>
                    </a:lnTo>
                    <a:lnTo>
                      <a:pt x="10693576" y="4125530"/>
                    </a:lnTo>
                    <a:lnTo>
                      <a:pt x="10928908" y="5336080"/>
                    </a:lnTo>
                    <a:lnTo>
                      <a:pt x="11512798" y="5711393"/>
                    </a:lnTo>
                    <a:lnTo>
                      <a:pt x="11854217" y="5708723"/>
                    </a:lnTo>
                    <a:lnTo>
                      <a:pt x="12956010" y="6533283"/>
                    </a:lnTo>
                    <a:lnTo>
                      <a:pt x="13151240" y="7107365"/>
                    </a:lnTo>
                    <a:lnTo>
                      <a:pt x="12237538" y="7964019"/>
                    </a:lnTo>
                    <a:lnTo>
                      <a:pt x="13042482" y="8060299"/>
                    </a:lnTo>
                    <a:lnTo>
                      <a:pt x="13151240" y="8404388"/>
                    </a:lnTo>
                    <a:lnTo>
                      <a:pt x="13301756" y="8809883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>
                  <a:defRPr/>
                </a:pPr>
                <a:endParaRPr lang="zh-CN" altLang="en-US" kern="0">
                  <a:solidFill>
                    <a:sysClr val="windowText" lastClr="000000"/>
                  </a:solidFill>
                  <a:latin typeface="Calibri"/>
                  <a:ea typeface="宋体" panose="02010600030101010101" pitchFamily="2" charset="-122"/>
                </a:endParaRPr>
              </a:p>
            </p:txBody>
          </p:sp>
          <p:sp>
            <p:nvSpPr>
              <p:cNvPr id="55" name="任意多边形 17">
                <a:extLst>
                  <a:ext uri="{FF2B5EF4-FFF2-40B4-BE49-F238E27FC236}">
                    <a16:creationId xmlns:a16="http://schemas.microsoft.com/office/drawing/2014/main" id="{8864ABFE-E151-4F4C-A985-5778419878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0675" y="1411288"/>
                <a:ext cx="984250" cy="874713"/>
              </a:xfrm>
              <a:custGeom>
                <a:avLst/>
                <a:gdLst>
                  <a:gd name="T0" fmla="*/ 8209159 w 11529504"/>
                  <a:gd name="T1" fmla="*/ 395380 h 10244780"/>
                  <a:gd name="T2" fmla="*/ 7397076 w 11529504"/>
                  <a:gd name="T3" fmla="*/ 4050 h 10244780"/>
                  <a:gd name="T4" fmla="*/ 6399572 w 11529504"/>
                  <a:gd name="T5" fmla="*/ 48621 h 10244780"/>
                  <a:gd name="T6" fmla="*/ 5813013 w 11529504"/>
                  <a:gd name="T7" fmla="*/ 756415 h 10244780"/>
                  <a:gd name="T8" fmla="*/ 5446638 w 11529504"/>
                  <a:gd name="T9" fmla="*/ 1769067 h 10244780"/>
                  <a:gd name="T10" fmla="*/ 4803030 w 11529504"/>
                  <a:gd name="T11" fmla="*/ 2078393 h 10244780"/>
                  <a:gd name="T12" fmla="*/ 2887470 w 11529504"/>
                  <a:gd name="T13" fmla="*/ 2090812 h 10244780"/>
                  <a:gd name="T14" fmla="*/ 2323951 w 11529504"/>
                  <a:gd name="T15" fmla="*/ 2226382 h 10244780"/>
                  <a:gd name="T16" fmla="*/ 2627939 w 11529504"/>
                  <a:gd name="T17" fmla="*/ 3112460 h 10244780"/>
                  <a:gd name="T18" fmla="*/ 3118218 w 11529504"/>
                  <a:gd name="T19" fmla="*/ 3733782 h 10244780"/>
                  <a:gd name="T20" fmla="*/ 2569091 w 11529504"/>
                  <a:gd name="T21" fmla="*/ 3498450 h 10244780"/>
                  <a:gd name="T22" fmla="*/ 2524520 w 11529504"/>
                  <a:gd name="T23" fmla="*/ 4183959 h 10244780"/>
                  <a:gd name="T24" fmla="*/ 1727931 w 11529504"/>
                  <a:gd name="T25" fmla="*/ 5361951 h 10244780"/>
                  <a:gd name="T26" fmla="*/ 1274738 w 11529504"/>
                  <a:gd name="T27" fmla="*/ 6411630 h 10244780"/>
                  <a:gd name="T28" fmla="*/ 618653 w 11529504"/>
                  <a:gd name="T29" fmla="*/ 6371528 h 10244780"/>
                  <a:gd name="T30" fmla="*/ 302188 w 11529504"/>
                  <a:gd name="T31" fmla="*/ 6906378 h 10244780"/>
                  <a:gd name="T32" fmla="*/ 0 w 11529504"/>
                  <a:gd name="T33" fmla="*/ 7388648 h 10244780"/>
                  <a:gd name="T34" fmla="*/ 517031 w 11529504"/>
                  <a:gd name="T35" fmla="*/ 8264918 h 10244780"/>
                  <a:gd name="T36" fmla="*/ 1625963 w 11529504"/>
                  <a:gd name="T37" fmla="*/ 8908525 h 10244780"/>
                  <a:gd name="T38" fmla="*/ 1776271 w 11529504"/>
                  <a:gd name="T39" fmla="*/ 9561255 h 10244780"/>
                  <a:gd name="T40" fmla="*/ 2925656 w 11529504"/>
                  <a:gd name="T41" fmla="*/ 10101262 h 10244780"/>
                  <a:gd name="T42" fmla="*/ 3640588 w 11529504"/>
                  <a:gd name="T43" fmla="*/ 10155638 h 10244780"/>
                  <a:gd name="T44" fmla="*/ 3917821 w 11529504"/>
                  <a:gd name="T45" fmla="*/ 8826522 h 10244780"/>
                  <a:gd name="T46" fmla="*/ 4934942 w 11529504"/>
                  <a:gd name="T47" fmla="*/ 9141187 h 10244780"/>
                  <a:gd name="T48" fmla="*/ 5598165 w 11529504"/>
                  <a:gd name="T49" fmla="*/ 9336417 h 10244780"/>
                  <a:gd name="T50" fmla="*/ 5786256 w 11529504"/>
                  <a:gd name="T51" fmla="*/ 8660716 h 10244780"/>
                  <a:gd name="T52" fmla="*/ 6060820 w 11529504"/>
                  <a:gd name="T53" fmla="*/ 8239963 h 10244780"/>
                  <a:gd name="T54" fmla="*/ 6322905 w 11529504"/>
                  <a:gd name="T55" fmla="*/ 7665881 h 10244780"/>
                  <a:gd name="T56" fmla="*/ 7278509 w 11529504"/>
                  <a:gd name="T57" fmla="*/ 7604364 h 10244780"/>
                  <a:gd name="T58" fmla="*/ 8129823 w 11529504"/>
                  <a:gd name="T59" fmla="*/ 7779978 h 10244780"/>
                  <a:gd name="T60" fmla="*/ 8633623 w 11529504"/>
                  <a:gd name="T61" fmla="*/ 7746258 h 10244780"/>
                  <a:gd name="T62" fmla="*/ 9050376 w 11529504"/>
                  <a:gd name="T63" fmla="*/ 6975323 h 10244780"/>
                  <a:gd name="T64" fmla="*/ 9802158 w 11529504"/>
                  <a:gd name="T65" fmla="*/ 7532747 h 10244780"/>
                  <a:gd name="T66" fmla="*/ 10953574 w 11529504"/>
                  <a:gd name="T67" fmla="*/ 7324462 h 10244780"/>
                  <a:gd name="T68" fmla="*/ 11149616 w 11529504"/>
                  <a:gd name="T69" fmla="*/ 6824197 h 10244780"/>
                  <a:gd name="T70" fmla="*/ 11529504 w 11529504"/>
                  <a:gd name="T71" fmla="*/ 6153084 h 10244780"/>
                  <a:gd name="T72" fmla="*/ 10960663 w 11529504"/>
                  <a:gd name="T73" fmla="*/ 5676178 h 10244780"/>
                  <a:gd name="T74" fmla="*/ 10493006 w 11529504"/>
                  <a:gd name="T75" fmla="*/ 5570126 h 10244780"/>
                  <a:gd name="T76" fmla="*/ 9795020 w 11529504"/>
                  <a:gd name="T77" fmla="*/ 4678709 h 10244780"/>
                  <a:gd name="T78" fmla="*/ 10403865 w 11529504"/>
                  <a:gd name="T79" fmla="*/ 3516269 h 10244780"/>
                  <a:gd name="T80" fmla="*/ 10042829 w 11529504"/>
                  <a:gd name="T81" fmla="*/ 2812944 h 10244780"/>
                  <a:gd name="T82" fmla="*/ 9730834 w 11529504"/>
                  <a:gd name="T83" fmla="*/ 1951821 h 10244780"/>
                  <a:gd name="T84" fmla="*/ 10309382 w 11529504"/>
                  <a:gd name="T85" fmla="*/ 1771741 h 10244780"/>
                  <a:gd name="T86" fmla="*/ 10586615 w 11529504"/>
                  <a:gd name="T87" fmla="*/ 927565 h 10244780"/>
                  <a:gd name="T88" fmla="*/ 10388716 w 11529504"/>
                  <a:gd name="T89" fmla="*/ 325858 h 10244780"/>
                  <a:gd name="T90" fmla="*/ 9367126 w 11529504"/>
                  <a:gd name="T91" fmla="*/ 605761 h 10244780"/>
                  <a:gd name="T92" fmla="*/ 8770759 w 11529504"/>
                  <a:gd name="T93" fmla="*/ 38818 h 10244780"/>
                  <a:gd name="T94" fmla="*/ 0 w 11529504"/>
                  <a:gd name="T95" fmla="*/ 0 h 10244780"/>
                  <a:gd name="T96" fmla="*/ 11529504 w 11529504"/>
                  <a:gd name="T97" fmla="*/ 10244780 h 102447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T94" t="T95" r="T96" b="T97"/>
                <a:pathLst>
                  <a:path w="11529504" h="10244780">
                    <a:moveTo>
                      <a:pt x="8353988" y="0"/>
                    </a:moveTo>
                    <a:lnTo>
                      <a:pt x="8209159" y="395380"/>
                    </a:lnTo>
                    <a:lnTo>
                      <a:pt x="7696595" y="417665"/>
                    </a:lnTo>
                    <a:lnTo>
                      <a:pt x="7397076" y="4050"/>
                    </a:lnTo>
                    <a:lnTo>
                      <a:pt x="7033371" y="439950"/>
                    </a:lnTo>
                    <a:lnTo>
                      <a:pt x="6399572" y="48621"/>
                    </a:lnTo>
                    <a:lnTo>
                      <a:pt x="6179387" y="481852"/>
                    </a:lnTo>
                    <a:lnTo>
                      <a:pt x="5813013" y="756415"/>
                    </a:lnTo>
                    <a:lnTo>
                      <a:pt x="5567873" y="1568498"/>
                    </a:lnTo>
                    <a:lnTo>
                      <a:pt x="5446638" y="1769067"/>
                    </a:lnTo>
                    <a:lnTo>
                      <a:pt x="5213976" y="2046300"/>
                    </a:lnTo>
                    <a:lnTo>
                      <a:pt x="4803030" y="2078393"/>
                    </a:lnTo>
                    <a:lnTo>
                      <a:pt x="4454472" y="2358295"/>
                    </a:lnTo>
                    <a:lnTo>
                      <a:pt x="2887470" y="2090812"/>
                    </a:lnTo>
                    <a:lnTo>
                      <a:pt x="2878417" y="2585618"/>
                    </a:lnTo>
                    <a:lnTo>
                      <a:pt x="2323951" y="2226382"/>
                    </a:lnTo>
                    <a:lnTo>
                      <a:pt x="2333759" y="2577610"/>
                    </a:lnTo>
                    <a:lnTo>
                      <a:pt x="2627939" y="3112460"/>
                    </a:lnTo>
                    <a:lnTo>
                      <a:pt x="3175266" y="3377215"/>
                    </a:lnTo>
                    <a:lnTo>
                      <a:pt x="3118218" y="3733782"/>
                    </a:lnTo>
                    <a:lnTo>
                      <a:pt x="2922988" y="3879972"/>
                    </a:lnTo>
                    <a:lnTo>
                      <a:pt x="2569091" y="3498450"/>
                    </a:lnTo>
                    <a:lnTo>
                      <a:pt x="2266903" y="3839870"/>
                    </a:lnTo>
                    <a:lnTo>
                      <a:pt x="2524520" y="4183959"/>
                    </a:lnTo>
                    <a:lnTo>
                      <a:pt x="1616157" y="4901561"/>
                    </a:lnTo>
                    <a:lnTo>
                      <a:pt x="1727931" y="5361951"/>
                    </a:lnTo>
                    <a:lnTo>
                      <a:pt x="1816726" y="5765353"/>
                    </a:lnTo>
                    <a:lnTo>
                      <a:pt x="1274738" y="6411630"/>
                    </a:lnTo>
                    <a:lnTo>
                      <a:pt x="1099124" y="6109442"/>
                    </a:lnTo>
                    <a:lnTo>
                      <a:pt x="618653" y="6371528"/>
                    </a:lnTo>
                    <a:lnTo>
                      <a:pt x="846846" y="6884092"/>
                    </a:lnTo>
                    <a:lnTo>
                      <a:pt x="302188" y="6906378"/>
                    </a:lnTo>
                    <a:lnTo>
                      <a:pt x="47240" y="7091800"/>
                    </a:lnTo>
                    <a:lnTo>
                      <a:pt x="0" y="7388648"/>
                    </a:lnTo>
                    <a:lnTo>
                      <a:pt x="321801" y="7787116"/>
                    </a:lnTo>
                    <a:lnTo>
                      <a:pt x="517031" y="8264918"/>
                    </a:lnTo>
                    <a:lnTo>
                      <a:pt x="1259588" y="8529673"/>
                    </a:lnTo>
                    <a:lnTo>
                      <a:pt x="1625963" y="8908525"/>
                    </a:lnTo>
                    <a:lnTo>
                      <a:pt x="1888049" y="8888910"/>
                    </a:lnTo>
                    <a:lnTo>
                      <a:pt x="1776271" y="9561255"/>
                    </a:lnTo>
                    <a:lnTo>
                      <a:pt x="2237477" y="9960411"/>
                    </a:lnTo>
                    <a:lnTo>
                      <a:pt x="2925656" y="10101262"/>
                    </a:lnTo>
                    <a:lnTo>
                      <a:pt x="3200219" y="10244780"/>
                    </a:lnTo>
                    <a:lnTo>
                      <a:pt x="3640588" y="10155638"/>
                    </a:lnTo>
                    <a:lnTo>
                      <a:pt x="3672682" y="9108224"/>
                    </a:lnTo>
                    <a:lnTo>
                      <a:pt x="3917821" y="8826522"/>
                    </a:lnTo>
                    <a:lnTo>
                      <a:pt x="4578375" y="8730242"/>
                    </a:lnTo>
                    <a:lnTo>
                      <a:pt x="4934942" y="9141187"/>
                    </a:lnTo>
                    <a:lnTo>
                      <a:pt x="5145318" y="9527178"/>
                    </a:lnTo>
                    <a:lnTo>
                      <a:pt x="5598165" y="9336417"/>
                    </a:lnTo>
                    <a:lnTo>
                      <a:pt x="5563402" y="9014613"/>
                    </a:lnTo>
                    <a:lnTo>
                      <a:pt x="5786256" y="8660716"/>
                    </a:lnTo>
                    <a:lnTo>
                      <a:pt x="6095583" y="8574244"/>
                    </a:lnTo>
                    <a:lnTo>
                      <a:pt x="6060820" y="8239963"/>
                    </a:lnTo>
                    <a:lnTo>
                      <a:pt x="6501189" y="7987685"/>
                    </a:lnTo>
                    <a:lnTo>
                      <a:pt x="6322905" y="7665881"/>
                    </a:lnTo>
                    <a:lnTo>
                      <a:pt x="6726713" y="7188080"/>
                    </a:lnTo>
                    <a:lnTo>
                      <a:pt x="7278509" y="7604364"/>
                    </a:lnTo>
                    <a:lnTo>
                      <a:pt x="7587835" y="7802263"/>
                    </a:lnTo>
                    <a:lnTo>
                      <a:pt x="8129823" y="7779978"/>
                    </a:lnTo>
                    <a:lnTo>
                      <a:pt x="8295629" y="7911021"/>
                    </a:lnTo>
                    <a:lnTo>
                      <a:pt x="8633623" y="7746258"/>
                    </a:lnTo>
                    <a:lnTo>
                      <a:pt x="8733621" y="7131321"/>
                    </a:lnTo>
                    <a:lnTo>
                      <a:pt x="9050376" y="6975323"/>
                    </a:lnTo>
                    <a:lnTo>
                      <a:pt x="9372180" y="7331890"/>
                    </a:lnTo>
                    <a:lnTo>
                      <a:pt x="9802158" y="7532747"/>
                    </a:lnTo>
                    <a:lnTo>
                      <a:pt x="10815103" y="7527700"/>
                    </a:lnTo>
                    <a:lnTo>
                      <a:pt x="10953574" y="7324462"/>
                    </a:lnTo>
                    <a:lnTo>
                      <a:pt x="11030238" y="7002658"/>
                    </a:lnTo>
                    <a:lnTo>
                      <a:pt x="11149616" y="6824197"/>
                    </a:lnTo>
                    <a:lnTo>
                      <a:pt x="10824620" y="6438384"/>
                    </a:lnTo>
                    <a:lnTo>
                      <a:pt x="11529504" y="6153084"/>
                    </a:lnTo>
                    <a:lnTo>
                      <a:pt x="11184781" y="5899068"/>
                    </a:lnTo>
                    <a:lnTo>
                      <a:pt x="10960663" y="5676178"/>
                    </a:lnTo>
                    <a:lnTo>
                      <a:pt x="10690905" y="5792980"/>
                    </a:lnTo>
                    <a:lnTo>
                      <a:pt x="10493006" y="5570126"/>
                    </a:lnTo>
                    <a:lnTo>
                      <a:pt x="9970634" y="5837551"/>
                    </a:lnTo>
                    <a:lnTo>
                      <a:pt x="9795020" y="4678709"/>
                    </a:lnTo>
                    <a:lnTo>
                      <a:pt x="9619406" y="4327482"/>
                    </a:lnTo>
                    <a:lnTo>
                      <a:pt x="10403865" y="3516269"/>
                    </a:lnTo>
                    <a:lnTo>
                      <a:pt x="10095816" y="3302296"/>
                    </a:lnTo>
                    <a:lnTo>
                      <a:pt x="10042829" y="2812944"/>
                    </a:lnTo>
                    <a:lnTo>
                      <a:pt x="9842261" y="2344950"/>
                    </a:lnTo>
                    <a:lnTo>
                      <a:pt x="9730834" y="1951821"/>
                    </a:lnTo>
                    <a:lnTo>
                      <a:pt x="9930530" y="1558695"/>
                    </a:lnTo>
                    <a:lnTo>
                      <a:pt x="10309382" y="1771741"/>
                    </a:lnTo>
                    <a:lnTo>
                      <a:pt x="10395854" y="1373273"/>
                    </a:lnTo>
                    <a:lnTo>
                      <a:pt x="10586615" y="927565"/>
                    </a:lnTo>
                    <a:lnTo>
                      <a:pt x="10604431" y="593283"/>
                    </a:lnTo>
                    <a:lnTo>
                      <a:pt x="10388716" y="325858"/>
                    </a:lnTo>
                    <a:lnTo>
                      <a:pt x="9996052" y="581152"/>
                    </a:lnTo>
                    <a:lnTo>
                      <a:pt x="9367126" y="605761"/>
                    </a:lnTo>
                    <a:lnTo>
                      <a:pt x="9114848" y="306243"/>
                    </a:lnTo>
                    <a:lnTo>
                      <a:pt x="8770759" y="38818"/>
                    </a:lnTo>
                    <a:lnTo>
                      <a:pt x="8353988" y="0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>
                  <a:defRPr/>
                </a:pPr>
                <a:endParaRPr lang="zh-CN" altLang="en-US" kern="0">
                  <a:solidFill>
                    <a:sysClr val="windowText" lastClr="000000"/>
                  </a:solidFill>
                  <a:latin typeface="Calibri"/>
                  <a:ea typeface="宋体" panose="02010600030101010101" pitchFamily="2" charset="-122"/>
                </a:endParaRPr>
              </a:p>
            </p:txBody>
          </p:sp>
          <p:sp>
            <p:nvSpPr>
              <p:cNvPr id="56" name="任意多边形 18">
                <a:extLst>
                  <a:ext uri="{FF2B5EF4-FFF2-40B4-BE49-F238E27FC236}">
                    <a16:creationId xmlns:a16="http://schemas.microsoft.com/office/drawing/2014/main" id="{CEA8F81A-DDAB-44C1-92D3-9F519F9CE7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82963" y="1119188"/>
                <a:ext cx="1285875" cy="952500"/>
              </a:xfrm>
              <a:custGeom>
                <a:avLst/>
                <a:gdLst>
                  <a:gd name="T0" fmla="*/ 1897863 w 15050842"/>
                  <a:gd name="T1" fmla="*/ 3112873 h 11149203"/>
                  <a:gd name="T2" fmla="*/ 2235684 w 15050842"/>
                  <a:gd name="T3" fmla="*/ 2209850 h 11149203"/>
                  <a:gd name="T4" fmla="*/ 1693693 w 15050842"/>
                  <a:gd name="T5" fmla="*/ 1663395 h 11149203"/>
                  <a:gd name="T6" fmla="*/ 1270270 w 15050842"/>
                  <a:gd name="T7" fmla="*/ 2240146 h 11149203"/>
                  <a:gd name="T8" fmla="*/ 1413790 w 15050842"/>
                  <a:gd name="T9" fmla="*/ 1584061 h 11149203"/>
                  <a:gd name="T10" fmla="*/ 0 w 15050842"/>
                  <a:gd name="T11" fmla="*/ 1363876 h 11149203"/>
                  <a:gd name="T12" fmla="*/ 459059 w 15050842"/>
                  <a:gd name="T13" fmla="*/ 497417 h 11149203"/>
                  <a:gd name="T14" fmla="*/ 1597414 w 15050842"/>
                  <a:gd name="T15" fmla="*/ 334281 h 11149203"/>
                  <a:gd name="T16" fmla="*/ 2431783 w 15050842"/>
                  <a:gd name="T17" fmla="*/ 0 h 11149203"/>
                  <a:gd name="T18" fmla="*/ 3220710 w 15050842"/>
                  <a:gd name="T19" fmla="*/ 111429 h 11149203"/>
                  <a:gd name="T20" fmla="*/ 3908888 w 15050842"/>
                  <a:gd name="T21" fmla="*/ 772853 h 11149203"/>
                  <a:gd name="T22" fmla="*/ 4760203 w 15050842"/>
                  <a:gd name="T23" fmla="*/ 787130 h 11149203"/>
                  <a:gd name="T24" fmla="*/ 6183800 w 15050842"/>
                  <a:gd name="T25" fmla="*/ 24957 h 11149203"/>
                  <a:gd name="T26" fmla="*/ 6024262 w 15050842"/>
                  <a:gd name="T27" fmla="*/ 990368 h 11149203"/>
                  <a:gd name="T28" fmla="*/ 6135689 w 15050842"/>
                  <a:gd name="T29" fmla="*/ 1688355 h 11149203"/>
                  <a:gd name="T30" fmla="*/ 5809417 w 15050842"/>
                  <a:gd name="T31" fmla="*/ 2386341 h 11149203"/>
                  <a:gd name="T32" fmla="*/ 6684407 w 15050842"/>
                  <a:gd name="T33" fmla="*/ 2595264 h 11149203"/>
                  <a:gd name="T34" fmla="*/ 7326625 w 15050842"/>
                  <a:gd name="T35" fmla="*/ 1740064 h 11149203"/>
                  <a:gd name="T36" fmla="*/ 7932800 w 15050842"/>
                  <a:gd name="T37" fmla="*/ 2118916 h 11149203"/>
                  <a:gd name="T38" fmla="*/ 8816208 w 15050842"/>
                  <a:gd name="T39" fmla="*/ 1893392 h 11149203"/>
                  <a:gd name="T40" fmla="*/ 9482101 w 15050842"/>
                  <a:gd name="T41" fmla="*/ 2881088 h 11149203"/>
                  <a:gd name="T42" fmla="*/ 9600666 w 15050842"/>
                  <a:gd name="T43" fmla="*/ 3883062 h 11149203"/>
                  <a:gd name="T44" fmla="*/ 9877899 w 15050842"/>
                  <a:gd name="T45" fmla="*/ 5160468 h 11149203"/>
                  <a:gd name="T46" fmla="*/ 8954389 w 15050842"/>
                  <a:gd name="T47" fmla="*/ 6251583 h 11149203"/>
                  <a:gd name="T48" fmla="*/ 9858283 w 15050842"/>
                  <a:gd name="T49" fmla="*/ 6092916 h 11149203"/>
                  <a:gd name="T50" fmla="*/ 10457320 w 15050842"/>
                  <a:gd name="T51" fmla="*/ 5454648 h 11149203"/>
                  <a:gd name="T52" fmla="*/ 10541123 w 15050842"/>
                  <a:gd name="T53" fmla="*/ 6043876 h 11149203"/>
                  <a:gd name="T54" fmla="*/ 10907497 w 15050842"/>
                  <a:gd name="T55" fmla="*/ 7442518 h 11149203"/>
                  <a:gd name="T56" fmla="*/ 11009116 w 15050842"/>
                  <a:gd name="T57" fmla="*/ 8167258 h 11149203"/>
                  <a:gd name="T58" fmla="*/ 13285827 w 15050842"/>
                  <a:gd name="T59" fmla="*/ 7174223 h 11149203"/>
                  <a:gd name="T60" fmla="*/ 13273350 w 15050842"/>
                  <a:gd name="T61" fmla="*/ 6583195 h 11149203"/>
                  <a:gd name="T62" fmla="*/ 14139812 w 15050842"/>
                  <a:gd name="T63" fmla="*/ 7692126 h 11149203"/>
                  <a:gd name="T64" fmla="*/ 14359994 w 15050842"/>
                  <a:gd name="T65" fmla="*/ 8528289 h 11149203"/>
                  <a:gd name="T66" fmla="*/ 14768270 w 15050842"/>
                  <a:gd name="T67" fmla="*/ 10134638 h 11149203"/>
                  <a:gd name="T68" fmla="*/ 14897514 w 15050842"/>
                  <a:gd name="T69" fmla="*/ 10687304 h 11149203"/>
                  <a:gd name="T70" fmla="*/ 14100290 w 15050842"/>
                  <a:gd name="T71" fmla="*/ 10354537 h 11149203"/>
                  <a:gd name="T72" fmla="*/ 13308113 w 15050842"/>
                  <a:gd name="T73" fmla="*/ 10560155 h 11149203"/>
                  <a:gd name="T74" fmla="*/ 12108818 w 15050842"/>
                  <a:gd name="T75" fmla="*/ 10959376 h 11149203"/>
                  <a:gd name="T76" fmla="*/ 11318733 w 15050842"/>
                  <a:gd name="T77" fmla="*/ 11042715 h 11149203"/>
                  <a:gd name="T78" fmla="*/ 9509435 w 15050842"/>
                  <a:gd name="T79" fmla="*/ 10832338 h 11149203"/>
                  <a:gd name="T80" fmla="*/ 8960018 w 15050842"/>
                  <a:gd name="T81" fmla="*/ 10478441 h 11149203"/>
                  <a:gd name="T82" fmla="*/ 8182988 w 15050842"/>
                  <a:gd name="T83" fmla="*/ 10322443 h 11149203"/>
                  <a:gd name="T84" fmla="*/ 7452909 w 15050842"/>
                  <a:gd name="T85" fmla="*/ 10394349 h 11149203"/>
                  <a:gd name="T86" fmla="*/ 7137838 w 15050842"/>
                  <a:gd name="T87" fmla="*/ 9925890 h 11149203"/>
                  <a:gd name="T88" fmla="*/ 6443216 w 15050842"/>
                  <a:gd name="T89" fmla="*/ 9986073 h 11149203"/>
                  <a:gd name="T90" fmla="*/ 6084153 w 15050842"/>
                  <a:gd name="T91" fmla="*/ 9530091 h 11149203"/>
                  <a:gd name="T92" fmla="*/ 5398472 w 15050842"/>
                  <a:gd name="T93" fmla="*/ 9550744 h 11149203"/>
                  <a:gd name="T94" fmla="*/ 4851680 w 15050842"/>
                  <a:gd name="T95" fmla="*/ 9092523 h 11149203"/>
                  <a:gd name="T96" fmla="*/ 4384023 w 15050842"/>
                  <a:gd name="T97" fmla="*/ 8986471 h 11149203"/>
                  <a:gd name="T98" fmla="*/ 3686037 w 15050842"/>
                  <a:gd name="T99" fmla="*/ 8095054 h 11149203"/>
                  <a:gd name="T100" fmla="*/ 4294882 w 15050842"/>
                  <a:gd name="T101" fmla="*/ 6932614 h 11149203"/>
                  <a:gd name="T102" fmla="*/ 3933846 w 15050842"/>
                  <a:gd name="T103" fmla="*/ 6229289 h 11149203"/>
                  <a:gd name="T104" fmla="*/ 3621851 w 15050842"/>
                  <a:gd name="T105" fmla="*/ 5368166 h 11149203"/>
                  <a:gd name="T106" fmla="*/ 4200399 w 15050842"/>
                  <a:gd name="T107" fmla="*/ 5188086 h 11149203"/>
                  <a:gd name="T108" fmla="*/ 4477632 w 15050842"/>
                  <a:gd name="T109" fmla="*/ 4343910 h 11149203"/>
                  <a:gd name="T110" fmla="*/ 4279733 w 15050842"/>
                  <a:gd name="T111" fmla="*/ 3742203 h 11149203"/>
                  <a:gd name="T112" fmla="*/ 3258143 w 15050842"/>
                  <a:gd name="T113" fmla="*/ 4022106 h 11149203"/>
                  <a:gd name="T114" fmla="*/ 2661776 w 15050842"/>
                  <a:gd name="T115" fmla="*/ 3455163 h 11149203"/>
                  <a:gd name="T116" fmla="*/ 0 w 15050842"/>
                  <a:gd name="T117" fmla="*/ 0 h 11149203"/>
                  <a:gd name="T118" fmla="*/ 15050842 w 15050842"/>
                  <a:gd name="T119" fmla="*/ 11149203 h 11149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T116" t="T117" r="T118" b="T119"/>
                <a:pathLst>
                  <a:path w="15050842" h="11149203">
                    <a:moveTo>
                      <a:pt x="2245005" y="3416345"/>
                    </a:moveTo>
                    <a:lnTo>
                      <a:pt x="1897863" y="3112873"/>
                    </a:lnTo>
                    <a:lnTo>
                      <a:pt x="2177765" y="2701928"/>
                    </a:lnTo>
                    <a:lnTo>
                      <a:pt x="2235684" y="2209850"/>
                    </a:lnTo>
                    <a:lnTo>
                      <a:pt x="2067206" y="1861294"/>
                    </a:lnTo>
                    <a:lnTo>
                      <a:pt x="1693693" y="1663395"/>
                    </a:lnTo>
                    <a:lnTo>
                      <a:pt x="1617029" y="2188437"/>
                    </a:lnTo>
                    <a:lnTo>
                      <a:pt x="1270270" y="2240146"/>
                    </a:lnTo>
                    <a:lnTo>
                      <a:pt x="903895" y="1995007"/>
                    </a:lnTo>
                    <a:lnTo>
                      <a:pt x="1413790" y="1584061"/>
                    </a:lnTo>
                    <a:lnTo>
                      <a:pt x="537520" y="1586731"/>
                    </a:lnTo>
                    <a:lnTo>
                      <a:pt x="0" y="1363876"/>
                    </a:lnTo>
                    <a:lnTo>
                      <a:pt x="600314" y="1162727"/>
                    </a:lnTo>
                    <a:lnTo>
                      <a:pt x="459059" y="497417"/>
                    </a:lnTo>
                    <a:lnTo>
                      <a:pt x="993909" y="604376"/>
                    </a:lnTo>
                    <a:lnTo>
                      <a:pt x="1597414" y="334281"/>
                    </a:lnTo>
                    <a:lnTo>
                      <a:pt x="1708841" y="604376"/>
                    </a:lnTo>
                    <a:lnTo>
                      <a:pt x="2431783" y="0"/>
                    </a:lnTo>
                    <a:lnTo>
                      <a:pt x="2916723" y="562477"/>
                    </a:lnTo>
                    <a:lnTo>
                      <a:pt x="3220710" y="111429"/>
                    </a:lnTo>
                    <a:lnTo>
                      <a:pt x="3777845" y="171147"/>
                    </a:lnTo>
                    <a:lnTo>
                      <a:pt x="3908888" y="772853"/>
                    </a:lnTo>
                    <a:lnTo>
                      <a:pt x="4760203" y="1223030"/>
                    </a:lnTo>
                    <a:lnTo>
                      <a:pt x="4760203" y="787130"/>
                    </a:lnTo>
                    <a:lnTo>
                      <a:pt x="4760203" y="299521"/>
                    </a:lnTo>
                    <a:lnTo>
                      <a:pt x="6183800" y="24957"/>
                    </a:lnTo>
                    <a:lnTo>
                      <a:pt x="6313973" y="579423"/>
                    </a:lnTo>
                    <a:lnTo>
                      <a:pt x="6024262" y="990368"/>
                    </a:lnTo>
                    <a:lnTo>
                      <a:pt x="6202546" y="1321980"/>
                    </a:lnTo>
                    <a:lnTo>
                      <a:pt x="6135689" y="1688355"/>
                    </a:lnTo>
                    <a:lnTo>
                      <a:pt x="5843309" y="2010158"/>
                    </a:lnTo>
                    <a:lnTo>
                      <a:pt x="5809417" y="2386341"/>
                    </a:lnTo>
                    <a:lnTo>
                      <a:pt x="6328710" y="2738785"/>
                    </a:lnTo>
                    <a:lnTo>
                      <a:pt x="6684407" y="2595264"/>
                    </a:lnTo>
                    <a:lnTo>
                      <a:pt x="6665200" y="2029774"/>
                    </a:lnTo>
                    <a:lnTo>
                      <a:pt x="7326625" y="1740064"/>
                    </a:lnTo>
                    <a:lnTo>
                      <a:pt x="7556617" y="2767862"/>
                    </a:lnTo>
                    <a:lnTo>
                      <a:pt x="7932800" y="2118916"/>
                    </a:lnTo>
                    <a:lnTo>
                      <a:pt x="8752892" y="1594798"/>
                    </a:lnTo>
                    <a:lnTo>
                      <a:pt x="8816208" y="1893392"/>
                    </a:lnTo>
                    <a:lnTo>
                      <a:pt x="9217345" y="2158147"/>
                    </a:lnTo>
                    <a:lnTo>
                      <a:pt x="9482101" y="2881088"/>
                    </a:lnTo>
                    <a:lnTo>
                      <a:pt x="9192390" y="3257271"/>
                    </a:lnTo>
                    <a:lnTo>
                      <a:pt x="9600666" y="3883062"/>
                    </a:lnTo>
                    <a:lnTo>
                      <a:pt x="10001804" y="4516861"/>
                    </a:lnTo>
                    <a:lnTo>
                      <a:pt x="9877899" y="5160468"/>
                    </a:lnTo>
                    <a:lnTo>
                      <a:pt x="9377812" y="5935119"/>
                    </a:lnTo>
                    <a:lnTo>
                      <a:pt x="8954389" y="6251583"/>
                    </a:lnTo>
                    <a:lnTo>
                      <a:pt x="9761133" y="6469098"/>
                    </a:lnTo>
                    <a:lnTo>
                      <a:pt x="9858283" y="6092916"/>
                    </a:lnTo>
                    <a:lnTo>
                      <a:pt x="10033897" y="5538450"/>
                    </a:lnTo>
                    <a:lnTo>
                      <a:pt x="10457320" y="5454648"/>
                    </a:lnTo>
                    <a:lnTo>
                      <a:pt x="10731883" y="5486741"/>
                    </a:lnTo>
                    <a:lnTo>
                      <a:pt x="10541123" y="6043876"/>
                    </a:lnTo>
                    <a:lnTo>
                      <a:pt x="10939590" y="6305962"/>
                    </a:lnTo>
                    <a:lnTo>
                      <a:pt x="10907497" y="7442518"/>
                    </a:lnTo>
                    <a:lnTo>
                      <a:pt x="10751499" y="7857932"/>
                    </a:lnTo>
                    <a:lnTo>
                      <a:pt x="11009116" y="8167258"/>
                    </a:lnTo>
                    <a:lnTo>
                      <a:pt x="12526907" y="8142708"/>
                    </a:lnTo>
                    <a:lnTo>
                      <a:pt x="13285827" y="7174223"/>
                    </a:lnTo>
                    <a:lnTo>
                      <a:pt x="12973832" y="6892521"/>
                    </a:lnTo>
                    <a:lnTo>
                      <a:pt x="13273350" y="6583195"/>
                    </a:lnTo>
                    <a:lnTo>
                      <a:pt x="13741344" y="6609949"/>
                    </a:lnTo>
                    <a:lnTo>
                      <a:pt x="14139812" y="7692126"/>
                    </a:lnTo>
                    <a:lnTo>
                      <a:pt x="13931521" y="7985667"/>
                    </a:lnTo>
                    <a:lnTo>
                      <a:pt x="14359994" y="8528289"/>
                    </a:lnTo>
                    <a:lnTo>
                      <a:pt x="14433989" y="9112179"/>
                    </a:lnTo>
                    <a:lnTo>
                      <a:pt x="14768270" y="10134638"/>
                    </a:lnTo>
                    <a:lnTo>
                      <a:pt x="15050842" y="10429687"/>
                    </a:lnTo>
                    <a:lnTo>
                      <a:pt x="14897514" y="10687304"/>
                    </a:lnTo>
                    <a:lnTo>
                      <a:pt x="14184097" y="10712025"/>
                    </a:lnTo>
                    <a:lnTo>
                      <a:pt x="14100290" y="10354537"/>
                    </a:lnTo>
                    <a:lnTo>
                      <a:pt x="13751152" y="10478441"/>
                    </a:lnTo>
                    <a:lnTo>
                      <a:pt x="13308113" y="10560155"/>
                    </a:lnTo>
                    <a:lnTo>
                      <a:pt x="12654697" y="10763103"/>
                    </a:lnTo>
                    <a:lnTo>
                      <a:pt x="12108818" y="10959376"/>
                    </a:lnTo>
                    <a:lnTo>
                      <a:pt x="11702054" y="10894146"/>
                    </a:lnTo>
                    <a:lnTo>
                      <a:pt x="11318733" y="11042715"/>
                    </a:lnTo>
                    <a:lnTo>
                      <a:pt x="9739372" y="11149203"/>
                    </a:lnTo>
                    <a:lnTo>
                      <a:pt x="9509435" y="10832338"/>
                    </a:lnTo>
                    <a:lnTo>
                      <a:pt x="9195640" y="10503106"/>
                    </a:lnTo>
                    <a:lnTo>
                      <a:pt x="8960018" y="10478441"/>
                    </a:lnTo>
                    <a:lnTo>
                      <a:pt x="8700312" y="10342349"/>
                    </a:lnTo>
                    <a:lnTo>
                      <a:pt x="8182988" y="10322443"/>
                    </a:lnTo>
                    <a:lnTo>
                      <a:pt x="7875576" y="10436828"/>
                    </a:lnTo>
                    <a:lnTo>
                      <a:pt x="7452909" y="10394349"/>
                    </a:lnTo>
                    <a:lnTo>
                      <a:pt x="7244911" y="10315305"/>
                    </a:lnTo>
                    <a:lnTo>
                      <a:pt x="7137838" y="9925890"/>
                    </a:lnTo>
                    <a:lnTo>
                      <a:pt x="6856541" y="9914168"/>
                    </a:lnTo>
                    <a:lnTo>
                      <a:pt x="6443216" y="9986073"/>
                    </a:lnTo>
                    <a:lnTo>
                      <a:pt x="6004937" y="9931694"/>
                    </a:lnTo>
                    <a:lnTo>
                      <a:pt x="6084153" y="9530091"/>
                    </a:lnTo>
                    <a:lnTo>
                      <a:pt x="5673615" y="9476178"/>
                    </a:lnTo>
                    <a:lnTo>
                      <a:pt x="5398472" y="9550744"/>
                    </a:lnTo>
                    <a:lnTo>
                      <a:pt x="5075798" y="9315413"/>
                    </a:lnTo>
                    <a:lnTo>
                      <a:pt x="4851680" y="9092523"/>
                    </a:lnTo>
                    <a:lnTo>
                      <a:pt x="4581922" y="9209325"/>
                    </a:lnTo>
                    <a:lnTo>
                      <a:pt x="4384023" y="8986471"/>
                    </a:lnTo>
                    <a:lnTo>
                      <a:pt x="3861651" y="9253896"/>
                    </a:lnTo>
                    <a:lnTo>
                      <a:pt x="3686037" y="8095054"/>
                    </a:lnTo>
                    <a:lnTo>
                      <a:pt x="3510423" y="7743827"/>
                    </a:lnTo>
                    <a:lnTo>
                      <a:pt x="4294882" y="6932614"/>
                    </a:lnTo>
                    <a:lnTo>
                      <a:pt x="3986833" y="6718641"/>
                    </a:lnTo>
                    <a:lnTo>
                      <a:pt x="3933846" y="6229289"/>
                    </a:lnTo>
                    <a:lnTo>
                      <a:pt x="3733278" y="5761295"/>
                    </a:lnTo>
                    <a:lnTo>
                      <a:pt x="3621851" y="5368166"/>
                    </a:lnTo>
                    <a:lnTo>
                      <a:pt x="3821547" y="4975040"/>
                    </a:lnTo>
                    <a:lnTo>
                      <a:pt x="4200399" y="5188086"/>
                    </a:lnTo>
                    <a:lnTo>
                      <a:pt x="4286871" y="4789618"/>
                    </a:lnTo>
                    <a:lnTo>
                      <a:pt x="4477632" y="4343910"/>
                    </a:lnTo>
                    <a:lnTo>
                      <a:pt x="4495448" y="4009628"/>
                    </a:lnTo>
                    <a:lnTo>
                      <a:pt x="4279733" y="3742203"/>
                    </a:lnTo>
                    <a:lnTo>
                      <a:pt x="3887069" y="3997497"/>
                    </a:lnTo>
                    <a:lnTo>
                      <a:pt x="3258143" y="4022106"/>
                    </a:lnTo>
                    <a:lnTo>
                      <a:pt x="3005865" y="3722588"/>
                    </a:lnTo>
                    <a:lnTo>
                      <a:pt x="2661776" y="3455163"/>
                    </a:lnTo>
                    <a:lnTo>
                      <a:pt x="2245005" y="3416345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>
                  <a:defRPr/>
                </a:pPr>
                <a:endParaRPr lang="zh-CN" altLang="en-US" kern="0">
                  <a:solidFill>
                    <a:sysClr val="windowText" lastClr="000000"/>
                  </a:solidFill>
                  <a:latin typeface="Calibri"/>
                  <a:ea typeface="宋体" panose="02010600030101010101" pitchFamily="2" charset="-122"/>
                </a:endParaRPr>
              </a:p>
            </p:txBody>
          </p:sp>
          <p:sp>
            <p:nvSpPr>
              <p:cNvPr id="57" name="任意多边形 19">
                <a:extLst>
                  <a:ext uri="{FF2B5EF4-FFF2-40B4-BE49-F238E27FC236}">
                    <a16:creationId xmlns:a16="http://schemas.microsoft.com/office/drawing/2014/main" id="{E9A25CFF-6639-4A62-B9E8-59F6B18EB5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89300" y="2717801"/>
                <a:ext cx="790575" cy="736600"/>
              </a:xfrm>
              <a:custGeom>
                <a:avLst/>
                <a:gdLst>
                  <a:gd name="T0" fmla="*/ 2610992 w 9258140"/>
                  <a:gd name="T1" fmla="*/ 1558818 h 8622947"/>
                  <a:gd name="T2" fmla="*/ 1900528 w 9258140"/>
                  <a:gd name="T3" fmla="*/ 1890430 h 8622947"/>
                  <a:gd name="T4" fmla="*/ 2165284 w 9258140"/>
                  <a:gd name="T5" fmla="*/ 2501944 h 8622947"/>
                  <a:gd name="T6" fmla="*/ 1890720 w 9258140"/>
                  <a:gd name="T7" fmla="*/ 2954791 h 8622947"/>
                  <a:gd name="T8" fmla="*/ 1100923 w 9258140"/>
                  <a:gd name="T9" fmla="*/ 3432593 h 8622947"/>
                  <a:gd name="T10" fmla="*/ 1566247 w 9258140"/>
                  <a:gd name="T11" fmla="*/ 3910394 h 8622947"/>
                  <a:gd name="T12" fmla="*/ 2177761 w 9258140"/>
                  <a:gd name="T13" fmla="*/ 4311532 h 8622947"/>
                  <a:gd name="T14" fmla="*/ 1868435 w 9258140"/>
                  <a:gd name="T15" fmla="*/ 4588765 h 8622947"/>
                  <a:gd name="T16" fmla="*/ 1150833 w 9258140"/>
                  <a:gd name="T17" fmla="*/ 4998840 h 8622947"/>
                  <a:gd name="T18" fmla="*/ 477802 w 9258140"/>
                  <a:gd name="T19" fmla="*/ 5795775 h 8622947"/>
                  <a:gd name="T20" fmla="*/ 0 w 9258140"/>
                  <a:gd name="T21" fmla="*/ 6567756 h 8622947"/>
                  <a:gd name="T22" fmla="*/ 293772 w 9258140"/>
                  <a:gd name="T23" fmla="*/ 7471012 h 8622947"/>
                  <a:gd name="T24" fmla="*/ 1200333 w 9258140"/>
                  <a:gd name="T25" fmla="*/ 7953521 h 8622947"/>
                  <a:gd name="T26" fmla="*/ 2132959 w 9258140"/>
                  <a:gd name="T27" fmla="*/ 7990485 h 8622947"/>
                  <a:gd name="T28" fmla="*/ 2666707 w 9258140"/>
                  <a:gd name="T29" fmla="*/ 7667346 h 8622947"/>
                  <a:gd name="T30" fmla="*/ 3052697 w 9258140"/>
                  <a:gd name="T31" fmla="*/ 8333007 h 8622947"/>
                  <a:gd name="T32" fmla="*/ 4338576 w 9258140"/>
                  <a:gd name="T33" fmla="*/ 8167430 h 8622947"/>
                  <a:gd name="T34" fmla="*/ 4893273 w 9258140"/>
                  <a:gd name="T35" fmla="*/ 8315011 h 8622947"/>
                  <a:gd name="T36" fmla="*/ 6003541 w 9258140"/>
                  <a:gd name="T37" fmla="*/ 8547616 h 8622947"/>
                  <a:gd name="T38" fmla="*/ 6538622 w 9258140"/>
                  <a:gd name="T39" fmla="*/ 8108814 h 8622947"/>
                  <a:gd name="T40" fmla="*/ 6657188 w 9258140"/>
                  <a:gd name="T41" fmla="*/ 7739541 h 8622947"/>
                  <a:gd name="T42" fmla="*/ 7173989 w 9258140"/>
                  <a:gd name="T43" fmla="*/ 7224073 h 8622947"/>
                  <a:gd name="T44" fmla="*/ 7543265 w 9258140"/>
                  <a:gd name="T45" fmla="*/ 6792178 h 8622947"/>
                  <a:gd name="T46" fmla="*/ 8507343 w 9258140"/>
                  <a:gd name="T47" fmla="*/ 7021939 h 8622947"/>
                  <a:gd name="T48" fmla="*/ 9258140 w 9258140"/>
                  <a:gd name="T49" fmla="*/ 6514713 h 8622947"/>
                  <a:gd name="T50" fmla="*/ 8775703 w 9258140"/>
                  <a:gd name="T51" fmla="*/ 5462386 h 8622947"/>
                  <a:gd name="T52" fmla="*/ 8134062 w 9258140"/>
                  <a:gd name="T53" fmla="*/ 4477803 h 8622947"/>
                  <a:gd name="T54" fmla="*/ 7642446 w 9258140"/>
                  <a:gd name="T55" fmla="*/ 3708955 h 8622947"/>
                  <a:gd name="T56" fmla="*/ 7954498 w 9258140"/>
                  <a:gd name="T57" fmla="*/ 3014916 h 8622947"/>
                  <a:gd name="T58" fmla="*/ 7677268 w 9258140"/>
                  <a:gd name="T59" fmla="*/ 2343272 h 8622947"/>
                  <a:gd name="T60" fmla="*/ 6414428 w 9258140"/>
                  <a:gd name="T61" fmla="*/ 1754334 h 8622947"/>
                  <a:gd name="T62" fmla="*/ 6509199 w 9258140"/>
                  <a:gd name="T63" fmla="*/ 670067 h 8622947"/>
                  <a:gd name="T64" fmla="*/ 5254077 w 9258140"/>
                  <a:gd name="T65" fmla="*/ 606170 h 8622947"/>
                  <a:gd name="T66" fmla="*/ 4125530 w 9258140"/>
                  <a:gd name="T67" fmla="*/ 187801 h 8622947"/>
                  <a:gd name="T68" fmla="*/ 3558586 w 9258140"/>
                  <a:gd name="T69" fmla="*/ 497127 h 8622947"/>
                  <a:gd name="T70" fmla="*/ 3328884 w 9258140"/>
                  <a:gd name="T71" fmla="*/ 897970 h 8622947"/>
                  <a:gd name="T72" fmla="*/ 2781646 w 9258140"/>
                  <a:gd name="T73" fmla="*/ 1180381 h 8622947"/>
                  <a:gd name="T74" fmla="*/ 0 w 9258140"/>
                  <a:gd name="T75" fmla="*/ 0 h 8622947"/>
                  <a:gd name="T76" fmla="*/ 9258140 w 9258140"/>
                  <a:gd name="T77" fmla="*/ 8622947 h 86229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T74" t="T75" r="T76" b="T77"/>
                <a:pathLst>
                  <a:path w="9258140" h="8622947">
                    <a:moveTo>
                      <a:pt x="2781646" y="1180381"/>
                    </a:moveTo>
                    <a:lnTo>
                      <a:pt x="2610992" y="1558818"/>
                    </a:lnTo>
                    <a:lnTo>
                      <a:pt x="2266903" y="1613197"/>
                    </a:lnTo>
                    <a:lnTo>
                      <a:pt x="1900528" y="1890430"/>
                    </a:lnTo>
                    <a:lnTo>
                      <a:pt x="1598340" y="2234519"/>
                    </a:lnTo>
                    <a:lnTo>
                      <a:pt x="2165284" y="2501944"/>
                    </a:lnTo>
                    <a:lnTo>
                      <a:pt x="2266903" y="2925367"/>
                    </a:lnTo>
                    <a:lnTo>
                      <a:pt x="1890720" y="2954791"/>
                    </a:lnTo>
                    <a:lnTo>
                      <a:pt x="1670536" y="3355928"/>
                    </a:lnTo>
                    <a:lnTo>
                      <a:pt x="1100923" y="3432593"/>
                    </a:lnTo>
                    <a:lnTo>
                      <a:pt x="1333585" y="3709826"/>
                    </a:lnTo>
                    <a:lnTo>
                      <a:pt x="1566247" y="3910394"/>
                    </a:lnTo>
                    <a:lnTo>
                      <a:pt x="1999478" y="3954965"/>
                    </a:lnTo>
                    <a:lnTo>
                      <a:pt x="2177761" y="4311532"/>
                    </a:lnTo>
                    <a:lnTo>
                      <a:pt x="2301666" y="4499623"/>
                    </a:lnTo>
                    <a:lnTo>
                      <a:pt x="1868435" y="4588765"/>
                    </a:lnTo>
                    <a:lnTo>
                      <a:pt x="1536823" y="4551332"/>
                    </a:lnTo>
                    <a:lnTo>
                      <a:pt x="1150833" y="4998840"/>
                    </a:lnTo>
                    <a:lnTo>
                      <a:pt x="1000174" y="5550636"/>
                    </a:lnTo>
                    <a:lnTo>
                      <a:pt x="477802" y="5795775"/>
                    </a:lnTo>
                    <a:lnTo>
                      <a:pt x="155998" y="6048053"/>
                    </a:lnTo>
                    <a:lnTo>
                      <a:pt x="0" y="6567756"/>
                    </a:lnTo>
                    <a:lnTo>
                      <a:pt x="175614" y="7045558"/>
                    </a:lnTo>
                    <a:lnTo>
                      <a:pt x="293772" y="7471012"/>
                    </a:lnTo>
                    <a:lnTo>
                      <a:pt x="908358" y="7654403"/>
                    </a:lnTo>
                    <a:lnTo>
                      <a:pt x="1200333" y="7953521"/>
                    </a:lnTo>
                    <a:lnTo>
                      <a:pt x="1740064" y="8149150"/>
                    </a:lnTo>
                    <a:lnTo>
                      <a:pt x="2132959" y="7990485"/>
                    </a:lnTo>
                    <a:lnTo>
                      <a:pt x="2510475" y="8099009"/>
                    </a:lnTo>
                    <a:lnTo>
                      <a:pt x="2666707" y="7667346"/>
                    </a:lnTo>
                    <a:lnTo>
                      <a:pt x="3099476" y="8099009"/>
                    </a:lnTo>
                    <a:lnTo>
                      <a:pt x="3052697" y="8333007"/>
                    </a:lnTo>
                    <a:lnTo>
                      <a:pt x="3626545" y="7979863"/>
                    </a:lnTo>
                    <a:lnTo>
                      <a:pt x="4338576" y="8167430"/>
                    </a:lnTo>
                    <a:lnTo>
                      <a:pt x="4647902" y="8509140"/>
                    </a:lnTo>
                    <a:lnTo>
                      <a:pt x="4893273" y="8315011"/>
                    </a:lnTo>
                    <a:lnTo>
                      <a:pt x="5410075" y="8622947"/>
                    </a:lnTo>
                    <a:lnTo>
                      <a:pt x="6003541" y="8547616"/>
                    </a:lnTo>
                    <a:lnTo>
                      <a:pt x="5959202" y="7901861"/>
                    </a:lnTo>
                    <a:lnTo>
                      <a:pt x="6538622" y="8108814"/>
                    </a:lnTo>
                    <a:lnTo>
                      <a:pt x="6868723" y="8027223"/>
                    </a:lnTo>
                    <a:lnTo>
                      <a:pt x="6657188" y="7739541"/>
                    </a:lnTo>
                    <a:lnTo>
                      <a:pt x="7002613" y="7502642"/>
                    </a:lnTo>
                    <a:lnTo>
                      <a:pt x="7173989" y="7224073"/>
                    </a:lnTo>
                    <a:lnTo>
                      <a:pt x="7059893" y="6838316"/>
                    </a:lnTo>
                    <a:lnTo>
                      <a:pt x="7543265" y="6792178"/>
                    </a:lnTo>
                    <a:lnTo>
                      <a:pt x="7951541" y="6661367"/>
                    </a:lnTo>
                    <a:lnTo>
                      <a:pt x="8507343" y="7021939"/>
                    </a:lnTo>
                    <a:lnTo>
                      <a:pt x="8914282" y="6764322"/>
                    </a:lnTo>
                    <a:lnTo>
                      <a:pt x="9258140" y="6514713"/>
                    </a:lnTo>
                    <a:lnTo>
                      <a:pt x="9148281" y="5896293"/>
                    </a:lnTo>
                    <a:lnTo>
                      <a:pt x="8775703" y="5462386"/>
                    </a:lnTo>
                    <a:cubicBezTo>
                      <a:pt x="8775488" y="5284386"/>
                      <a:pt x="8811313" y="5011265"/>
                      <a:pt x="8811098" y="4833265"/>
                    </a:cubicBezTo>
                    <a:lnTo>
                      <a:pt x="8134062" y="4477803"/>
                    </a:lnTo>
                    <a:lnTo>
                      <a:pt x="8065640" y="4084906"/>
                    </a:lnTo>
                    <a:lnTo>
                      <a:pt x="7642446" y="3708955"/>
                    </a:lnTo>
                    <a:lnTo>
                      <a:pt x="8013638" y="3622769"/>
                    </a:lnTo>
                    <a:lnTo>
                      <a:pt x="7954498" y="3014916"/>
                    </a:lnTo>
                    <a:lnTo>
                      <a:pt x="7619929" y="2692120"/>
                    </a:lnTo>
                    <a:lnTo>
                      <a:pt x="7677268" y="2343272"/>
                    </a:lnTo>
                    <a:lnTo>
                      <a:pt x="6939470" y="2058611"/>
                    </a:lnTo>
                    <a:lnTo>
                      <a:pt x="6414428" y="1754334"/>
                    </a:lnTo>
                    <a:cubicBezTo>
                      <a:pt x="6413731" y="1556338"/>
                      <a:pt x="6413035" y="1358342"/>
                      <a:pt x="6412338" y="1160346"/>
                    </a:cubicBezTo>
                    <a:lnTo>
                      <a:pt x="6509199" y="670067"/>
                    </a:lnTo>
                    <a:lnTo>
                      <a:pt x="5714352" y="714928"/>
                    </a:lnTo>
                    <a:lnTo>
                      <a:pt x="5254077" y="606170"/>
                    </a:lnTo>
                    <a:lnTo>
                      <a:pt x="4662993" y="0"/>
                    </a:lnTo>
                    <a:lnTo>
                      <a:pt x="4125530" y="187801"/>
                    </a:lnTo>
                    <a:lnTo>
                      <a:pt x="3759155" y="219894"/>
                    </a:lnTo>
                    <a:lnTo>
                      <a:pt x="3558586" y="497127"/>
                    </a:lnTo>
                    <a:lnTo>
                      <a:pt x="3449829" y="786838"/>
                    </a:lnTo>
                    <a:lnTo>
                      <a:pt x="3328884" y="897970"/>
                    </a:lnTo>
                    <a:lnTo>
                      <a:pt x="2905171" y="962451"/>
                    </a:lnTo>
                    <a:lnTo>
                      <a:pt x="2781646" y="1180381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>
                  <a:defRPr/>
                </a:pPr>
                <a:endParaRPr lang="zh-CN" altLang="en-US" kern="0">
                  <a:solidFill>
                    <a:sysClr val="windowText" lastClr="000000"/>
                  </a:solidFill>
                  <a:latin typeface="Calibri"/>
                  <a:ea typeface="宋体" panose="02010600030101010101" pitchFamily="2" charset="-122"/>
                </a:endParaRPr>
              </a:p>
            </p:txBody>
          </p:sp>
          <p:sp>
            <p:nvSpPr>
              <p:cNvPr id="58" name="任意多边形 20">
                <a:extLst>
                  <a:ext uri="{FF2B5EF4-FFF2-40B4-BE49-F238E27FC236}">
                    <a16:creationId xmlns:a16="http://schemas.microsoft.com/office/drawing/2014/main" id="{6497931B-93F7-4315-88AE-2BB3FE8910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54313" y="2744788"/>
                <a:ext cx="817562" cy="690563"/>
              </a:xfrm>
              <a:custGeom>
                <a:avLst/>
                <a:gdLst>
                  <a:gd name="T0" fmla="*/ 8854561 w 9566358"/>
                  <a:gd name="T1" fmla="*/ 1252452 h 8086122"/>
                  <a:gd name="T2" fmla="*/ 8144097 w 9566358"/>
                  <a:gd name="T3" fmla="*/ 1584064 h 8086122"/>
                  <a:gd name="T4" fmla="*/ 8408853 w 9566358"/>
                  <a:gd name="T5" fmla="*/ 2195578 h 8086122"/>
                  <a:gd name="T6" fmla="*/ 8134289 w 9566358"/>
                  <a:gd name="T7" fmla="*/ 2648425 h 8086122"/>
                  <a:gd name="T8" fmla="*/ 7344492 w 9566358"/>
                  <a:gd name="T9" fmla="*/ 3126227 h 8086122"/>
                  <a:gd name="T10" fmla="*/ 7809816 w 9566358"/>
                  <a:gd name="T11" fmla="*/ 3604028 h 8086122"/>
                  <a:gd name="T12" fmla="*/ 8421330 w 9566358"/>
                  <a:gd name="T13" fmla="*/ 4005166 h 8086122"/>
                  <a:gd name="T14" fmla="*/ 8112004 w 9566358"/>
                  <a:gd name="T15" fmla="*/ 4282399 h 8086122"/>
                  <a:gd name="T16" fmla="*/ 7394402 w 9566358"/>
                  <a:gd name="T17" fmla="*/ 4692474 h 8086122"/>
                  <a:gd name="T18" fmla="*/ 6721371 w 9566358"/>
                  <a:gd name="T19" fmla="*/ 5489409 h 8086122"/>
                  <a:gd name="T20" fmla="*/ 6009512 w 9566358"/>
                  <a:gd name="T21" fmla="*/ 5367943 h 8086122"/>
                  <a:gd name="T22" fmla="*/ 5154250 w 9566358"/>
                  <a:gd name="T23" fmla="*/ 5683769 h 8086122"/>
                  <a:gd name="T24" fmla="*/ 4346227 w 9566358"/>
                  <a:gd name="T25" fmla="*/ 5485469 h 8086122"/>
                  <a:gd name="T26" fmla="*/ 4147815 w 9566358"/>
                  <a:gd name="T27" fmla="*/ 6442338 h 8086122"/>
                  <a:gd name="T28" fmla="*/ 3447160 w 9566358"/>
                  <a:gd name="T29" fmla="*/ 6516333 h 8086122"/>
                  <a:gd name="T30" fmla="*/ 3536301 w 9566358"/>
                  <a:gd name="T31" fmla="*/ 7491552 h 8086122"/>
                  <a:gd name="T32" fmla="*/ 3103070 w 9566358"/>
                  <a:gd name="T33" fmla="*/ 8086122 h 8086122"/>
                  <a:gd name="T34" fmla="*/ 2635077 w 9566358"/>
                  <a:gd name="T35" fmla="*/ 7019091 h 8086122"/>
                  <a:gd name="T36" fmla="*/ 2672509 w 9566358"/>
                  <a:gd name="T37" fmla="*/ 6251579 h 8086122"/>
                  <a:gd name="T38" fmla="*/ 1479775 w 9566358"/>
                  <a:gd name="T39" fmla="*/ 6051013 h 8086122"/>
                  <a:gd name="T40" fmla="*/ 1333585 w 9566358"/>
                  <a:gd name="T41" fmla="*/ 5509025 h 8086122"/>
                  <a:gd name="T42" fmla="*/ 730080 w 9566358"/>
                  <a:gd name="T43" fmla="*/ 4835994 h 8086122"/>
                  <a:gd name="T44" fmla="*/ 427892 w 9566358"/>
                  <a:gd name="T45" fmla="*/ 4175440 h 8086122"/>
                  <a:gd name="T46" fmla="*/ 361035 w 9566358"/>
                  <a:gd name="T47" fmla="*/ 3685161 h 8086122"/>
                  <a:gd name="T48" fmla="*/ 551796 w 9566358"/>
                  <a:gd name="T49" fmla="*/ 3197551 h 8086122"/>
                  <a:gd name="T50" fmla="*/ 1096454 w 9566358"/>
                  <a:gd name="T51" fmla="*/ 3308978 h 8086122"/>
                  <a:gd name="T52" fmla="*/ 898555 w 9566358"/>
                  <a:gd name="T53" fmla="*/ 2184900 h 8086122"/>
                  <a:gd name="T54" fmla="*/ 0 w 9566358"/>
                  <a:gd name="T55" fmla="*/ 771981 h 8086122"/>
                  <a:gd name="T56" fmla="*/ 620452 w 9566358"/>
                  <a:gd name="T57" fmla="*/ 484940 h 8086122"/>
                  <a:gd name="T58" fmla="*/ 1677674 w 9566358"/>
                  <a:gd name="T59" fmla="*/ 618652 h 8086122"/>
                  <a:gd name="T60" fmla="*/ 2019094 w 9566358"/>
                  <a:gd name="T61" fmla="*/ 1064361 h 8086122"/>
                  <a:gd name="T62" fmla="*/ 3147641 w 9566358"/>
                  <a:gd name="T63" fmla="*/ 767513 h 8086122"/>
                  <a:gd name="T64" fmla="*/ 4004295 w 9566358"/>
                  <a:gd name="T65" fmla="*/ 401138 h 8086122"/>
                  <a:gd name="T66" fmla="*/ 4135338 w 9566358"/>
                  <a:gd name="T67" fmla="*/ 0 h 8086122"/>
                  <a:gd name="T68" fmla="*/ 5221114 w 9566358"/>
                  <a:gd name="T69" fmla="*/ 433232 h 8086122"/>
                  <a:gd name="T70" fmla="*/ 5384250 w 9566358"/>
                  <a:gd name="T71" fmla="*/ 911033 h 8086122"/>
                  <a:gd name="T72" fmla="*/ 6282805 w 9566358"/>
                  <a:gd name="T73" fmla="*/ 1232837 h 8086122"/>
                  <a:gd name="T74" fmla="*/ 7302595 w 9566358"/>
                  <a:gd name="T75" fmla="*/ 1000175 h 8086122"/>
                  <a:gd name="T76" fmla="*/ 7923917 w 9566358"/>
                  <a:gd name="T77" fmla="*/ 764843 h 8086122"/>
                  <a:gd name="T78" fmla="*/ 8878589 w 9566358"/>
                  <a:gd name="T79" fmla="*/ 637050 h 8086122"/>
                  <a:gd name="T80" fmla="*/ 9226740 w 9566358"/>
                  <a:gd name="T81" fmla="*/ 128025 h 8086122"/>
                  <a:gd name="T82" fmla="*/ 9566358 w 9566358"/>
                  <a:gd name="T83" fmla="*/ 590680 h 8086122"/>
                  <a:gd name="T84" fmla="*/ 9025215 w 9566358"/>
                  <a:gd name="T85" fmla="*/ 874015 h 8086122"/>
                  <a:gd name="T86" fmla="*/ 0 w 9566358"/>
                  <a:gd name="T87" fmla="*/ 0 h 8086122"/>
                  <a:gd name="T88" fmla="*/ 9566358 w 9566358"/>
                  <a:gd name="T89" fmla="*/ 8086122 h 8086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T86" t="T87" r="T88" b="T89"/>
                <a:pathLst>
                  <a:path w="9566358" h="8086122">
                    <a:moveTo>
                      <a:pt x="9025215" y="874015"/>
                    </a:moveTo>
                    <a:lnTo>
                      <a:pt x="8854561" y="1252452"/>
                    </a:lnTo>
                    <a:lnTo>
                      <a:pt x="8510472" y="1306831"/>
                    </a:lnTo>
                    <a:lnTo>
                      <a:pt x="8144097" y="1584064"/>
                    </a:lnTo>
                    <a:lnTo>
                      <a:pt x="7841909" y="1928153"/>
                    </a:lnTo>
                    <a:lnTo>
                      <a:pt x="8408853" y="2195578"/>
                    </a:lnTo>
                    <a:lnTo>
                      <a:pt x="8510472" y="2619001"/>
                    </a:lnTo>
                    <a:lnTo>
                      <a:pt x="8134289" y="2648425"/>
                    </a:lnTo>
                    <a:lnTo>
                      <a:pt x="7914105" y="3049562"/>
                    </a:lnTo>
                    <a:lnTo>
                      <a:pt x="7344492" y="3126227"/>
                    </a:lnTo>
                    <a:lnTo>
                      <a:pt x="7577154" y="3403460"/>
                    </a:lnTo>
                    <a:lnTo>
                      <a:pt x="7809816" y="3604028"/>
                    </a:lnTo>
                    <a:lnTo>
                      <a:pt x="8243047" y="3648599"/>
                    </a:lnTo>
                    <a:lnTo>
                      <a:pt x="8421330" y="4005166"/>
                    </a:lnTo>
                    <a:lnTo>
                      <a:pt x="8545235" y="4193257"/>
                    </a:lnTo>
                    <a:lnTo>
                      <a:pt x="8112004" y="4282399"/>
                    </a:lnTo>
                    <a:lnTo>
                      <a:pt x="7780392" y="4244966"/>
                    </a:lnTo>
                    <a:lnTo>
                      <a:pt x="7394402" y="4692474"/>
                    </a:lnTo>
                    <a:lnTo>
                      <a:pt x="7243743" y="5244270"/>
                    </a:lnTo>
                    <a:lnTo>
                      <a:pt x="6721371" y="5489409"/>
                    </a:lnTo>
                    <a:lnTo>
                      <a:pt x="6399567" y="5741687"/>
                    </a:lnTo>
                    <a:lnTo>
                      <a:pt x="6009512" y="5367943"/>
                    </a:lnTo>
                    <a:lnTo>
                      <a:pt x="5471992" y="5719170"/>
                    </a:lnTo>
                    <a:lnTo>
                      <a:pt x="5154250" y="5683769"/>
                    </a:lnTo>
                    <a:lnTo>
                      <a:pt x="4827510" y="5453547"/>
                    </a:lnTo>
                    <a:lnTo>
                      <a:pt x="4346227" y="5485469"/>
                    </a:lnTo>
                    <a:lnTo>
                      <a:pt x="4514190" y="6207006"/>
                    </a:lnTo>
                    <a:lnTo>
                      <a:pt x="4147815" y="6442338"/>
                    </a:lnTo>
                    <a:lnTo>
                      <a:pt x="3679822" y="6140150"/>
                    </a:lnTo>
                    <a:lnTo>
                      <a:pt x="3447160" y="6516333"/>
                    </a:lnTo>
                    <a:lnTo>
                      <a:pt x="3469445" y="6870230"/>
                    </a:lnTo>
                    <a:lnTo>
                      <a:pt x="3536301" y="7491552"/>
                    </a:lnTo>
                    <a:lnTo>
                      <a:pt x="3437352" y="7914975"/>
                    </a:lnTo>
                    <a:lnTo>
                      <a:pt x="3103070" y="8086122"/>
                    </a:lnTo>
                    <a:lnTo>
                      <a:pt x="2749173" y="7573557"/>
                    </a:lnTo>
                    <a:lnTo>
                      <a:pt x="2635077" y="7019091"/>
                    </a:lnTo>
                    <a:lnTo>
                      <a:pt x="2825837" y="6608146"/>
                    </a:lnTo>
                    <a:lnTo>
                      <a:pt x="2672509" y="6251579"/>
                    </a:lnTo>
                    <a:lnTo>
                      <a:pt x="2175092" y="6117869"/>
                    </a:lnTo>
                    <a:lnTo>
                      <a:pt x="1479775" y="6051013"/>
                    </a:lnTo>
                    <a:lnTo>
                      <a:pt x="1445012" y="5808543"/>
                    </a:lnTo>
                    <a:lnTo>
                      <a:pt x="1333585" y="5509025"/>
                    </a:lnTo>
                    <a:lnTo>
                      <a:pt x="804189" y="5112066"/>
                    </a:lnTo>
                    <a:lnTo>
                      <a:pt x="730080" y="4835994"/>
                    </a:lnTo>
                    <a:lnTo>
                      <a:pt x="650746" y="4474958"/>
                    </a:lnTo>
                    <a:lnTo>
                      <a:pt x="427892" y="4175440"/>
                    </a:lnTo>
                    <a:lnTo>
                      <a:pt x="685509" y="3952586"/>
                    </a:lnTo>
                    <a:lnTo>
                      <a:pt x="361035" y="3685161"/>
                    </a:lnTo>
                    <a:lnTo>
                      <a:pt x="284371" y="3407928"/>
                    </a:lnTo>
                    <a:lnTo>
                      <a:pt x="551796" y="3197551"/>
                    </a:lnTo>
                    <a:lnTo>
                      <a:pt x="717602" y="3353549"/>
                    </a:lnTo>
                    <a:lnTo>
                      <a:pt x="1096454" y="3308978"/>
                    </a:lnTo>
                    <a:lnTo>
                      <a:pt x="1220359" y="2937265"/>
                    </a:lnTo>
                    <a:lnTo>
                      <a:pt x="898555" y="2184900"/>
                    </a:lnTo>
                    <a:lnTo>
                      <a:pt x="490279" y="1167779"/>
                    </a:lnTo>
                    <a:lnTo>
                      <a:pt x="0" y="771981"/>
                    </a:lnTo>
                    <a:lnTo>
                      <a:pt x="43471" y="520653"/>
                    </a:lnTo>
                    <a:lnTo>
                      <a:pt x="620452" y="484940"/>
                    </a:lnTo>
                    <a:lnTo>
                      <a:pt x="1043874" y="697986"/>
                    </a:lnTo>
                    <a:lnTo>
                      <a:pt x="1677674" y="618652"/>
                    </a:lnTo>
                    <a:lnTo>
                      <a:pt x="1939760" y="730080"/>
                    </a:lnTo>
                    <a:lnTo>
                      <a:pt x="2019094" y="1064361"/>
                    </a:lnTo>
                    <a:lnTo>
                      <a:pt x="3208229" y="1091986"/>
                    </a:lnTo>
                    <a:lnTo>
                      <a:pt x="3147641" y="767513"/>
                    </a:lnTo>
                    <a:lnTo>
                      <a:pt x="3593349" y="445709"/>
                    </a:lnTo>
                    <a:lnTo>
                      <a:pt x="4004295" y="401138"/>
                    </a:lnTo>
                    <a:lnTo>
                      <a:pt x="3842434" y="167257"/>
                    </a:lnTo>
                    <a:lnTo>
                      <a:pt x="4135338" y="0"/>
                    </a:lnTo>
                    <a:lnTo>
                      <a:pt x="4523127" y="267426"/>
                    </a:lnTo>
                    <a:lnTo>
                      <a:pt x="5221114" y="433232"/>
                    </a:lnTo>
                    <a:lnTo>
                      <a:pt x="5074924" y="643608"/>
                    </a:lnTo>
                    <a:lnTo>
                      <a:pt x="5384250" y="911033"/>
                    </a:lnTo>
                    <a:lnTo>
                      <a:pt x="6119669" y="943126"/>
                    </a:lnTo>
                    <a:lnTo>
                      <a:pt x="6282805" y="1232837"/>
                    </a:lnTo>
                    <a:lnTo>
                      <a:pt x="7040509" y="663224"/>
                    </a:lnTo>
                    <a:lnTo>
                      <a:pt x="7302595" y="1000175"/>
                    </a:lnTo>
                    <a:lnTo>
                      <a:pt x="7480878" y="809414"/>
                    </a:lnTo>
                    <a:lnTo>
                      <a:pt x="7923917" y="764843"/>
                    </a:lnTo>
                    <a:lnTo>
                      <a:pt x="8213627" y="586560"/>
                    </a:lnTo>
                    <a:lnTo>
                      <a:pt x="8878589" y="637050"/>
                    </a:lnTo>
                    <a:lnTo>
                      <a:pt x="8931690" y="274215"/>
                    </a:lnTo>
                    <a:lnTo>
                      <a:pt x="9226740" y="128025"/>
                    </a:lnTo>
                    <a:lnTo>
                      <a:pt x="9395213" y="259068"/>
                    </a:lnTo>
                    <a:lnTo>
                      <a:pt x="9566358" y="590680"/>
                    </a:lnTo>
                    <a:lnTo>
                      <a:pt x="9148740" y="656085"/>
                    </a:lnTo>
                    <a:lnTo>
                      <a:pt x="9025215" y="874015"/>
                    </a:ln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>
                  <a:defRPr/>
                </a:pPr>
                <a:endParaRPr lang="zh-CN" altLang="en-US" kern="0">
                  <a:solidFill>
                    <a:sysClr val="windowText" lastClr="000000"/>
                  </a:solidFill>
                  <a:latin typeface="Calibri"/>
                  <a:ea typeface="宋体" panose="02010600030101010101" pitchFamily="2" charset="-122"/>
                </a:endParaRPr>
              </a:p>
            </p:txBody>
          </p:sp>
          <p:sp>
            <p:nvSpPr>
              <p:cNvPr id="59" name="任意多边形 21">
                <a:extLst>
                  <a:ext uri="{FF2B5EF4-FFF2-40B4-BE49-F238E27FC236}">
                    <a16:creationId xmlns:a16="http://schemas.microsoft.com/office/drawing/2014/main" id="{A9D4F111-8D7F-42F5-8792-F720D2E1AD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35188" y="1479551"/>
                <a:ext cx="944562" cy="1008063"/>
              </a:xfrm>
              <a:custGeom>
                <a:avLst/>
                <a:gdLst>
                  <a:gd name="T0" fmla="*/ 3589751 w 11061167"/>
                  <a:gd name="T1" fmla="*/ 7132314 h 11790019"/>
                  <a:gd name="T2" fmla="*/ 2564622 w 11061167"/>
                  <a:gd name="T3" fmla="*/ 6689276 h 11790019"/>
                  <a:gd name="T4" fmla="*/ 3178806 w 11061167"/>
                  <a:gd name="T5" fmla="*/ 5506350 h 11790019"/>
                  <a:gd name="T6" fmla="*/ 2127152 w 11061167"/>
                  <a:gd name="T7" fmla="*/ 5474020 h 11790019"/>
                  <a:gd name="T8" fmla="*/ 804945 w 11061167"/>
                  <a:gd name="T9" fmla="*/ 5624912 h 11790019"/>
                  <a:gd name="T10" fmla="*/ 235332 w 11061167"/>
                  <a:gd name="T11" fmla="*/ 6412040 h 11790019"/>
                  <a:gd name="T12" fmla="*/ 814753 w 11061167"/>
                  <a:gd name="T13" fmla="*/ 6676793 h 11790019"/>
                  <a:gd name="T14" fmla="*/ 0 w 11061167"/>
                  <a:gd name="T15" fmla="*/ 8008578 h 11790019"/>
                  <a:gd name="T16" fmla="*/ 1409321 w 11061167"/>
                  <a:gd name="T17" fmla="*/ 9342163 h 11790019"/>
                  <a:gd name="T18" fmla="*/ 2060066 w 11061167"/>
                  <a:gd name="T19" fmla="*/ 9715676 h 11790019"/>
                  <a:gd name="T20" fmla="*/ 4122861 w 11061167"/>
                  <a:gd name="T21" fmla="*/ 10442050 h 11790019"/>
                  <a:gd name="T22" fmla="*/ 5353898 w 11061167"/>
                  <a:gd name="T23" fmla="*/ 11129465 h 11790019"/>
                  <a:gd name="T24" fmla="*/ 6442343 w 11061167"/>
                  <a:gd name="T25" fmla="*/ 11468215 h 11790019"/>
                  <a:gd name="T26" fmla="*/ 7471941 w 11061167"/>
                  <a:gd name="T27" fmla="*/ 11232884 h 11790019"/>
                  <a:gd name="T28" fmla="*/ 8534108 w 11061167"/>
                  <a:gd name="T29" fmla="*/ 11013590 h 11790019"/>
                  <a:gd name="T30" fmla="*/ 9508852 w 11061167"/>
                  <a:gd name="T31" fmla="*/ 9528455 h 11790019"/>
                  <a:gd name="T32" fmla="*/ 9885035 w 11061167"/>
                  <a:gd name="T33" fmla="*/ 8694087 h 11790019"/>
                  <a:gd name="T34" fmla="*/ 10111539 w 11061167"/>
                  <a:gd name="T35" fmla="*/ 8096567 h 11790019"/>
                  <a:gd name="T36" fmla="*/ 8826011 w 11061167"/>
                  <a:gd name="T37" fmla="*/ 6994138 h 11790019"/>
                  <a:gd name="T38" fmla="*/ 8783819 w 11061167"/>
                  <a:gd name="T39" fmla="*/ 6105681 h 11790019"/>
                  <a:gd name="T40" fmla="*/ 9592704 w 11061167"/>
                  <a:gd name="T41" fmla="*/ 5309903 h 11790019"/>
                  <a:gd name="T42" fmla="*/ 10112643 w 11061167"/>
                  <a:gd name="T43" fmla="*/ 4093726 h 11790019"/>
                  <a:gd name="T44" fmla="*/ 11061167 w 11061167"/>
                  <a:gd name="T45" fmla="*/ 2685391 h 11790019"/>
                  <a:gd name="T46" fmla="*/ 9813709 w 11061167"/>
                  <a:gd name="T47" fmla="*/ 3398119 h 11790019"/>
                  <a:gd name="T48" fmla="*/ 8654868 w 11061167"/>
                  <a:gd name="T49" fmla="*/ 3097731 h 11790019"/>
                  <a:gd name="T50" fmla="*/ 8650399 w 11061167"/>
                  <a:gd name="T51" fmla="*/ 4444663 h 11790019"/>
                  <a:gd name="T52" fmla="*/ 7687657 w 11061167"/>
                  <a:gd name="T53" fmla="*/ 5372642 h 11790019"/>
                  <a:gd name="T54" fmla="*/ 6167780 w 11061167"/>
                  <a:gd name="T55" fmla="*/ 5546456 h 11790019"/>
                  <a:gd name="T56" fmla="*/ 6464046 w 11061167"/>
                  <a:gd name="T57" fmla="*/ 4304217 h 11790019"/>
                  <a:gd name="T58" fmla="*/ 7850794 w 11061167"/>
                  <a:gd name="T59" fmla="*/ 3697638 h 11790019"/>
                  <a:gd name="T60" fmla="*/ 6690153 w 11061167"/>
                  <a:gd name="T61" fmla="*/ 3464976 h 11790019"/>
                  <a:gd name="T62" fmla="*/ 6180258 w 11061167"/>
                  <a:gd name="T63" fmla="*/ 2697464 h 11790019"/>
                  <a:gd name="T64" fmla="*/ 4512391 w 11061167"/>
                  <a:gd name="T65" fmla="*/ 2316812 h 11790019"/>
                  <a:gd name="T66" fmla="*/ 4121062 w 11061167"/>
                  <a:gd name="T67" fmla="*/ 888747 h 11790019"/>
                  <a:gd name="T68" fmla="*/ 2797284 w 11061167"/>
                  <a:gd name="T69" fmla="*/ 277231 h 11790019"/>
                  <a:gd name="T70" fmla="*/ 2797284 w 11061167"/>
                  <a:gd name="T71" fmla="*/ 890544 h 11790019"/>
                  <a:gd name="T72" fmla="*/ 2421102 w 11061167"/>
                  <a:gd name="T73" fmla="*/ 2922987 h 11790019"/>
                  <a:gd name="T74" fmla="*/ 1856828 w 11061167"/>
                  <a:gd name="T75" fmla="*/ 3477453 h 11790019"/>
                  <a:gd name="T76" fmla="*/ 2322152 w 11061167"/>
                  <a:gd name="T77" fmla="*/ 5153328 h 11790019"/>
                  <a:gd name="T78" fmla="*/ 3247461 w 11061167"/>
                  <a:gd name="T79" fmla="*/ 4769136 h 11790019"/>
                  <a:gd name="T80" fmla="*/ 4967907 w 11061167"/>
                  <a:gd name="T81" fmla="*/ 4791422 h 11790019"/>
                  <a:gd name="T82" fmla="*/ 5484941 w 11061167"/>
                  <a:gd name="T83" fmla="*/ 5014276 h 11790019"/>
                  <a:gd name="T84" fmla="*/ 5576752 w 11061167"/>
                  <a:gd name="T85" fmla="*/ 6471761 h 11790019"/>
                  <a:gd name="T86" fmla="*/ 4345167 w 11061167"/>
                  <a:gd name="T87" fmla="*/ 6986534 h 11790019"/>
                  <a:gd name="T88" fmla="*/ 0 w 11061167"/>
                  <a:gd name="T89" fmla="*/ 0 h 11790019"/>
                  <a:gd name="T90" fmla="*/ 11061167 w 11061167"/>
                  <a:gd name="T91" fmla="*/ 11790019 h 117900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T88" t="T89" r="T90" b="T91"/>
                <a:pathLst>
                  <a:path w="11061167" h="11790019">
                    <a:moveTo>
                      <a:pt x="4345167" y="6986534"/>
                    </a:moveTo>
                    <a:lnTo>
                      <a:pt x="3889270" y="7043173"/>
                    </a:lnTo>
                    <a:lnTo>
                      <a:pt x="3589751" y="7132314"/>
                    </a:lnTo>
                    <a:lnTo>
                      <a:pt x="3401660" y="6708891"/>
                    </a:lnTo>
                    <a:lnTo>
                      <a:pt x="3102142" y="7211648"/>
                    </a:lnTo>
                    <a:lnTo>
                      <a:pt x="2564622" y="6689276"/>
                    </a:lnTo>
                    <a:lnTo>
                      <a:pt x="2799954" y="6445006"/>
                    </a:lnTo>
                    <a:lnTo>
                      <a:pt x="3210899" y="6155296"/>
                    </a:lnTo>
                    <a:lnTo>
                      <a:pt x="3178806" y="5506350"/>
                    </a:lnTo>
                    <a:lnTo>
                      <a:pt x="2834717" y="5689102"/>
                    </a:lnTo>
                    <a:lnTo>
                      <a:pt x="2569961" y="5748820"/>
                    </a:lnTo>
                    <a:lnTo>
                      <a:pt x="2127152" y="5474020"/>
                    </a:lnTo>
                    <a:lnTo>
                      <a:pt x="1735593" y="5446629"/>
                    </a:lnTo>
                    <a:lnTo>
                      <a:pt x="1525216" y="5644528"/>
                    </a:lnTo>
                    <a:lnTo>
                      <a:pt x="804945" y="5624912"/>
                    </a:lnTo>
                    <a:lnTo>
                      <a:pt x="738088" y="5845097"/>
                    </a:lnTo>
                    <a:lnTo>
                      <a:pt x="215716" y="6179378"/>
                    </a:lnTo>
                    <a:lnTo>
                      <a:pt x="235332" y="6412040"/>
                    </a:lnTo>
                    <a:lnTo>
                      <a:pt x="401138" y="6545753"/>
                    </a:lnTo>
                    <a:lnTo>
                      <a:pt x="789798" y="6154421"/>
                    </a:lnTo>
                    <a:lnTo>
                      <a:pt x="814753" y="6676793"/>
                    </a:lnTo>
                    <a:lnTo>
                      <a:pt x="616853" y="7097546"/>
                    </a:lnTo>
                    <a:lnTo>
                      <a:pt x="41202" y="7680099"/>
                    </a:lnTo>
                    <a:lnTo>
                      <a:pt x="0" y="8008578"/>
                    </a:lnTo>
                    <a:lnTo>
                      <a:pt x="544658" y="8320574"/>
                    </a:lnTo>
                    <a:lnTo>
                      <a:pt x="650746" y="8701225"/>
                    </a:lnTo>
                    <a:lnTo>
                      <a:pt x="1409321" y="9342163"/>
                    </a:lnTo>
                    <a:lnTo>
                      <a:pt x="1661598" y="9247682"/>
                    </a:lnTo>
                    <a:lnTo>
                      <a:pt x="2005688" y="9448251"/>
                    </a:lnTo>
                    <a:lnTo>
                      <a:pt x="2060066" y="9715676"/>
                    </a:lnTo>
                    <a:lnTo>
                      <a:pt x="2661773" y="10047288"/>
                    </a:lnTo>
                    <a:lnTo>
                      <a:pt x="3216239" y="10091859"/>
                    </a:lnTo>
                    <a:lnTo>
                      <a:pt x="4122861" y="10442050"/>
                    </a:lnTo>
                    <a:lnTo>
                      <a:pt x="4844003" y="10384239"/>
                    </a:lnTo>
                    <a:lnTo>
                      <a:pt x="5118566" y="10785376"/>
                    </a:lnTo>
                    <a:lnTo>
                      <a:pt x="5353898" y="11129465"/>
                    </a:lnTo>
                    <a:lnTo>
                      <a:pt x="5741688" y="11245361"/>
                    </a:lnTo>
                    <a:lnTo>
                      <a:pt x="6155303" y="11190982"/>
                    </a:lnTo>
                    <a:lnTo>
                      <a:pt x="6442343" y="11468215"/>
                    </a:lnTo>
                    <a:lnTo>
                      <a:pt x="7053858" y="11790019"/>
                    </a:lnTo>
                    <a:lnTo>
                      <a:pt x="7595846" y="11643829"/>
                    </a:lnTo>
                    <a:lnTo>
                      <a:pt x="7471941" y="11232884"/>
                    </a:lnTo>
                    <a:lnTo>
                      <a:pt x="7840986" y="11111649"/>
                    </a:lnTo>
                    <a:lnTo>
                      <a:pt x="8150312" y="10955651"/>
                    </a:lnTo>
                    <a:lnTo>
                      <a:pt x="8534108" y="11013590"/>
                    </a:lnTo>
                    <a:lnTo>
                      <a:pt x="8909815" y="10503674"/>
                    </a:lnTo>
                    <a:lnTo>
                      <a:pt x="9432188" y="9971494"/>
                    </a:lnTo>
                    <a:lnTo>
                      <a:pt x="9508852" y="9528455"/>
                    </a:lnTo>
                    <a:lnTo>
                      <a:pt x="9696943" y="9652360"/>
                    </a:lnTo>
                    <a:lnTo>
                      <a:pt x="10174745" y="9251222"/>
                    </a:lnTo>
                    <a:lnTo>
                      <a:pt x="9885035" y="8694087"/>
                    </a:lnTo>
                    <a:lnTo>
                      <a:pt x="10276072" y="8762626"/>
                    </a:lnTo>
                    <a:lnTo>
                      <a:pt x="10383030" y="8073065"/>
                    </a:lnTo>
                    <a:lnTo>
                      <a:pt x="10111539" y="8096567"/>
                    </a:lnTo>
                    <a:lnTo>
                      <a:pt x="9748940" y="7726597"/>
                    </a:lnTo>
                    <a:lnTo>
                      <a:pt x="9003190" y="7452660"/>
                    </a:lnTo>
                    <a:lnTo>
                      <a:pt x="8826011" y="6994138"/>
                    </a:lnTo>
                    <a:lnTo>
                      <a:pt x="8489986" y="6575298"/>
                    </a:lnTo>
                    <a:lnTo>
                      <a:pt x="8528872" y="6288723"/>
                    </a:lnTo>
                    <a:lnTo>
                      <a:pt x="8783819" y="6105681"/>
                    </a:lnTo>
                    <a:lnTo>
                      <a:pt x="9333526" y="6086065"/>
                    </a:lnTo>
                    <a:lnTo>
                      <a:pt x="9102951" y="5563693"/>
                    </a:lnTo>
                    <a:lnTo>
                      <a:pt x="9592704" y="5309903"/>
                    </a:lnTo>
                    <a:lnTo>
                      <a:pt x="9768844" y="5601125"/>
                    </a:lnTo>
                    <a:lnTo>
                      <a:pt x="10303694" y="4959897"/>
                    </a:lnTo>
                    <a:lnTo>
                      <a:pt x="10112643" y="4093726"/>
                    </a:lnTo>
                    <a:lnTo>
                      <a:pt x="11006440" y="3385932"/>
                    </a:lnTo>
                    <a:lnTo>
                      <a:pt x="10766059" y="3029655"/>
                    </a:lnTo>
                    <a:lnTo>
                      <a:pt x="11061167" y="2685391"/>
                    </a:lnTo>
                    <a:lnTo>
                      <a:pt x="10687310" y="2503163"/>
                    </a:lnTo>
                    <a:lnTo>
                      <a:pt x="10288842" y="3417735"/>
                    </a:lnTo>
                    <a:lnTo>
                      <a:pt x="9813709" y="3398119"/>
                    </a:lnTo>
                    <a:lnTo>
                      <a:pt x="9256574" y="3036214"/>
                    </a:lnTo>
                    <a:lnTo>
                      <a:pt x="8944578" y="3333062"/>
                    </a:lnTo>
                    <a:lnTo>
                      <a:pt x="8654868" y="3097731"/>
                    </a:lnTo>
                    <a:lnTo>
                      <a:pt x="8756487" y="3585340"/>
                    </a:lnTo>
                    <a:lnTo>
                      <a:pt x="8352680" y="4047995"/>
                    </a:lnTo>
                    <a:lnTo>
                      <a:pt x="8650399" y="4444663"/>
                    </a:lnTo>
                    <a:lnTo>
                      <a:pt x="8105741" y="4902849"/>
                    </a:lnTo>
                    <a:lnTo>
                      <a:pt x="7840986" y="4776275"/>
                    </a:lnTo>
                    <a:lnTo>
                      <a:pt x="7687657" y="5372642"/>
                    </a:lnTo>
                    <a:lnTo>
                      <a:pt x="6899659" y="6100922"/>
                    </a:lnTo>
                    <a:lnTo>
                      <a:pt x="6365679" y="6017120"/>
                    </a:lnTo>
                    <a:lnTo>
                      <a:pt x="6167780" y="5546456"/>
                    </a:lnTo>
                    <a:lnTo>
                      <a:pt x="6702630" y="5284371"/>
                    </a:lnTo>
                    <a:lnTo>
                      <a:pt x="6744531" y="4561429"/>
                    </a:lnTo>
                    <a:lnTo>
                      <a:pt x="6464046" y="4304217"/>
                    </a:lnTo>
                    <a:lnTo>
                      <a:pt x="7009287" y="3719923"/>
                    </a:lnTo>
                    <a:lnTo>
                      <a:pt x="7254426" y="4200394"/>
                    </a:lnTo>
                    <a:lnTo>
                      <a:pt x="7850794" y="3697638"/>
                    </a:lnTo>
                    <a:lnTo>
                      <a:pt x="7757183" y="3197551"/>
                    </a:lnTo>
                    <a:lnTo>
                      <a:pt x="6922815" y="3229644"/>
                    </a:lnTo>
                    <a:lnTo>
                      <a:pt x="6690153" y="3464976"/>
                    </a:lnTo>
                    <a:lnTo>
                      <a:pt x="6400442" y="3257268"/>
                    </a:lnTo>
                    <a:lnTo>
                      <a:pt x="6460160" y="2645754"/>
                    </a:lnTo>
                    <a:lnTo>
                      <a:pt x="6180258" y="2697464"/>
                    </a:lnTo>
                    <a:lnTo>
                      <a:pt x="5920841" y="2900702"/>
                    </a:lnTo>
                    <a:lnTo>
                      <a:pt x="5121236" y="2623469"/>
                    </a:lnTo>
                    <a:lnTo>
                      <a:pt x="4512391" y="2316812"/>
                    </a:lnTo>
                    <a:lnTo>
                      <a:pt x="4512391" y="2106436"/>
                    </a:lnTo>
                    <a:lnTo>
                      <a:pt x="4269921" y="1824734"/>
                    </a:lnTo>
                    <a:lnTo>
                      <a:pt x="4121062" y="888747"/>
                    </a:lnTo>
                    <a:lnTo>
                      <a:pt x="4376009" y="544658"/>
                    </a:lnTo>
                    <a:lnTo>
                      <a:pt x="4233359" y="0"/>
                    </a:lnTo>
                    <a:lnTo>
                      <a:pt x="2797284" y="277231"/>
                    </a:lnTo>
                    <a:lnTo>
                      <a:pt x="2520051" y="532178"/>
                    </a:lnTo>
                    <a:lnTo>
                      <a:pt x="2586908" y="777318"/>
                    </a:lnTo>
                    <a:lnTo>
                      <a:pt x="2797284" y="890544"/>
                    </a:lnTo>
                    <a:lnTo>
                      <a:pt x="2925658" y="2095753"/>
                    </a:lnTo>
                    <a:lnTo>
                      <a:pt x="2233357" y="2727346"/>
                    </a:lnTo>
                    <a:lnTo>
                      <a:pt x="2421102" y="2922987"/>
                    </a:lnTo>
                    <a:lnTo>
                      <a:pt x="2411294" y="3225175"/>
                    </a:lnTo>
                    <a:lnTo>
                      <a:pt x="2156346" y="3480123"/>
                    </a:lnTo>
                    <a:lnTo>
                      <a:pt x="1856828" y="3477453"/>
                    </a:lnTo>
                    <a:lnTo>
                      <a:pt x="1757878" y="3843827"/>
                    </a:lnTo>
                    <a:lnTo>
                      <a:pt x="2356915" y="4264581"/>
                    </a:lnTo>
                    <a:lnTo>
                      <a:pt x="2322152" y="5153328"/>
                    </a:lnTo>
                    <a:lnTo>
                      <a:pt x="2680518" y="5246938"/>
                    </a:lnTo>
                    <a:lnTo>
                      <a:pt x="2922988" y="4922465"/>
                    </a:lnTo>
                    <a:lnTo>
                      <a:pt x="3247461" y="4769136"/>
                    </a:lnTo>
                    <a:lnTo>
                      <a:pt x="3467646" y="4880564"/>
                    </a:lnTo>
                    <a:lnTo>
                      <a:pt x="4146017" y="4756659"/>
                    </a:lnTo>
                    <a:lnTo>
                      <a:pt x="4967907" y="4791422"/>
                    </a:lnTo>
                    <a:lnTo>
                      <a:pt x="5108758" y="4434855"/>
                    </a:lnTo>
                    <a:lnTo>
                      <a:pt x="5497418" y="4514189"/>
                    </a:lnTo>
                    <a:lnTo>
                      <a:pt x="5484941" y="5014276"/>
                    </a:lnTo>
                    <a:lnTo>
                      <a:pt x="5921129" y="5478259"/>
                    </a:lnTo>
                    <a:lnTo>
                      <a:pt x="5752366" y="6098248"/>
                    </a:lnTo>
                    <a:lnTo>
                      <a:pt x="5576752" y="6471761"/>
                    </a:lnTo>
                    <a:lnTo>
                      <a:pt x="4878766" y="6691945"/>
                    </a:lnTo>
                    <a:lnTo>
                      <a:pt x="4625971" y="7035159"/>
                    </a:lnTo>
                    <a:lnTo>
                      <a:pt x="4345167" y="6986534"/>
                    </a:ln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>
                  <a:defRPr/>
                </a:pPr>
                <a:endParaRPr lang="zh-CN" altLang="en-US" kern="0">
                  <a:solidFill>
                    <a:sysClr val="windowText" lastClr="000000"/>
                  </a:solidFill>
                  <a:latin typeface="Calibri"/>
                  <a:ea typeface="宋体" panose="02010600030101010101" pitchFamily="2" charset="-122"/>
                </a:endParaRPr>
              </a:p>
            </p:txBody>
          </p:sp>
          <p:sp>
            <p:nvSpPr>
              <p:cNvPr id="60" name="任意多边形 22">
                <a:extLst>
                  <a:ext uri="{FF2B5EF4-FFF2-40B4-BE49-F238E27FC236}">
                    <a16:creationId xmlns:a16="http://schemas.microsoft.com/office/drawing/2014/main" id="{3BA4188F-F8D5-4DBE-AEAC-B8C0CB6A7C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63638" y="5421313"/>
                <a:ext cx="1165225" cy="711200"/>
              </a:xfrm>
              <a:custGeom>
                <a:avLst/>
                <a:gdLst>
                  <a:gd name="T0" fmla="*/ 2457664 w 13629042"/>
                  <a:gd name="T1" fmla="*/ 1111603 h 8308110"/>
                  <a:gd name="T2" fmla="*/ 1913006 w 13629042"/>
                  <a:gd name="T3" fmla="*/ 2701006 h 8308110"/>
                  <a:gd name="T4" fmla="*/ 1556439 w 13629042"/>
                  <a:gd name="T5" fmla="*/ 3453372 h 8308110"/>
                  <a:gd name="T6" fmla="*/ 1797110 w 13629042"/>
                  <a:gd name="T7" fmla="*/ 4363534 h 8308110"/>
                  <a:gd name="T8" fmla="*/ 755035 w 13629042"/>
                  <a:gd name="T9" fmla="*/ 5026757 h 8308110"/>
                  <a:gd name="T10" fmla="*/ 74919 w 13629042"/>
                  <a:gd name="T11" fmla="*/ 5690156 h 8308110"/>
                  <a:gd name="T12" fmla="*/ 477801 w 13629042"/>
                  <a:gd name="T13" fmla="*/ 6808720 h 8308110"/>
                  <a:gd name="T14" fmla="*/ 588358 w 13629042"/>
                  <a:gd name="T15" fmla="*/ 7402418 h 8308110"/>
                  <a:gd name="T16" fmla="*/ 863792 w 13629042"/>
                  <a:gd name="T17" fmla="*/ 8209160 h 8308110"/>
                  <a:gd name="T18" fmla="*/ 1492253 w 13629042"/>
                  <a:gd name="T19" fmla="*/ 7973829 h 8308110"/>
                  <a:gd name="T20" fmla="*/ 2843654 w 13629042"/>
                  <a:gd name="T21" fmla="*/ 8221638 h 8308110"/>
                  <a:gd name="T22" fmla="*/ 3905345 w 13629042"/>
                  <a:gd name="T23" fmla="*/ 8100403 h 8308110"/>
                  <a:gd name="T24" fmla="*/ 4934943 w 13629042"/>
                  <a:gd name="T25" fmla="*/ 7077943 h 8308110"/>
                  <a:gd name="T26" fmla="*/ 5674831 w 13629042"/>
                  <a:gd name="T27" fmla="*/ 6657190 h 8308110"/>
                  <a:gd name="T28" fmla="*/ 6332715 w 13629042"/>
                  <a:gd name="T29" fmla="*/ 6828335 h 8308110"/>
                  <a:gd name="T30" fmla="*/ 7661831 w 13629042"/>
                  <a:gd name="T31" fmla="*/ 6806049 h 8308110"/>
                  <a:gd name="T32" fmla="*/ 8164588 w 13629042"/>
                  <a:gd name="T33" fmla="*/ 7825839 h 8308110"/>
                  <a:gd name="T34" fmla="*/ 11067090 w 13629042"/>
                  <a:gd name="T35" fmla="*/ 7724220 h 8308110"/>
                  <a:gd name="T36" fmla="*/ 10625850 w 13629042"/>
                  <a:gd name="T37" fmla="*/ 7392609 h 8308110"/>
                  <a:gd name="T38" fmla="*/ 11933551 w 13629042"/>
                  <a:gd name="T39" fmla="*/ 6335386 h 8308110"/>
                  <a:gd name="T40" fmla="*/ 12438107 w 13629042"/>
                  <a:gd name="T41" fmla="*/ 7159946 h 8308110"/>
                  <a:gd name="T42" fmla="*/ 13094428 w 13629042"/>
                  <a:gd name="T43" fmla="*/ 6721545 h 8308110"/>
                  <a:gd name="T44" fmla="*/ 13381233 w 13629042"/>
                  <a:gd name="T45" fmla="*/ 6085777 h 8308110"/>
                  <a:gd name="T46" fmla="*/ 13141432 w 13629042"/>
                  <a:gd name="T47" fmla="*/ 5149790 h 8308110"/>
                  <a:gd name="T48" fmla="*/ 11950497 w 13629042"/>
                  <a:gd name="T49" fmla="*/ 5436831 h 8308110"/>
                  <a:gd name="T50" fmla="*/ 10893275 w 13629042"/>
                  <a:gd name="T51" fmla="*/ 5669493 h 8308110"/>
                  <a:gd name="T52" fmla="*/ 9572167 w 13629042"/>
                  <a:gd name="T53" fmla="*/ 5135513 h 8308110"/>
                  <a:gd name="T54" fmla="*/ 9561660 w 13629042"/>
                  <a:gd name="T55" fmla="*/ 4363712 h 8308110"/>
                  <a:gd name="T56" fmla="*/ 10851373 w 13629042"/>
                  <a:gd name="T57" fmla="*/ 2704603 h 8308110"/>
                  <a:gd name="T58" fmla="*/ 11913935 w 13629042"/>
                  <a:gd name="T59" fmla="*/ 2052058 h 8308110"/>
                  <a:gd name="T60" fmla="*/ 10891476 w 13629042"/>
                  <a:gd name="T61" fmla="*/ 1017121 h 8308110"/>
                  <a:gd name="T62" fmla="*/ 10298181 w 13629042"/>
                  <a:gd name="T63" fmla="*/ 395457 h 8308110"/>
                  <a:gd name="T64" fmla="*/ 9236087 w 13629042"/>
                  <a:gd name="T65" fmla="*/ 665893 h 8308110"/>
                  <a:gd name="T66" fmla="*/ 8186873 w 13629042"/>
                  <a:gd name="T67" fmla="*/ 445708 h 8308110"/>
                  <a:gd name="T68" fmla="*/ 7211654 w 13629042"/>
                  <a:gd name="T69" fmla="*/ 299518 h 8308110"/>
                  <a:gd name="T70" fmla="*/ 6590332 w 13629042"/>
                  <a:gd name="T71" fmla="*/ 841507 h 8308110"/>
                  <a:gd name="T72" fmla="*/ 6157101 w 13629042"/>
                  <a:gd name="T73" fmla="*/ 1061691 h 8308110"/>
                  <a:gd name="T74" fmla="*/ 6315769 w 13629042"/>
                  <a:gd name="T75" fmla="*/ 2269573 h 8308110"/>
                  <a:gd name="T76" fmla="*/ 5818351 w 13629042"/>
                  <a:gd name="T77" fmla="*/ 2903373 h 8308110"/>
                  <a:gd name="T78" fmla="*/ 5605305 w 13629042"/>
                  <a:gd name="T79" fmla="*/ 2326621 h 8308110"/>
                  <a:gd name="T80" fmla="*/ 4578377 w 13629042"/>
                  <a:gd name="T81" fmla="*/ 1535024 h 8308110"/>
                  <a:gd name="T82" fmla="*/ 4125530 w 13629042"/>
                  <a:gd name="T83" fmla="*/ 958273 h 8308110"/>
                  <a:gd name="T84" fmla="*/ 3447159 w 13629042"/>
                  <a:gd name="T85" fmla="*/ 0 h 8308110"/>
                  <a:gd name="T86" fmla="*/ 0 w 13629042"/>
                  <a:gd name="T87" fmla="*/ 0 h 8308110"/>
                  <a:gd name="T88" fmla="*/ 13629042 w 13629042"/>
                  <a:gd name="T89" fmla="*/ 8308110 h 8308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T86" t="T87" r="T88" b="T89"/>
                <a:pathLst>
                  <a:path w="13629042" h="8308110">
                    <a:moveTo>
                      <a:pt x="2774102" y="431876"/>
                    </a:moveTo>
                    <a:lnTo>
                      <a:pt x="2457664" y="1111603"/>
                    </a:lnTo>
                    <a:lnTo>
                      <a:pt x="2438048" y="2287391"/>
                    </a:lnTo>
                    <a:lnTo>
                      <a:pt x="1913006" y="2701006"/>
                    </a:lnTo>
                    <a:lnTo>
                      <a:pt x="1925483" y="3067381"/>
                    </a:lnTo>
                    <a:lnTo>
                      <a:pt x="1556439" y="3453372"/>
                    </a:lnTo>
                    <a:lnTo>
                      <a:pt x="2084151" y="3843831"/>
                    </a:lnTo>
                    <a:lnTo>
                      <a:pt x="1797110" y="4363534"/>
                    </a:lnTo>
                    <a:lnTo>
                      <a:pt x="1398642" y="4729908"/>
                    </a:lnTo>
                    <a:lnTo>
                      <a:pt x="755035" y="5026757"/>
                    </a:lnTo>
                    <a:lnTo>
                      <a:pt x="681040" y="5447510"/>
                    </a:lnTo>
                    <a:lnTo>
                      <a:pt x="74919" y="5690156"/>
                    </a:lnTo>
                    <a:lnTo>
                      <a:pt x="0" y="6318441"/>
                    </a:lnTo>
                    <a:lnTo>
                      <a:pt x="477801" y="6808720"/>
                    </a:lnTo>
                    <a:lnTo>
                      <a:pt x="399916" y="7185635"/>
                    </a:lnTo>
                    <a:lnTo>
                      <a:pt x="588358" y="7402418"/>
                    </a:lnTo>
                    <a:lnTo>
                      <a:pt x="554466" y="8058501"/>
                    </a:lnTo>
                    <a:lnTo>
                      <a:pt x="863792" y="8209160"/>
                    </a:lnTo>
                    <a:lnTo>
                      <a:pt x="1331786" y="8308110"/>
                    </a:lnTo>
                    <a:lnTo>
                      <a:pt x="1492253" y="7973829"/>
                    </a:lnTo>
                    <a:lnTo>
                      <a:pt x="2167953" y="7976498"/>
                    </a:lnTo>
                    <a:lnTo>
                      <a:pt x="2843654" y="8221638"/>
                    </a:lnTo>
                    <a:lnTo>
                      <a:pt x="3487262" y="7795545"/>
                    </a:lnTo>
                    <a:lnTo>
                      <a:pt x="3905345" y="8100403"/>
                    </a:lnTo>
                    <a:lnTo>
                      <a:pt x="4214672" y="7384600"/>
                    </a:lnTo>
                    <a:lnTo>
                      <a:pt x="4934943" y="7077943"/>
                    </a:lnTo>
                    <a:lnTo>
                      <a:pt x="5231792" y="7102898"/>
                    </a:lnTo>
                    <a:lnTo>
                      <a:pt x="5674831" y="6657190"/>
                    </a:lnTo>
                    <a:lnTo>
                      <a:pt x="6006442" y="6370149"/>
                    </a:lnTo>
                    <a:lnTo>
                      <a:pt x="6332715" y="6828335"/>
                    </a:lnTo>
                    <a:lnTo>
                      <a:pt x="6870235" y="6580525"/>
                    </a:lnTo>
                    <a:lnTo>
                      <a:pt x="7661831" y="6806049"/>
                    </a:lnTo>
                    <a:lnTo>
                      <a:pt x="7661831" y="7315944"/>
                    </a:lnTo>
                    <a:lnTo>
                      <a:pt x="8164588" y="7825839"/>
                    </a:lnTo>
                    <a:lnTo>
                      <a:pt x="10052639" y="7912312"/>
                    </a:lnTo>
                    <a:lnTo>
                      <a:pt x="11067090" y="7724220"/>
                    </a:lnTo>
                    <a:lnTo>
                      <a:pt x="11175847" y="7367654"/>
                    </a:lnTo>
                    <a:lnTo>
                      <a:pt x="10625850" y="7392609"/>
                    </a:lnTo>
                    <a:lnTo>
                      <a:pt x="10526900" y="6902329"/>
                    </a:lnTo>
                    <a:lnTo>
                      <a:pt x="11933551" y="6335386"/>
                    </a:lnTo>
                    <a:lnTo>
                      <a:pt x="12472870" y="6704430"/>
                    </a:lnTo>
                    <a:lnTo>
                      <a:pt x="12438107" y="7159946"/>
                    </a:lnTo>
                    <a:lnTo>
                      <a:pt x="12772388" y="7293659"/>
                    </a:lnTo>
                    <a:lnTo>
                      <a:pt x="13094428" y="6721545"/>
                    </a:lnTo>
                    <a:lnTo>
                      <a:pt x="12970287" y="6038537"/>
                    </a:lnTo>
                    <a:lnTo>
                      <a:pt x="13381233" y="6085777"/>
                    </a:lnTo>
                    <a:lnTo>
                      <a:pt x="13629042" y="5818352"/>
                    </a:lnTo>
                    <a:lnTo>
                      <a:pt x="13141432" y="5149790"/>
                    </a:lnTo>
                    <a:lnTo>
                      <a:pt x="12507633" y="5226454"/>
                    </a:lnTo>
                    <a:lnTo>
                      <a:pt x="11950497" y="5436831"/>
                    </a:lnTo>
                    <a:lnTo>
                      <a:pt x="11794499" y="5847776"/>
                    </a:lnTo>
                    <a:lnTo>
                      <a:pt x="10893275" y="5669493"/>
                    </a:lnTo>
                    <a:lnTo>
                      <a:pt x="10859382" y="6098255"/>
                    </a:lnTo>
                    <a:lnTo>
                      <a:pt x="9572167" y="5135513"/>
                    </a:lnTo>
                    <a:lnTo>
                      <a:pt x="9846731" y="4753991"/>
                    </a:lnTo>
                    <a:lnTo>
                      <a:pt x="9561660" y="4363712"/>
                    </a:lnTo>
                    <a:lnTo>
                      <a:pt x="10319193" y="3848298"/>
                    </a:lnTo>
                    <a:lnTo>
                      <a:pt x="10851373" y="2704603"/>
                    </a:lnTo>
                    <a:lnTo>
                      <a:pt x="11628635" y="2400618"/>
                    </a:lnTo>
                    <a:lnTo>
                      <a:pt x="11913935" y="2052058"/>
                    </a:lnTo>
                    <a:lnTo>
                      <a:pt x="11493182" y="1039406"/>
                    </a:lnTo>
                    <a:lnTo>
                      <a:pt x="10891476" y="1017121"/>
                    </a:lnTo>
                    <a:lnTo>
                      <a:pt x="10760433" y="497418"/>
                    </a:lnTo>
                    <a:lnTo>
                      <a:pt x="10298181" y="395457"/>
                    </a:lnTo>
                    <a:lnTo>
                      <a:pt x="9810339" y="416404"/>
                    </a:lnTo>
                    <a:lnTo>
                      <a:pt x="9236087" y="665893"/>
                    </a:lnTo>
                    <a:lnTo>
                      <a:pt x="8404388" y="544658"/>
                    </a:lnTo>
                    <a:lnTo>
                      <a:pt x="8186873" y="445708"/>
                    </a:lnTo>
                    <a:lnTo>
                      <a:pt x="7629738" y="410945"/>
                    </a:lnTo>
                    <a:lnTo>
                      <a:pt x="7211654" y="299518"/>
                    </a:lnTo>
                    <a:lnTo>
                      <a:pt x="7055656" y="697986"/>
                    </a:lnTo>
                    <a:lnTo>
                      <a:pt x="6590332" y="841507"/>
                    </a:lnTo>
                    <a:lnTo>
                      <a:pt x="6513668" y="1165980"/>
                    </a:lnTo>
                    <a:lnTo>
                      <a:pt x="6157101" y="1061691"/>
                    </a:lnTo>
                    <a:lnTo>
                      <a:pt x="6392433" y="1524346"/>
                    </a:lnTo>
                    <a:lnTo>
                      <a:pt x="6315769" y="2269573"/>
                    </a:lnTo>
                    <a:lnTo>
                      <a:pt x="6258720" y="2556614"/>
                    </a:lnTo>
                    <a:lnTo>
                      <a:pt x="5818351" y="2903373"/>
                    </a:lnTo>
                    <a:lnTo>
                      <a:pt x="5773780" y="2638617"/>
                    </a:lnTo>
                    <a:lnTo>
                      <a:pt x="5605305" y="2326621"/>
                    </a:lnTo>
                    <a:lnTo>
                      <a:pt x="5105162" y="2307909"/>
                    </a:lnTo>
                    <a:lnTo>
                      <a:pt x="4578377" y="1535024"/>
                    </a:lnTo>
                    <a:lnTo>
                      <a:pt x="4234287" y="1502931"/>
                    </a:lnTo>
                    <a:lnTo>
                      <a:pt x="4125530" y="958273"/>
                    </a:lnTo>
                    <a:lnTo>
                      <a:pt x="3969532" y="515234"/>
                    </a:lnTo>
                    <a:lnTo>
                      <a:pt x="3447159" y="0"/>
                    </a:lnTo>
                    <a:lnTo>
                      <a:pt x="2774102" y="431876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>
                  <a:defRPr/>
                </a:pPr>
                <a:endParaRPr lang="zh-CN" altLang="en-US" kern="0">
                  <a:solidFill>
                    <a:sysClr val="windowText" lastClr="000000"/>
                  </a:solidFill>
                  <a:latin typeface="Calibri"/>
                  <a:ea typeface="宋体" panose="02010600030101010101" pitchFamily="2" charset="-122"/>
                </a:endParaRPr>
              </a:p>
            </p:txBody>
          </p:sp>
          <p:sp>
            <p:nvSpPr>
              <p:cNvPr id="61" name="任意多边形 23">
                <a:extLst>
                  <a:ext uri="{FF2B5EF4-FFF2-40B4-BE49-F238E27FC236}">
                    <a16:creationId xmlns:a16="http://schemas.microsoft.com/office/drawing/2014/main" id="{9B5CF6E0-79ED-4756-B79B-73585449AF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888" y="5376863"/>
                <a:ext cx="776287" cy="765175"/>
              </a:xfrm>
              <a:custGeom>
                <a:avLst/>
                <a:gdLst>
                  <a:gd name="T0" fmla="*/ 209 w 9084529"/>
                  <a:gd name="T1" fmla="*/ 22 h 8948083"/>
                  <a:gd name="T2" fmla="*/ 202 w 9084529"/>
                  <a:gd name="T3" fmla="*/ 38 h 8948083"/>
                  <a:gd name="T4" fmla="*/ 201 w 9084529"/>
                  <a:gd name="T5" fmla="*/ 65 h 8948083"/>
                  <a:gd name="T6" fmla="*/ 189 w 9084529"/>
                  <a:gd name="T7" fmla="*/ 74 h 8948083"/>
                  <a:gd name="T8" fmla="*/ 189 w 9084529"/>
                  <a:gd name="T9" fmla="*/ 83 h 8948083"/>
                  <a:gd name="T10" fmla="*/ 181 w 9084529"/>
                  <a:gd name="T11" fmla="*/ 92 h 8948083"/>
                  <a:gd name="T12" fmla="*/ 193 w 9084529"/>
                  <a:gd name="T13" fmla="*/ 101 h 8948083"/>
                  <a:gd name="T14" fmla="*/ 187 w 9084529"/>
                  <a:gd name="T15" fmla="*/ 112 h 8948083"/>
                  <a:gd name="T16" fmla="*/ 177 w 9084529"/>
                  <a:gd name="T17" fmla="*/ 121 h 8948083"/>
                  <a:gd name="T18" fmla="*/ 163 w 9084529"/>
                  <a:gd name="T19" fmla="*/ 128 h 8948083"/>
                  <a:gd name="T20" fmla="*/ 161 w 9084529"/>
                  <a:gd name="T21" fmla="*/ 137 h 8948083"/>
                  <a:gd name="T22" fmla="*/ 147 w 9084529"/>
                  <a:gd name="T23" fmla="*/ 143 h 8948083"/>
                  <a:gd name="T24" fmla="*/ 145 w 9084529"/>
                  <a:gd name="T25" fmla="*/ 157 h 8948083"/>
                  <a:gd name="T26" fmla="*/ 156 w 9084529"/>
                  <a:gd name="T27" fmla="*/ 169 h 8948083"/>
                  <a:gd name="T28" fmla="*/ 154 w 9084529"/>
                  <a:gd name="T29" fmla="*/ 177 h 8948083"/>
                  <a:gd name="T30" fmla="*/ 123 w 9084529"/>
                  <a:gd name="T31" fmla="*/ 176 h 8948083"/>
                  <a:gd name="T32" fmla="*/ 112 w 9084529"/>
                  <a:gd name="T33" fmla="*/ 194 h 8948083"/>
                  <a:gd name="T34" fmla="*/ 64 w 9084529"/>
                  <a:gd name="T35" fmla="*/ 206 h 8948083"/>
                  <a:gd name="T36" fmla="*/ 44 w 9084529"/>
                  <a:gd name="T37" fmla="*/ 190 h 8948083"/>
                  <a:gd name="T38" fmla="*/ 69 w 9084529"/>
                  <a:gd name="T39" fmla="*/ 185 h 8948083"/>
                  <a:gd name="T40" fmla="*/ 61 w 9084529"/>
                  <a:gd name="T41" fmla="*/ 177 h 8948083"/>
                  <a:gd name="T42" fmla="*/ 66 w 9084529"/>
                  <a:gd name="T43" fmla="*/ 168 h 8948083"/>
                  <a:gd name="T44" fmla="*/ 51 w 9084529"/>
                  <a:gd name="T45" fmla="*/ 170 h 8948083"/>
                  <a:gd name="T46" fmla="*/ 41 w 9084529"/>
                  <a:gd name="T47" fmla="*/ 179 h 8948083"/>
                  <a:gd name="T48" fmla="*/ 33 w 9084529"/>
                  <a:gd name="T49" fmla="*/ 177 h 8948083"/>
                  <a:gd name="T50" fmla="*/ 26 w 9084529"/>
                  <a:gd name="T51" fmla="*/ 169 h 8948083"/>
                  <a:gd name="T52" fmla="*/ 17 w 9084529"/>
                  <a:gd name="T53" fmla="*/ 143 h 8948083"/>
                  <a:gd name="T54" fmla="*/ 0 w 9084529"/>
                  <a:gd name="T55" fmla="*/ 128 h 8948083"/>
                  <a:gd name="T56" fmla="*/ 0 w 9084529"/>
                  <a:gd name="T57" fmla="*/ 100 h 8948083"/>
                  <a:gd name="T58" fmla="*/ 12 w 9084529"/>
                  <a:gd name="T59" fmla="*/ 92 h 8948083"/>
                  <a:gd name="T60" fmla="*/ 13 w 9084529"/>
                  <a:gd name="T61" fmla="*/ 77 h 8948083"/>
                  <a:gd name="T62" fmla="*/ 23 w 9084529"/>
                  <a:gd name="T63" fmla="*/ 60 h 8948083"/>
                  <a:gd name="T64" fmla="*/ 41 w 9084529"/>
                  <a:gd name="T65" fmla="*/ 59 h 8948083"/>
                  <a:gd name="T66" fmla="*/ 45 w 9084529"/>
                  <a:gd name="T67" fmla="*/ 69 h 8948083"/>
                  <a:gd name="T68" fmla="*/ 58 w 9084529"/>
                  <a:gd name="T69" fmla="*/ 58 h 8948083"/>
                  <a:gd name="T70" fmla="*/ 67 w 9084529"/>
                  <a:gd name="T71" fmla="*/ 62 h 8948083"/>
                  <a:gd name="T72" fmla="*/ 87 w 9084529"/>
                  <a:gd name="T73" fmla="*/ 51 h 8948083"/>
                  <a:gd name="T74" fmla="*/ 109 w 9084529"/>
                  <a:gd name="T75" fmla="*/ 53 h 8948083"/>
                  <a:gd name="T76" fmla="*/ 109 w 9084529"/>
                  <a:gd name="T77" fmla="*/ 43 h 8948083"/>
                  <a:gd name="T78" fmla="*/ 121 w 9084529"/>
                  <a:gd name="T79" fmla="*/ 42 h 8948083"/>
                  <a:gd name="T80" fmla="*/ 136 w 9084529"/>
                  <a:gd name="T81" fmla="*/ 29 h 8948083"/>
                  <a:gd name="T82" fmla="*/ 137 w 9084529"/>
                  <a:gd name="T83" fmla="*/ 24 h 8948083"/>
                  <a:gd name="T84" fmla="*/ 146 w 9084529"/>
                  <a:gd name="T85" fmla="*/ 21 h 8948083"/>
                  <a:gd name="T86" fmla="*/ 152 w 9084529"/>
                  <a:gd name="T87" fmla="*/ 14 h 8948083"/>
                  <a:gd name="T88" fmla="*/ 154 w 9084529"/>
                  <a:gd name="T89" fmla="*/ 0 h 8948083"/>
                  <a:gd name="T90" fmla="*/ 171 w 9084529"/>
                  <a:gd name="T91" fmla="*/ 3 h 8948083"/>
                  <a:gd name="T92" fmla="*/ 187 w 9084529"/>
                  <a:gd name="T93" fmla="*/ 7 h 8948083"/>
                  <a:gd name="T94" fmla="*/ 201 w 9084529"/>
                  <a:gd name="T95" fmla="*/ 9 h 8948083"/>
                  <a:gd name="T96" fmla="*/ 207 w 9084529"/>
                  <a:gd name="T97" fmla="*/ 11 h 8948083"/>
                  <a:gd name="T98" fmla="*/ 209 w 9084529"/>
                  <a:gd name="T99" fmla="*/ 22 h 8948083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9084529"/>
                  <a:gd name="T151" fmla="*/ 0 h 8948083"/>
                  <a:gd name="T152" fmla="*/ 9084529 w 9084529"/>
                  <a:gd name="T153" fmla="*/ 8948083 h 8948083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9084529" h="8948083">
                    <a:moveTo>
                      <a:pt x="9084528" y="954218"/>
                    </a:moveTo>
                    <a:lnTo>
                      <a:pt x="8768090" y="1633945"/>
                    </a:lnTo>
                    <a:lnTo>
                      <a:pt x="8748474" y="2809733"/>
                    </a:lnTo>
                    <a:lnTo>
                      <a:pt x="8223432" y="3223348"/>
                    </a:lnTo>
                    <a:lnTo>
                      <a:pt x="8235909" y="3589723"/>
                    </a:lnTo>
                    <a:lnTo>
                      <a:pt x="7866865" y="3975714"/>
                    </a:lnTo>
                    <a:lnTo>
                      <a:pt x="8394577" y="4366173"/>
                    </a:lnTo>
                    <a:lnTo>
                      <a:pt x="8107536" y="4885876"/>
                    </a:lnTo>
                    <a:lnTo>
                      <a:pt x="7709068" y="5252250"/>
                    </a:lnTo>
                    <a:lnTo>
                      <a:pt x="7065461" y="5549099"/>
                    </a:lnTo>
                    <a:lnTo>
                      <a:pt x="6991466" y="5969852"/>
                    </a:lnTo>
                    <a:lnTo>
                      <a:pt x="6385345" y="6212498"/>
                    </a:lnTo>
                    <a:lnTo>
                      <a:pt x="6310426" y="6840783"/>
                    </a:lnTo>
                    <a:lnTo>
                      <a:pt x="6788227" y="7331062"/>
                    </a:lnTo>
                    <a:lnTo>
                      <a:pt x="6710342" y="7707977"/>
                    </a:lnTo>
                    <a:lnTo>
                      <a:pt x="5350358" y="7654663"/>
                    </a:lnTo>
                    <a:lnTo>
                      <a:pt x="4877896" y="8409698"/>
                    </a:lnTo>
                    <a:lnTo>
                      <a:pt x="2799321" y="8948083"/>
                    </a:lnTo>
                    <a:lnTo>
                      <a:pt x="1929952" y="8263508"/>
                    </a:lnTo>
                    <a:lnTo>
                      <a:pt x="2989845" y="8030846"/>
                    </a:lnTo>
                    <a:lnTo>
                      <a:pt x="2665371" y="7686756"/>
                    </a:lnTo>
                    <a:lnTo>
                      <a:pt x="2868610" y="7295427"/>
                    </a:lnTo>
                    <a:lnTo>
                      <a:pt x="2212525" y="7372091"/>
                    </a:lnTo>
                    <a:lnTo>
                      <a:pt x="1801579" y="7795514"/>
                    </a:lnTo>
                    <a:lnTo>
                      <a:pt x="1412919" y="7709042"/>
                    </a:lnTo>
                    <a:lnTo>
                      <a:pt x="1145494" y="7332859"/>
                    </a:lnTo>
                    <a:lnTo>
                      <a:pt x="749696" y="6201642"/>
                    </a:lnTo>
                    <a:lnTo>
                      <a:pt x="0" y="5551767"/>
                    </a:lnTo>
                    <a:lnTo>
                      <a:pt x="19614" y="4328738"/>
                    </a:lnTo>
                    <a:lnTo>
                      <a:pt x="507224" y="4006934"/>
                    </a:lnTo>
                    <a:lnTo>
                      <a:pt x="554521" y="3328564"/>
                    </a:lnTo>
                    <a:lnTo>
                      <a:pt x="985026" y="2591346"/>
                    </a:lnTo>
                    <a:lnTo>
                      <a:pt x="1777488" y="2549559"/>
                    </a:lnTo>
                    <a:lnTo>
                      <a:pt x="1935290" y="2975537"/>
                    </a:lnTo>
                    <a:lnTo>
                      <a:pt x="2519180" y="2529829"/>
                    </a:lnTo>
                    <a:lnTo>
                      <a:pt x="2910509" y="2685827"/>
                    </a:lnTo>
                    <a:lnTo>
                      <a:pt x="3801056" y="2223172"/>
                    </a:lnTo>
                    <a:lnTo>
                      <a:pt x="4719227" y="2282890"/>
                    </a:lnTo>
                    <a:lnTo>
                      <a:pt x="4716557" y="1846990"/>
                    </a:lnTo>
                    <a:lnTo>
                      <a:pt x="5251407" y="1814896"/>
                    </a:lnTo>
                    <a:lnTo>
                      <a:pt x="5927108" y="1270238"/>
                    </a:lnTo>
                    <a:lnTo>
                      <a:pt x="5957456" y="1045700"/>
                    </a:lnTo>
                    <a:lnTo>
                      <a:pt x="6325576" y="906533"/>
                    </a:lnTo>
                    <a:lnTo>
                      <a:pt x="6625094" y="616823"/>
                    </a:lnTo>
                    <a:lnTo>
                      <a:pt x="6713365" y="0"/>
                    </a:lnTo>
                    <a:lnTo>
                      <a:pt x="7451456" y="126544"/>
                    </a:lnTo>
                    <a:lnTo>
                      <a:pt x="8149442" y="304827"/>
                    </a:lnTo>
                    <a:lnTo>
                      <a:pt x="8726193" y="403777"/>
                    </a:lnTo>
                    <a:lnTo>
                      <a:pt x="9013234" y="458155"/>
                    </a:lnTo>
                    <a:lnTo>
                      <a:pt x="9084528" y="954218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>
                  <a:defRPr/>
                </a:pPr>
                <a:endParaRPr lang="zh-CN" altLang="en-US" kern="0">
                  <a:solidFill>
                    <a:sysClr val="windowText" lastClr="000000"/>
                  </a:solidFill>
                  <a:latin typeface="Calibri"/>
                  <a:ea typeface="宋体" panose="02010600030101010101" pitchFamily="2" charset="-122"/>
                </a:endParaRPr>
              </a:p>
            </p:txBody>
          </p:sp>
          <p:sp>
            <p:nvSpPr>
              <p:cNvPr id="62" name="任意多边形 24">
                <a:extLst>
                  <a:ext uri="{FF2B5EF4-FFF2-40B4-BE49-F238E27FC236}">
                    <a16:creationId xmlns:a16="http://schemas.microsoft.com/office/drawing/2014/main" id="{F3729A8B-61C4-409F-BD0A-2B5CD94C6A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6113" y="4830763"/>
                <a:ext cx="1401762" cy="839788"/>
              </a:xfrm>
              <a:custGeom>
                <a:avLst/>
                <a:gdLst>
                  <a:gd name="T0" fmla="*/ 11000233 w 16400500"/>
                  <a:gd name="T1" fmla="*/ 3081656 h 9824619"/>
                  <a:gd name="T2" fmla="*/ 9495503 w 16400500"/>
                  <a:gd name="T3" fmla="*/ 1677674 h 9824619"/>
                  <a:gd name="T4" fmla="*/ 8557716 w 16400500"/>
                  <a:gd name="T5" fmla="*/ 1591202 h 9824619"/>
                  <a:gd name="T6" fmla="*/ 7151936 w 16400500"/>
                  <a:gd name="T7" fmla="*/ 1915675 h 9824619"/>
                  <a:gd name="T8" fmla="*/ 6632233 w 16400500"/>
                  <a:gd name="T9" fmla="*/ 1804248 h 9824619"/>
                  <a:gd name="T10" fmla="*/ 6094250 w 16400500"/>
                  <a:gd name="T11" fmla="*/ 1728917 h 9824619"/>
                  <a:gd name="T12" fmla="*/ 6236435 w 16400500"/>
                  <a:gd name="T13" fmla="*/ 2291857 h 9824619"/>
                  <a:gd name="T14" fmla="*/ 6679473 w 16400500"/>
                  <a:gd name="T15" fmla="*/ 2900702 h 9824619"/>
                  <a:gd name="T16" fmla="*/ 7345366 w 16400500"/>
                  <a:gd name="T17" fmla="*/ 3487261 h 9824619"/>
                  <a:gd name="T18" fmla="*/ 7189368 w 16400500"/>
                  <a:gd name="T19" fmla="*/ 4670187 h 9824619"/>
                  <a:gd name="T20" fmla="*/ 6835471 w 16400500"/>
                  <a:gd name="T21" fmla="*/ 5476931 h 9824619"/>
                  <a:gd name="T22" fmla="*/ 6223957 w 16400500"/>
                  <a:gd name="T23" fmla="*/ 5489408 h 9824619"/>
                  <a:gd name="T24" fmla="*/ 6424526 w 16400500"/>
                  <a:gd name="T25" fmla="*/ 4667517 h 9824619"/>
                  <a:gd name="T26" fmla="*/ 5840636 w 16400500"/>
                  <a:gd name="T27" fmla="*/ 4193256 h 9824619"/>
                  <a:gd name="T28" fmla="*/ 5065986 w 16400500"/>
                  <a:gd name="T29" fmla="*/ 4037258 h 9824619"/>
                  <a:gd name="T30" fmla="*/ 3659335 w 16400500"/>
                  <a:gd name="T31" fmla="*/ 3695838 h 9824619"/>
                  <a:gd name="T32" fmla="*/ 2600314 w 16400500"/>
                  <a:gd name="T33" fmla="*/ 3881260 h 9824619"/>
                  <a:gd name="T34" fmla="*/ 2898033 w 16400500"/>
                  <a:gd name="T35" fmla="*/ 3207359 h 9824619"/>
                  <a:gd name="T36" fmla="*/ 3390111 w 16400500"/>
                  <a:gd name="T37" fmla="*/ 2616331 h 9824619"/>
                  <a:gd name="T38" fmla="*/ 3845627 w 16400500"/>
                  <a:gd name="T39" fmla="*/ 1995009 h 9824619"/>
                  <a:gd name="T40" fmla="*/ 4877895 w 16400500"/>
                  <a:gd name="T41" fmla="*/ 2373861 h 9824619"/>
                  <a:gd name="T42" fmla="*/ 5008938 w 16400500"/>
                  <a:gd name="T43" fmla="*/ 1606349 h 9824619"/>
                  <a:gd name="T44" fmla="*/ 4887703 w 16400500"/>
                  <a:gd name="T45" fmla="*/ 873600 h 9824619"/>
                  <a:gd name="T46" fmla="*/ 4345714 w 16400500"/>
                  <a:gd name="T47" fmla="*/ 369044 h 9824619"/>
                  <a:gd name="T48" fmla="*/ 3997156 w 16400500"/>
                  <a:gd name="T49" fmla="*/ 245140 h 9824619"/>
                  <a:gd name="T50" fmla="*/ 3126226 w 16400500"/>
                  <a:gd name="T51" fmla="*/ 57048 h 9824619"/>
                  <a:gd name="T52" fmla="*/ 1776624 w 16400500"/>
                  <a:gd name="T53" fmla="*/ 232662 h 9824619"/>
                  <a:gd name="T54" fmla="*/ 1064361 w 16400500"/>
                  <a:gd name="T55" fmla="*/ 866462 h 9824619"/>
                  <a:gd name="T56" fmla="*/ 1841681 w 16400500"/>
                  <a:gd name="T57" fmla="*/ 3331263 h 9824619"/>
                  <a:gd name="T58" fmla="*/ 1108932 w 16400500"/>
                  <a:gd name="T59" fmla="*/ 4873425 h 9824619"/>
                  <a:gd name="T60" fmla="*/ 576751 w 16400500"/>
                  <a:gd name="T61" fmla="*/ 6155301 h 9824619"/>
                  <a:gd name="T62" fmla="*/ 324473 w 16400500"/>
                  <a:gd name="T63" fmla="*/ 7855260 h 9824619"/>
                  <a:gd name="T64" fmla="*/ 293423 w 16400500"/>
                  <a:gd name="T65" fmla="*/ 9716498 h 9824619"/>
                  <a:gd name="T66" fmla="*/ 1510069 w 16400500"/>
                  <a:gd name="T67" fmla="*/ 8950612 h 9824619"/>
                  <a:gd name="T68" fmla="*/ 2264002 w 16400500"/>
                  <a:gd name="T69" fmla="*/ 8928327 h 9824619"/>
                  <a:gd name="T70" fmla="*/ 3536069 w 16400500"/>
                  <a:gd name="T71" fmla="*/ 8619000 h 9824619"/>
                  <a:gd name="T72" fmla="*/ 4454472 w 16400500"/>
                  <a:gd name="T73" fmla="*/ 8251058 h 9824619"/>
                  <a:gd name="T74" fmla="*/ 5659452 w 16400500"/>
                  <a:gd name="T75" fmla="*/ 7664499 h 9824619"/>
                  <a:gd name="T76" fmla="*/ 6067728 w 16400500"/>
                  <a:gd name="T77" fmla="*/ 7295224 h 9824619"/>
                  <a:gd name="T78" fmla="*/ 6456388 w 16400500"/>
                  <a:gd name="T79" fmla="*/ 6397134 h 9824619"/>
                  <a:gd name="T80" fmla="*/ 7918114 w 16400500"/>
                  <a:gd name="T81" fmla="*/ 6719806 h 9824619"/>
                  <a:gd name="T82" fmla="*/ 8748014 w 16400500"/>
                  <a:gd name="T83" fmla="*/ 6863329 h 9824619"/>
                  <a:gd name="T84" fmla="*/ 9485463 w 16400500"/>
                  <a:gd name="T85" fmla="*/ 6926180 h 9824619"/>
                  <a:gd name="T86" fmla="*/ 10179444 w 16400500"/>
                  <a:gd name="T87" fmla="*/ 7918113 h 9824619"/>
                  <a:gd name="T88" fmla="*/ 10628053 w 16400500"/>
                  <a:gd name="T89" fmla="*/ 8454531 h 9824619"/>
                  <a:gd name="T90" fmla="*/ 11646510 w 16400500"/>
                  <a:gd name="T91" fmla="*/ 9244560 h 9824619"/>
                  <a:gd name="T92" fmla="*/ 11865361 w 16400500"/>
                  <a:gd name="T93" fmla="*/ 9824619 h 9824619"/>
                  <a:gd name="T94" fmla="*/ 12362778 w 16400500"/>
                  <a:gd name="T95" fmla="*/ 9191517 h 9824619"/>
                  <a:gd name="T96" fmla="*/ 12214150 w 16400500"/>
                  <a:gd name="T97" fmla="*/ 7990774 h 9824619"/>
                  <a:gd name="T98" fmla="*/ 12637342 w 16400500"/>
                  <a:gd name="T99" fmla="*/ 7769022 h 9824619"/>
                  <a:gd name="T100" fmla="*/ 13260229 w 16400500"/>
                  <a:gd name="T101" fmla="*/ 7228601 h 9824619"/>
                  <a:gd name="T102" fmla="*/ 14250239 w 16400500"/>
                  <a:gd name="T103" fmla="*/ 7371668 h 9824619"/>
                  <a:gd name="T104" fmla="*/ 15291568 w 16400500"/>
                  <a:gd name="T105" fmla="*/ 7589171 h 9824619"/>
                  <a:gd name="T106" fmla="*/ 16353260 w 16400500"/>
                  <a:gd name="T107" fmla="*/ 7309676 h 9824619"/>
                  <a:gd name="T108" fmla="*/ 16049099 w 16400500"/>
                  <a:gd name="T109" fmla="*/ 6445821 h 9824619"/>
                  <a:gd name="T110" fmla="*/ 15763636 w 16400500"/>
                  <a:gd name="T111" fmla="*/ 5867352 h 9824619"/>
                  <a:gd name="T112" fmla="*/ 14276247 w 16400500"/>
                  <a:gd name="T113" fmla="*/ 4835993 h 9824619"/>
                  <a:gd name="T114" fmla="*/ 13531021 w 16400500"/>
                  <a:gd name="T115" fmla="*/ 4514189 h 9824619"/>
                  <a:gd name="T116" fmla="*/ 14355581 w 16400500"/>
                  <a:gd name="T117" fmla="*/ 3793918 h 9824619"/>
                  <a:gd name="T118" fmla="*/ 13269805 w 16400500"/>
                  <a:gd name="T119" fmla="*/ 3468517 h 9824619"/>
                  <a:gd name="T120" fmla="*/ 12594104 w 16400500"/>
                  <a:gd name="T121" fmla="*/ 3411469 h 9824619"/>
                  <a:gd name="T122" fmla="*/ 11705357 w 16400500"/>
                  <a:gd name="T123" fmla="*/ 3401661 h 9824619"/>
                  <a:gd name="T124" fmla="*/ 0 w 16400500"/>
                  <a:gd name="T125" fmla="*/ 0 h 9824619"/>
                  <a:gd name="T126" fmla="*/ 16400500 w 16400500"/>
                  <a:gd name="T127" fmla="*/ 9824619 h 98246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T124" t="T125" r="T126" b="T127"/>
                <a:pathLst>
                  <a:path w="16400500" h="9824619">
                    <a:moveTo>
                      <a:pt x="11351844" y="3368185"/>
                    </a:moveTo>
                    <a:lnTo>
                      <a:pt x="11000233" y="3081656"/>
                    </a:lnTo>
                    <a:lnTo>
                      <a:pt x="10327202" y="2346236"/>
                    </a:lnTo>
                    <a:lnTo>
                      <a:pt x="9495503" y="1677674"/>
                    </a:lnTo>
                    <a:lnTo>
                      <a:pt x="9087227" y="1712437"/>
                    </a:lnTo>
                    <a:lnTo>
                      <a:pt x="8557716" y="1591202"/>
                    </a:lnTo>
                    <a:lnTo>
                      <a:pt x="7275840" y="1559109"/>
                    </a:lnTo>
                    <a:lnTo>
                      <a:pt x="7151936" y="1915675"/>
                    </a:lnTo>
                    <a:lnTo>
                      <a:pt x="7033370" y="1759677"/>
                    </a:lnTo>
                    <a:lnTo>
                      <a:pt x="6632233" y="1804248"/>
                    </a:lnTo>
                    <a:lnTo>
                      <a:pt x="6248912" y="1581394"/>
                    </a:lnTo>
                    <a:lnTo>
                      <a:pt x="6094250" y="1728917"/>
                    </a:lnTo>
                    <a:lnTo>
                      <a:pt x="6060938" y="1831767"/>
                    </a:lnTo>
                    <a:lnTo>
                      <a:pt x="6236435" y="2291857"/>
                    </a:lnTo>
                    <a:lnTo>
                      <a:pt x="6345192" y="2645754"/>
                    </a:lnTo>
                    <a:lnTo>
                      <a:pt x="6679473" y="2900702"/>
                    </a:lnTo>
                    <a:lnTo>
                      <a:pt x="7328420" y="2840984"/>
                    </a:lnTo>
                    <a:lnTo>
                      <a:pt x="7345366" y="3487261"/>
                    </a:lnTo>
                    <a:lnTo>
                      <a:pt x="7077941" y="4118391"/>
                    </a:lnTo>
                    <a:lnTo>
                      <a:pt x="7189368" y="4670187"/>
                    </a:lnTo>
                    <a:lnTo>
                      <a:pt x="7142998" y="5139051"/>
                    </a:lnTo>
                    <a:lnTo>
                      <a:pt x="6835471" y="5476931"/>
                    </a:lnTo>
                    <a:lnTo>
                      <a:pt x="6367478" y="5766641"/>
                    </a:lnTo>
                    <a:lnTo>
                      <a:pt x="6223957" y="5489408"/>
                    </a:lnTo>
                    <a:lnTo>
                      <a:pt x="6077767" y="5189890"/>
                    </a:lnTo>
                    <a:lnTo>
                      <a:pt x="6424526" y="4667517"/>
                    </a:lnTo>
                    <a:lnTo>
                      <a:pt x="5939586" y="4482966"/>
                    </a:lnTo>
                    <a:lnTo>
                      <a:pt x="5840636" y="4193256"/>
                    </a:lnTo>
                    <a:lnTo>
                      <a:pt x="5585689" y="3881260"/>
                    </a:lnTo>
                    <a:lnTo>
                      <a:pt x="5065986" y="4037258"/>
                    </a:lnTo>
                    <a:lnTo>
                      <a:pt x="4412571" y="3668214"/>
                    </a:lnTo>
                    <a:lnTo>
                      <a:pt x="3659335" y="3695838"/>
                    </a:lnTo>
                    <a:lnTo>
                      <a:pt x="2876676" y="4102315"/>
                    </a:lnTo>
                    <a:lnTo>
                      <a:pt x="2600314" y="3881260"/>
                    </a:lnTo>
                    <a:lnTo>
                      <a:pt x="2964889" y="3653067"/>
                    </a:lnTo>
                    <a:lnTo>
                      <a:pt x="2898033" y="3207359"/>
                    </a:lnTo>
                    <a:lnTo>
                      <a:pt x="3236783" y="2938134"/>
                    </a:lnTo>
                    <a:lnTo>
                      <a:pt x="3390111" y="2616331"/>
                    </a:lnTo>
                    <a:lnTo>
                      <a:pt x="3434682" y="2316812"/>
                    </a:lnTo>
                    <a:lnTo>
                      <a:pt x="3845627" y="1995009"/>
                    </a:lnTo>
                    <a:lnTo>
                      <a:pt x="4457141" y="2742905"/>
                    </a:lnTo>
                    <a:lnTo>
                      <a:pt x="4877895" y="2373861"/>
                    </a:lnTo>
                    <a:lnTo>
                      <a:pt x="4887703" y="2039580"/>
                    </a:lnTo>
                    <a:lnTo>
                      <a:pt x="5008938" y="1606349"/>
                    </a:lnTo>
                    <a:lnTo>
                      <a:pt x="5429691" y="1284545"/>
                    </a:lnTo>
                    <a:lnTo>
                      <a:pt x="4887703" y="873600"/>
                    </a:lnTo>
                    <a:lnTo>
                      <a:pt x="4384946" y="886077"/>
                    </a:lnTo>
                    <a:lnTo>
                      <a:pt x="4345714" y="369044"/>
                    </a:lnTo>
                    <a:lnTo>
                      <a:pt x="4249434" y="0"/>
                    </a:lnTo>
                    <a:lnTo>
                      <a:pt x="3997156" y="245140"/>
                    </a:lnTo>
                    <a:lnTo>
                      <a:pt x="3395450" y="222854"/>
                    </a:lnTo>
                    <a:lnTo>
                      <a:pt x="3126226" y="57048"/>
                    </a:lnTo>
                    <a:lnTo>
                      <a:pt x="2170623" y="146190"/>
                    </a:lnTo>
                    <a:lnTo>
                      <a:pt x="1776624" y="232662"/>
                    </a:lnTo>
                    <a:lnTo>
                      <a:pt x="1175904" y="7197"/>
                    </a:lnTo>
                    <a:lnTo>
                      <a:pt x="1064361" y="866462"/>
                    </a:lnTo>
                    <a:lnTo>
                      <a:pt x="972550" y="2148337"/>
                    </a:lnTo>
                    <a:lnTo>
                      <a:pt x="1841681" y="3331263"/>
                    </a:lnTo>
                    <a:lnTo>
                      <a:pt x="1777494" y="3938308"/>
                    </a:lnTo>
                    <a:lnTo>
                      <a:pt x="1108932" y="4873425"/>
                    </a:lnTo>
                    <a:lnTo>
                      <a:pt x="1044745" y="5680169"/>
                    </a:lnTo>
                    <a:lnTo>
                      <a:pt x="576751" y="6155301"/>
                    </a:lnTo>
                    <a:lnTo>
                      <a:pt x="646277" y="7182229"/>
                    </a:lnTo>
                    <a:lnTo>
                      <a:pt x="324473" y="7855260"/>
                    </a:lnTo>
                    <a:lnTo>
                      <a:pt x="0" y="8716383"/>
                    </a:lnTo>
                    <a:lnTo>
                      <a:pt x="293423" y="9716498"/>
                    </a:lnTo>
                    <a:lnTo>
                      <a:pt x="725842" y="8988276"/>
                    </a:lnTo>
                    <a:lnTo>
                      <a:pt x="1510069" y="8950612"/>
                    </a:lnTo>
                    <a:lnTo>
                      <a:pt x="1673205" y="9368232"/>
                    </a:lnTo>
                    <a:lnTo>
                      <a:pt x="2264002" y="8928327"/>
                    </a:lnTo>
                    <a:lnTo>
                      <a:pt x="2645748" y="9089266"/>
                    </a:lnTo>
                    <a:lnTo>
                      <a:pt x="3536069" y="8619000"/>
                    </a:lnTo>
                    <a:lnTo>
                      <a:pt x="4456910" y="8680052"/>
                    </a:lnTo>
                    <a:cubicBezTo>
                      <a:pt x="4456097" y="8537054"/>
                      <a:pt x="4455285" y="8394056"/>
                      <a:pt x="4454472" y="8251058"/>
                    </a:cubicBezTo>
                    <a:lnTo>
                      <a:pt x="4976844" y="8216064"/>
                    </a:lnTo>
                    <a:lnTo>
                      <a:pt x="5659452" y="7664499"/>
                    </a:lnTo>
                    <a:lnTo>
                      <a:pt x="5684638" y="7454123"/>
                    </a:lnTo>
                    <a:lnTo>
                      <a:pt x="6067728" y="7295224"/>
                    </a:lnTo>
                    <a:lnTo>
                      <a:pt x="6365678" y="7005513"/>
                    </a:lnTo>
                    <a:lnTo>
                      <a:pt x="6456388" y="6397134"/>
                    </a:lnTo>
                    <a:lnTo>
                      <a:pt x="7181128" y="6520573"/>
                    </a:lnTo>
                    <a:lnTo>
                      <a:pt x="7918114" y="6719806"/>
                    </a:lnTo>
                    <a:lnTo>
                      <a:pt x="8372295" y="6790902"/>
                    </a:lnTo>
                    <a:lnTo>
                      <a:pt x="8748014" y="6863329"/>
                    </a:lnTo>
                    <a:lnTo>
                      <a:pt x="8821655" y="7347055"/>
                    </a:lnTo>
                    <a:lnTo>
                      <a:pt x="9485463" y="6926180"/>
                    </a:lnTo>
                    <a:lnTo>
                      <a:pt x="10014974" y="7426267"/>
                    </a:lnTo>
                    <a:lnTo>
                      <a:pt x="10179444" y="7918113"/>
                    </a:lnTo>
                    <a:lnTo>
                      <a:pt x="10274037" y="8422554"/>
                    </a:lnTo>
                    <a:lnTo>
                      <a:pt x="10628053" y="8454531"/>
                    </a:lnTo>
                    <a:lnTo>
                      <a:pt x="11151994" y="9234749"/>
                    </a:lnTo>
                    <a:lnTo>
                      <a:pt x="11646510" y="9244560"/>
                    </a:lnTo>
                    <a:lnTo>
                      <a:pt x="11816553" y="9538505"/>
                    </a:lnTo>
                    <a:lnTo>
                      <a:pt x="11865361" y="9824619"/>
                    </a:lnTo>
                    <a:lnTo>
                      <a:pt x="12304162" y="9471417"/>
                    </a:lnTo>
                    <a:lnTo>
                      <a:pt x="12362778" y="9191517"/>
                    </a:lnTo>
                    <a:lnTo>
                      <a:pt x="12436541" y="8444723"/>
                    </a:lnTo>
                    <a:lnTo>
                      <a:pt x="12214150" y="7990774"/>
                    </a:lnTo>
                    <a:lnTo>
                      <a:pt x="12562013" y="8086586"/>
                    </a:lnTo>
                    <a:lnTo>
                      <a:pt x="12637342" y="7769022"/>
                    </a:lnTo>
                    <a:lnTo>
                      <a:pt x="13105335" y="7615694"/>
                    </a:lnTo>
                    <a:lnTo>
                      <a:pt x="13260229" y="7228601"/>
                    </a:lnTo>
                    <a:lnTo>
                      <a:pt x="13687889" y="7332888"/>
                    </a:lnTo>
                    <a:lnTo>
                      <a:pt x="14250239" y="7371668"/>
                    </a:lnTo>
                    <a:lnTo>
                      <a:pt x="14438920" y="7459693"/>
                    </a:lnTo>
                    <a:lnTo>
                      <a:pt x="15291568" y="7589171"/>
                    </a:lnTo>
                    <a:lnTo>
                      <a:pt x="15857176" y="7331552"/>
                    </a:lnTo>
                    <a:lnTo>
                      <a:pt x="16353260" y="7309676"/>
                    </a:lnTo>
                    <a:lnTo>
                      <a:pt x="16400500" y="6768614"/>
                    </a:lnTo>
                    <a:lnTo>
                      <a:pt x="16049099" y="6445821"/>
                    </a:lnTo>
                    <a:lnTo>
                      <a:pt x="15932504" y="6115199"/>
                    </a:lnTo>
                    <a:lnTo>
                      <a:pt x="15763636" y="5867352"/>
                    </a:lnTo>
                    <a:lnTo>
                      <a:pt x="15123093" y="5447507"/>
                    </a:lnTo>
                    <a:lnTo>
                      <a:pt x="14276247" y="4835993"/>
                    </a:lnTo>
                    <a:lnTo>
                      <a:pt x="14065871" y="4590853"/>
                    </a:lnTo>
                    <a:lnTo>
                      <a:pt x="13531021" y="4514189"/>
                    </a:lnTo>
                    <a:lnTo>
                      <a:pt x="14276247" y="4103244"/>
                    </a:lnTo>
                    <a:lnTo>
                      <a:pt x="14355581" y="3793918"/>
                    </a:lnTo>
                    <a:lnTo>
                      <a:pt x="14029662" y="3528238"/>
                    </a:lnTo>
                    <a:lnTo>
                      <a:pt x="13269805" y="3468517"/>
                    </a:lnTo>
                    <a:lnTo>
                      <a:pt x="12992572" y="3369568"/>
                    </a:lnTo>
                    <a:lnTo>
                      <a:pt x="12594104" y="3411469"/>
                    </a:lnTo>
                    <a:lnTo>
                      <a:pt x="12059254" y="3713657"/>
                    </a:lnTo>
                    <a:lnTo>
                      <a:pt x="11705357" y="3401661"/>
                    </a:lnTo>
                    <a:lnTo>
                      <a:pt x="11351844" y="3368185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>
                  <a:defRPr/>
                </a:pPr>
                <a:endParaRPr lang="zh-CN" altLang="en-US" kern="0">
                  <a:solidFill>
                    <a:sysClr val="windowText" lastClr="000000"/>
                  </a:solidFill>
                  <a:latin typeface="Calibri"/>
                  <a:ea typeface="宋体" panose="02010600030101010101" pitchFamily="2" charset="-122"/>
                </a:endParaRPr>
              </a:p>
            </p:txBody>
          </p:sp>
          <p:sp>
            <p:nvSpPr>
              <p:cNvPr id="63" name="任意多边形 25">
                <a:extLst>
                  <a:ext uri="{FF2B5EF4-FFF2-40B4-BE49-F238E27FC236}">
                    <a16:creationId xmlns:a16="http://schemas.microsoft.com/office/drawing/2014/main" id="{84B039B6-A0BA-40DD-B631-6FB9E30C09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55750" y="4705351"/>
                <a:ext cx="841375" cy="922338"/>
              </a:xfrm>
              <a:custGeom>
                <a:avLst/>
                <a:gdLst>
                  <a:gd name="T0" fmla="*/ 353898 w 9825316"/>
                  <a:gd name="T1" fmla="*/ 4554288 h 10788811"/>
                  <a:gd name="T2" fmla="*/ 41901 w 9825316"/>
                  <a:gd name="T3" fmla="*/ 3873246 h 10788811"/>
                  <a:gd name="T4" fmla="*/ 165808 w 9825316"/>
                  <a:gd name="T5" fmla="*/ 2910505 h 10788811"/>
                  <a:gd name="T6" fmla="*/ 1051886 w 9825316"/>
                  <a:gd name="T7" fmla="*/ 2801750 h 10788811"/>
                  <a:gd name="T8" fmla="*/ 682842 w 9825316"/>
                  <a:gd name="T9" fmla="*/ 2069003 h 10788811"/>
                  <a:gd name="T10" fmla="*/ 532183 w 9825316"/>
                  <a:gd name="T11" fmla="*/ 1198073 h 10788811"/>
                  <a:gd name="T12" fmla="*/ 1331788 w 9825316"/>
                  <a:gd name="T13" fmla="*/ 0 h 10788811"/>
                  <a:gd name="T14" fmla="*/ 2247289 w 9825316"/>
                  <a:gd name="T15" fmla="*/ 623992 h 10788811"/>
                  <a:gd name="T16" fmla="*/ 2534330 w 9825316"/>
                  <a:gd name="T17" fmla="*/ 91811 h 10788811"/>
                  <a:gd name="T18" fmla="*/ 3217170 w 9825316"/>
                  <a:gd name="T19" fmla="*/ 502757 h 10788811"/>
                  <a:gd name="T20" fmla="*/ 4001628 w 9825316"/>
                  <a:gd name="T21" fmla="*/ 668562 h 10788811"/>
                  <a:gd name="T22" fmla="*/ 4833327 w 9825316"/>
                  <a:gd name="T23" fmla="*/ 410945 h 10788811"/>
                  <a:gd name="T24" fmla="*/ 5751498 w 9825316"/>
                  <a:gd name="T25" fmla="*/ 579421 h 10788811"/>
                  <a:gd name="T26" fmla="*/ 6471769 w 9825316"/>
                  <a:gd name="T27" fmla="*/ 235332 h 10788811"/>
                  <a:gd name="T28" fmla="*/ 7281183 w 9825316"/>
                  <a:gd name="T29" fmla="*/ 467994 h 10788811"/>
                  <a:gd name="T30" fmla="*/ 7770591 w 9825316"/>
                  <a:gd name="T31" fmla="*/ 1925483 h 10788811"/>
                  <a:gd name="T32" fmla="*/ 8670417 w 9825316"/>
                  <a:gd name="T33" fmla="*/ 3039003 h 10788811"/>
                  <a:gd name="T34" fmla="*/ 9188846 w 9825316"/>
                  <a:gd name="T35" fmla="*/ 3882187 h 10788811"/>
                  <a:gd name="T36" fmla="*/ 9188847 w 9825316"/>
                  <a:gd name="T37" fmla="*/ 4602458 h 10788811"/>
                  <a:gd name="T38" fmla="*/ 9542742 w 9825316"/>
                  <a:gd name="T39" fmla="*/ 5246066 h 10788811"/>
                  <a:gd name="T40" fmla="*/ 9310080 w 9825316"/>
                  <a:gd name="T41" fmla="*/ 5998430 h 10788811"/>
                  <a:gd name="T42" fmla="*/ 8720851 w 9825316"/>
                  <a:gd name="T43" fmla="*/ 6196330 h 10788811"/>
                  <a:gd name="T44" fmla="*/ 8424002 w 9825316"/>
                  <a:gd name="T45" fmla="*/ 7332886 h 10788811"/>
                  <a:gd name="T46" fmla="*/ 8834947 w 9825316"/>
                  <a:gd name="T47" fmla="*/ 8330390 h 10788811"/>
                  <a:gd name="T48" fmla="*/ 9003425 w 9825316"/>
                  <a:gd name="T49" fmla="*/ 9553418 h 10788811"/>
                  <a:gd name="T50" fmla="*/ 8062971 w 9825316"/>
                  <a:gd name="T51" fmla="*/ 10142647 h 10788811"/>
                  <a:gd name="T52" fmla="*/ 7035575 w 9825316"/>
                  <a:gd name="T53" fmla="*/ 10788811 h 10788811"/>
                  <a:gd name="T54" fmla="*/ 6892286 w 9825316"/>
                  <a:gd name="T55" fmla="*/ 9437985 h 10788811"/>
                  <a:gd name="T56" fmla="*/ 6166612 w 9825316"/>
                  <a:gd name="T57" fmla="*/ 8896002 h 10788811"/>
                  <a:gd name="T58" fmla="*/ 5754165 w 9825316"/>
                  <a:gd name="T59" fmla="*/ 8241246 h 10788811"/>
                  <a:gd name="T60" fmla="*/ 5286169 w 9825316"/>
                  <a:gd name="T61" fmla="*/ 7587831 h 10788811"/>
                  <a:gd name="T62" fmla="*/ 4476758 w 9825316"/>
                  <a:gd name="T63" fmla="*/ 6920139 h 10788811"/>
                  <a:gd name="T64" fmla="*/ 3419536 w 9825316"/>
                  <a:gd name="T65" fmla="*/ 6063485 h 10788811"/>
                  <a:gd name="T66" fmla="*/ 3629912 w 9825316"/>
                  <a:gd name="T67" fmla="*/ 5575876 h 10788811"/>
                  <a:gd name="T68" fmla="*/ 3383327 w 9825316"/>
                  <a:gd name="T69" fmla="*/ 5000870 h 10788811"/>
                  <a:gd name="T70" fmla="*/ 2346237 w 9825316"/>
                  <a:gd name="T71" fmla="*/ 4842200 h 10788811"/>
                  <a:gd name="T72" fmla="*/ 1412919 w 9825316"/>
                  <a:gd name="T73" fmla="*/ 5186289 h 10788811"/>
                  <a:gd name="T74" fmla="*/ 705509 w 9825316"/>
                  <a:gd name="T75" fmla="*/ 4840817 h 10788811"/>
                  <a:gd name="T76" fmla="*/ 0 w 9825316"/>
                  <a:gd name="T77" fmla="*/ 0 h 10788811"/>
                  <a:gd name="T78" fmla="*/ 9825316 w 9825316"/>
                  <a:gd name="T79" fmla="*/ 10788811 h 107888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T76" t="T77" r="T78" b="T79"/>
                <a:pathLst>
                  <a:path w="9825316" h="10788811">
                    <a:moveTo>
                      <a:pt x="705509" y="4840817"/>
                    </a:moveTo>
                    <a:lnTo>
                      <a:pt x="353898" y="4554288"/>
                    </a:lnTo>
                    <a:lnTo>
                      <a:pt x="274561" y="4160287"/>
                    </a:lnTo>
                    <a:lnTo>
                      <a:pt x="41901" y="3873246"/>
                    </a:lnTo>
                    <a:lnTo>
                      <a:pt x="0" y="3229639"/>
                    </a:lnTo>
                    <a:lnTo>
                      <a:pt x="165808" y="2910505"/>
                    </a:lnTo>
                    <a:lnTo>
                      <a:pt x="742559" y="2913177"/>
                    </a:lnTo>
                    <a:lnTo>
                      <a:pt x="1051886" y="2801750"/>
                    </a:lnTo>
                    <a:lnTo>
                      <a:pt x="603508" y="2556610"/>
                    </a:lnTo>
                    <a:lnTo>
                      <a:pt x="682842" y="2069003"/>
                    </a:lnTo>
                    <a:lnTo>
                      <a:pt x="294182" y="1326446"/>
                    </a:lnTo>
                    <a:lnTo>
                      <a:pt x="532183" y="1198073"/>
                    </a:lnTo>
                    <a:lnTo>
                      <a:pt x="452849" y="519703"/>
                    </a:lnTo>
                    <a:lnTo>
                      <a:pt x="1331788" y="0"/>
                    </a:lnTo>
                    <a:lnTo>
                      <a:pt x="1922816" y="614184"/>
                    </a:lnTo>
                    <a:lnTo>
                      <a:pt x="2247289" y="623992"/>
                    </a:lnTo>
                    <a:lnTo>
                      <a:pt x="2298999" y="334281"/>
                    </a:lnTo>
                    <a:lnTo>
                      <a:pt x="2534330" y="91811"/>
                    </a:lnTo>
                    <a:lnTo>
                      <a:pt x="3142882" y="326911"/>
                    </a:lnTo>
                    <a:lnTo>
                      <a:pt x="3217170" y="502757"/>
                    </a:lnTo>
                    <a:lnTo>
                      <a:pt x="3826014" y="455516"/>
                    </a:lnTo>
                    <a:lnTo>
                      <a:pt x="4001628" y="668562"/>
                    </a:lnTo>
                    <a:lnTo>
                      <a:pt x="4459814" y="534850"/>
                    </a:lnTo>
                    <a:lnTo>
                      <a:pt x="4833327" y="410945"/>
                    </a:lnTo>
                    <a:lnTo>
                      <a:pt x="5254080" y="378852"/>
                    </a:lnTo>
                    <a:lnTo>
                      <a:pt x="5751498" y="579421"/>
                    </a:lnTo>
                    <a:lnTo>
                      <a:pt x="5904826" y="98950"/>
                    </a:lnTo>
                    <a:lnTo>
                      <a:pt x="6471769" y="235332"/>
                    </a:lnTo>
                    <a:lnTo>
                      <a:pt x="6701762" y="512564"/>
                    </a:lnTo>
                    <a:lnTo>
                      <a:pt x="7281183" y="467994"/>
                    </a:lnTo>
                    <a:lnTo>
                      <a:pt x="8040686" y="1618826"/>
                    </a:lnTo>
                    <a:lnTo>
                      <a:pt x="7770591" y="1925483"/>
                    </a:lnTo>
                    <a:lnTo>
                      <a:pt x="8337535" y="3037084"/>
                    </a:lnTo>
                    <a:lnTo>
                      <a:pt x="8670417" y="3039003"/>
                    </a:lnTo>
                    <a:lnTo>
                      <a:pt x="9337706" y="3654864"/>
                    </a:lnTo>
                    <a:lnTo>
                      <a:pt x="9188846" y="3882187"/>
                    </a:lnTo>
                    <a:lnTo>
                      <a:pt x="9411701" y="4003422"/>
                    </a:lnTo>
                    <a:lnTo>
                      <a:pt x="9188847" y="4602458"/>
                    </a:lnTo>
                    <a:lnTo>
                      <a:pt x="9825316" y="5003596"/>
                    </a:lnTo>
                    <a:lnTo>
                      <a:pt x="9542742" y="5246066"/>
                    </a:lnTo>
                    <a:lnTo>
                      <a:pt x="9745980" y="5599963"/>
                    </a:lnTo>
                    <a:lnTo>
                      <a:pt x="9310080" y="5998430"/>
                    </a:lnTo>
                    <a:lnTo>
                      <a:pt x="9188845" y="6421853"/>
                    </a:lnTo>
                    <a:lnTo>
                      <a:pt x="8720851" y="6196330"/>
                    </a:lnTo>
                    <a:lnTo>
                      <a:pt x="8366954" y="6466424"/>
                    </a:lnTo>
                    <a:lnTo>
                      <a:pt x="8424002" y="7332886"/>
                    </a:lnTo>
                    <a:lnTo>
                      <a:pt x="8825139" y="7897159"/>
                    </a:lnTo>
                    <a:lnTo>
                      <a:pt x="8834947" y="8330390"/>
                    </a:lnTo>
                    <a:lnTo>
                      <a:pt x="9333933" y="8853984"/>
                    </a:lnTo>
                    <a:lnTo>
                      <a:pt x="9003425" y="9553418"/>
                    </a:lnTo>
                    <a:lnTo>
                      <a:pt x="8731763" y="10156809"/>
                    </a:lnTo>
                    <a:lnTo>
                      <a:pt x="8062971" y="10142647"/>
                    </a:lnTo>
                    <a:lnTo>
                      <a:pt x="7743837" y="10677497"/>
                    </a:lnTo>
                    <a:lnTo>
                      <a:pt x="7035575" y="10788811"/>
                    </a:lnTo>
                    <a:lnTo>
                      <a:pt x="7313271" y="10443964"/>
                    </a:lnTo>
                    <a:lnTo>
                      <a:pt x="6892286" y="9437985"/>
                    </a:lnTo>
                    <a:lnTo>
                      <a:pt x="6292145" y="9410129"/>
                    </a:lnTo>
                    <a:lnTo>
                      <a:pt x="6166612" y="8896002"/>
                    </a:lnTo>
                    <a:lnTo>
                      <a:pt x="5706925" y="8782308"/>
                    </a:lnTo>
                    <a:lnTo>
                      <a:pt x="5754165" y="8241246"/>
                    </a:lnTo>
                    <a:lnTo>
                      <a:pt x="5402764" y="7918453"/>
                    </a:lnTo>
                    <a:lnTo>
                      <a:pt x="5286169" y="7587831"/>
                    </a:lnTo>
                    <a:lnTo>
                      <a:pt x="5117301" y="7339984"/>
                    </a:lnTo>
                    <a:lnTo>
                      <a:pt x="4476758" y="6920139"/>
                    </a:lnTo>
                    <a:lnTo>
                      <a:pt x="3629912" y="6308625"/>
                    </a:lnTo>
                    <a:lnTo>
                      <a:pt x="3419536" y="6063485"/>
                    </a:lnTo>
                    <a:lnTo>
                      <a:pt x="2884686" y="5986821"/>
                    </a:lnTo>
                    <a:lnTo>
                      <a:pt x="3629912" y="5575876"/>
                    </a:lnTo>
                    <a:lnTo>
                      <a:pt x="3709246" y="5266550"/>
                    </a:lnTo>
                    <a:lnTo>
                      <a:pt x="3383327" y="5000870"/>
                    </a:lnTo>
                    <a:lnTo>
                      <a:pt x="2623470" y="4941149"/>
                    </a:lnTo>
                    <a:lnTo>
                      <a:pt x="2346237" y="4842200"/>
                    </a:lnTo>
                    <a:lnTo>
                      <a:pt x="1947769" y="4884101"/>
                    </a:lnTo>
                    <a:lnTo>
                      <a:pt x="1412919" y="5186289"/>
                    </a:lnTo>
                    <a:lnTo>
                      <a:pt x="1059022" y="4874293"/>
                    </a:lnTo>
                    <a:lnTo>
                      <a:pt x="705509" y="4840817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>
                  <a:defRPr/>
                </a:pPr>
                <a:endParaRPr lang="zh-CN" altLang="en-US" kern="0">
                  <a:solidFill>
                    <a:sysClr val="windowText" lastClr="000000"/>
                  </a:solidFill>
                  <a:latin typeface="Calibri"/>
                  <a:ea typeface="宋体" panose="02010600030101010101" pitchFamily="2" charset="-122"/>
                </a:endParaRPr>
              </a:p>
            </p:txBody>
          </p:sp>
          <p:sp>
            <p:nvSpPr>
              <p:cNvPr id="64" name="任意多边形 26">
                <a:extLst>
                  <a:ext uri="{FF2B5EF4-FFF2-40B4-BE49-F238E27FC236}">
                    <a16:creationId xmlns:a16="http://schemas.microsoft.com/office/drawing/2014/main" id="{991B9726-158B-49A1-A805-DE444FB906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0750" y="3490913"/>
                <a:ext cx="982662" cy="1266825"/>
              </a:xfrm>
              <a:custGeom>
                <a:avLst/>
                <a:gdLst>
                  <a:gd name="T0" fmla="*/ 1306831 w 11495852"/>
                  <a:gd name="T1" fmla="*/ 7404092 h 14821421"/>
                  <a:gd name="T2" fmla="*/ 1128547 w 11495852"/>
                  <a:gd name="T3" fmla="*/ 9637102 h 14821421"/>
                  <a:gd name="T4" fmla="*/ 690848 w 11495852"/>
                  <a:gd name="T5" fmla="*/ 10557942 h 14821421"/>
                  <a:gd name="T6" fmla="*/ 0 w 11495852"/>
                  <a:gd name="T7" fmla="*/ 11520686 h 14821421"/>
                  <a:gd name="T8" fmla="*/ 455516 w 11495852"/>
                  <a:gd name="T9" fmla="*/ 11945906 h 14821421"/>
                  <a:gd name="T10" fmla="*/ 1168649 w 11495852"/>
                  <a:gd name="T11" fmla="*/ 12354181 h 14821421"/>
                  <a:gd name="T12" fmla="*/ 1930822 w 11495852"/>
                  <a:gd name="T13" fmla="*/ 12554750 h 14821421"/>
                  <a:gd name="T14" fmla="*/ 2616331 w 11495852"/>
                  <a:gd name="T15" fmla="*/ 12777604 h 14821421"/>
                  <a:gd name="T16" fmla="*/ 3678022 w 11495852"/>
                  <a:gd name="T17" fmla="*/ 12975503 h 14821421"/>
                  <a:gd name="T18" fmla="*/ 3883060 w 11495852"/>
                  <a:gd name="T19" fmla="*/ 13252736 h 14821421"/>
                  <a:gd name="T20" fmla="*/ 4939412 w 11495852"/>
                  <a:gd name="T21" fmla="*/ 13527300 h 14821421"/>
                  <a:gd name="T22" fmla="*/ 5337880 w 11495852"/>
                  <a:gd name="T23" fmla="*/ 13326731 h 14821421"/>
                  <a:gd name="T24" fmla="*/ 5803204 w 11495852"/>
                  <a:gd name="T25" fmla="*/ 12737502 h 14821421"/>
                  <a:gd name="T26" fmla="*/ 6847949 w 11495852"/>
                  <a:gd name="T27" fmla="*/ 12982642 h 14821421"/>
                  <a:gd name="T28" fmla="*/ 7667170 w 11495852"/>
                  <a:gd name="T29" fmla="*/ 13393587 h 14821421"/>
                  <a:gd name="T30" fmla="*/ 8575533 w 11495852"/>
                  <a:gd name="T31" fmla="*/ 13294638 h 14821421"/>
                  <a:gd name="T32" fmla="*/ 8771238 w 11495852"/>
                  <a:gd name="T33" fmla="*/ 14185151 h 14821421"/>
                  <a:gd name="T34" fmla="*/ 9692937 w 11495852"/>
                  <a:gd name="T35" fmla="*/ 14818749 h 14821421"/>
                  <a:gd name="T36" fmla="*/ 9968839 w 11495852"/>
                  <a:gd name="T37" fmla="*/ 14295043 h 14821421"/>
                  <a:gd name="T38" fmla="*/ 10896815 w 11495852"/>
                  <a:gd name="T39" fmla="*/ 14141483 h 14821421"/>
                  <a:gd name="T40" fmla="*/ 11027858 w 11495852"/>
                  <a:gd name="T41" fmla="*/ 13433689 h 14821421"/>
                  <a:gd name="T42" fmla="*/ 10750625 w 11495852"/>
                  <a:gd name="T43" fmla="*/ 12557419 h 14821421"/>
                  <a:gd name="T44" fmla="*/ 10715974 w 11495852"/>
                  <a:gd name="T45" fmla="*/ 12084035 h 14821421"/>
                  <a:gd name="T46" fmla="*/ 10644537 w 11495852"/>
                  <a:gd name="T47" fmla="*/ 11533161 h 14821421"/>
                  <a:gd name="T48" fmla="*/ 11466428 w 11495852"/>
                  <a:gd name="T49" fmla="*/ 11303168 h 14821421"/>
                  <a:gd name="T50" fmla="*/ 11330046 w 11495852"/>
                  <a:gd name="T51" fmla="*/ 10319941 h 14821421"/>
                  <a:gd name="T52" fmla="*/ 10287971 w 11495852"/>
                  <a:gd name="T53" fmla="*/ 8901683 h 14821421"/>
                  <a:gd name="T54" fmla="*/ 10181883 w 11495852"/>
                  <a:gd name="T55" fmla="*/ 8172474 h 14821421"/>
                  <a:gd name="T56" fmla="*/ 10466254 w 11495852"/>
                  <a:gd name="T57" fmla="*/ 7018971 h 14821421"/>
                  <a:gd name="T58" fmla="*/ 10436830 w 11495852"/>
                  <a:gd name="T59" fmla="*/ 6115077 h 14821421"/>
                  <a:gd name="T60" fmla="*/ 9656841 w 11495852"/>
                  <a:gd name="T61" fmla="*/ 5652423 h 14821421"/>
                  <a:gd name="T62" fmla="*/ 9857409 w 11495852"/>
                  <a:gd name="T63" fmla="*/ 4051413 h 14821421"/>
                  <a:gd name="T64" fmla="*/ 9535606 w 11495852"/>
                  <a:gd name="T65" fmla="*/ 3232192 h 14821421"/>
                  <a:gd name="T66" fmla="*/ 10039232 w 11495852"/>
                  <a:gd name="T67" fmla="*/ 3295508 h 14821421"/>
                  <a:gd name="T68" fmla="*/ 9911788 w 11495852"/>
                  <a:gd name="T69" fmla="*/ 2839063 h 14821421"/>
                  <a:gd name="T70" fmla="*/ 9793223 w 11495852"/>
                  <a:gd name="T71" fmla="*/ 2371070 h 14821421"/>
                  <a:gd name="T72" fmla="*/ 8352679 w 11495852"/>
                  <a:gd name="T73" fmla="*/ 1727462 h 14821421"/>
                  <a:gd name="T74" fmla="*/ 7184030 w 11495852"/>
                  <a:gd name="T75" fmla="*/ 1249661 h 14821421"/>
                  <a:gd name="T76" fmla="*/ 6342523 w 11495852"/>
                  <a:gd name="T77" fmla="*/ 1086524 h 14821421"/>
                  <a:gd name="T78" fmla="*/ 5699786 w 11495852"/>
                  <a:gd name="T79" fmla="*/ 750444 h 14821421"/>
                  <a:gd name="T80" fmla="*/ 5187574 w 11495852"/>
                  <a:gd name="T81" fmla="*/ 0 h 14821421"/>
                  <a:gd name="T82" fmla="*/ 3108410 w 11495852"/>
                  <a:gd name="T83" fmla="*/ 1869183 h 14821421"/>
                  <a:gd name="T84" fmla="*/ 2376531 w 11495852"/>
                  <a:gd name="T85" fmla="*/ 5229871 h 14821421"/>
                  <a:gd name="T86" fmla="*/ 1662911 w 11495852"/>
                  <a:gd name="T87" fmla="*/ 5923865 h 14821421"/>
                  <a:gd name="T88" fmla="*/ 0 w 11495852"/>
                  <a:gd name="T89" fmla="*/ 0 h 14821421"/>
                  <a:gd name="T90" fmla="*/ 11495852 w 11495852"/>
                  <a:gd name="T91" fmla="*/ 14821421 h 148214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T88" t="T89" r="T90" b="T91"/>
                <a:pathLst>
                  <a:path w="11495852" h="14821421">
                    <a:moveTo>
                      <a:pt x="1662911" y="5923865"/>
                    </a:moveTo>
                    <a:lnTo>
                      <a:pt x="1306831" y="7404092"/>
                    </a:lnTo>
                    <a:lnTo>
                      <a:pt x="905693" y="8703784"/>
                    </a:lnTo>
                    <a:lnTo>
                      <a:pt x="1128547" y="9637102"/>
                    </a:lnTo>
                    <a:lnTo>
                      <a:pt x="1108932" y="10191568"/>
                    </a:lnTo>
                    <a:lnTo>
                      <a:pt x="690848" y="10557942"/>
                    </a:lnTo>
                    <a:lnTo>
                      <a:pt x="183622" y="10772787"/>
                    </a:lnTo>
                    <a:lnTo>
                      <a:pt x="0" y="11520686"/>
                    </a:lnTo>
                    <a:lnTo>
                      <a:pt x="4527" y="11964487"/>
                    </a:lnTo>
                    <a:lnTo>
                      <a:pt x="455516" y="11945906"/>
                    </a:lnTo>
                    <a:lnTo>
                      <a:pt x="777320" y="12569897"/>
                    </a:lnTo>
                    <a:lnTo>
                      <a:pt x="1168649" y="12354181"/>
                    </a:lnTo>
                    <a:lnTo>
                      <a:pt x="1453021" y="12567228"/>
                    </a:lnTo>
                    <a:lnTo>
                      <a:pt x="1930822" y="12554750"/>
                    </a:lnTo>
                    <a:lnTo>
                      <a:pt x="2103766" y="12710748"/>
                    </a:lnTo>
                    <a:lnTo>
                      <a:pt x="2616331" y="12777604"/>
                    </a:lnTo>
                    <a:lnTo>
                      <a:pt x="3133364" y="12898839"/>
                    </a:lnTo>
                    <a:lnTo>
                      <a:pt x="3678022" y="12975503"/>
                    </a:lnTo>
                    <a:lnTo>
                      <a:pt x="4064013" y="13064645"/>
                    </a:lnTo>
                    <a:lnTo>
                      <a:pt x="3883060" y="13252736"/>
                    </a:lnTo>
                    <a:lnTo>
                      <a:pt x="4316291" y="13440828"/>
                    </a:lnTo>
                    <a:lnTo>
                      <a:pt x="4939412" y="13527300"/>
                    </a:lnTo>
                    <a:lnTo>
                      <a:pt x="5328072" y="13661012"/>
                    </a:lnTo>
                    <a:lnTo>
                      <a:pt x="5337880" y="13326731"/>
                    </a:lnTo>
                    <a:lnTo>
                      <a:pt x="5516163" y="13049498"/>
                    </a:lnTo>
                    <a:lnTo>
                      <a:pt x="5803204" y="12737502"/>
                    </a:lnTo>
                    <a:lnTo>
                      <a:pt x="6424526" y="13128832"/>
                    </a:lnTo>
                    <a:lnTo>
                      <a:pt x="6847949" y="12982642"/>
                    </a:lnTo>
                    <a:lnTo>
                      <a:pt x="7323081" y="13529969"/>
                    </a:lnTo>
                    <a:lnTo>
                      <a:pt x="7667170" y="13393587"/>
                    </a:lnTo>
                    <a:lnTo>
                      <a:pt x="8300970" y="12970164"/>
                    </a:lnTo>
                    <a:lnTo>
                      <a:pt x="8575533" y="13294638"/>
                    </a:lnTo>
                    <a:lnTo>
                      <a:pt x="8798387" y="13661012"/>
                    </a:lnTo>
                    <a:lnTo>
                      <a:pt x="8771238" y="14185151"/>
                    </a:lnTo>
                    <a:lnTo>
                      <a:pt x="9371136" y="14821421"/>
                    </a:lnTo>
                    <a:lnTo>
                      <a:pt x="9692937" y="14818749"/>
                    </a:lnTo>
                    <a:lnTo>
                      <a:pt x="9730604" y="14541516"/>
                    </a:lnTo>
                    <a:lnTo>
                      <a:pt x="9968839" y="14295043"/>
                    </a:lnTo>
                    <a:lnTo>
                      <a:pt x="10577681" y="14525674"/>
                    </a:lnTo>
                    <a:lnTo>
                      <a:pt x="10896815" y="14141483"/>
                    </a:lnTo>
                    <a:lnTo>
                      <a:pt x="11062621" y="13800063"/>
                    </a:lnTo>
                    <a:lnTo>
                      <a:pt x="11027858" y="13433689"/>
                    </a:lnTo>
                    <a:lnTo>
                      <a:pt x="10693577" y="13235790"/>
                    </a:lnTo>
                    <a:lnTo>
                      <a:pt x="10750625" y="12557419"/>
                    </a:lnTo>
                    <a:lnTo>
                      <a:pt x="10884337" y="12302472"/>
                    </a:lnTo>
                    <a:lnTo>
                      <a:pt x="10715974" y="12084035"/>
                    </a:lnTo>
                    <a:lnTo>
                      <a:pt x="10810343" y="11827340"/>
                    </a:lnTo>
                    <a:lnTo>
                      <a:pt x="10644537" y="11533161"/>
                    </a:lnTo>
                    <a:lnTo>
                      <a:pt x="11023389" y="11367355"/>
                    </a:lnTo>
                    <a:lnTo>
                      <a:pt x="11466428" y="11303168"/>
                    </a:lnTo>
                    <a:lnTo>
                      <a:pt x="11495852" y="10820028"/>
                    </a:lnTo>
                    <a:lnTo>
                      <a:pt x="11330046" y="10319941"/>
                    </a:lnTo>
                    <a:lnTo>
                      <a:pt x="11084614" y="9815099"/>
                    </a:lnTo>
                    <a:lnTo>
                      <a:pt x="10287971" y="8901683"/>
                    </a:lnTo>
                    <a:lnTo>
                      <a:pt x="9779117" y="8485286"/>
                    </a:lnTo>
                    <a:lnTo>
                      <a:pt x="10181883" y="8172474"/>
                    </a:lnTo>
                    <a:lnTo>
                      <a:pt x="10322734" y="7682195"/>
                    </a:lnTo>
                    <a:lnTo>
                      <a:pt x="10466254" y="7018971"/>
                    </a:lnTo>
                    <a:lnTo>
                      <a:pt x="10634729" y="6446689"/>
                    </a:lnTo>
                    <a:lnTo>
                      <a:pt x="10436830" y="6115077"/>
                    </a:lnTo>
                    <a:lnTo>
                      <a:pt x="9991122" y="6194411"/>
                    </a:lnTo>
                    <a:lnTo>
                      <a:pt x="9656841" y="5652423"/>
                    </a:lnTo>
                    <a:lnTo>
                      <a:pt x="9557891" y="4407980"/>
                    </a:lnTo>
                    <a:lnTo>
                      <a:pt x="9857409" y="4051413"/>
                    </a:lnTo>
                    <a:lnTo>
                      <a:pt x="9949221" y="3709994"/>
                    </a:lnTo>
                    <a:lnTo>
                      <a:pt x="9535606" y="3232192"/>
                    </a:lnTo>
                    <a:lnTo>
                      <a:pt x="9835124" y="3155528"/>
                    </a:lnTo>
                    <a:lnTo>
                      <a:pt x="10039232" y="3295508"/>
                    </a:lnTo>
                    <a:lnTo>
                      <a:pt x="10258547" y="3128774"/>
                    </a:lnTo>
                    <a:lnTo>
                      <a:pt x="9911788" y="2839063"/>
                    </a:lnTo>
                    <a:lnTo>
                      <a:pt x="10013407" y="2559161"/>
                    </a:lnTo>
                    <a:lnTo>
                      <a:pt x="9793223" y="2371070"/>
                    </a:lnTo>
                    <a:lnTo>
                      <a:pt x="9261042" y="2338976"/>
                    </a:lnTo>
                    <a:lnTo>
                      <a:pt x="8352679" y="1727462"/>
                    </a:lnTo>
                    <a:lnTo>
                      <a:pt x="7808021" y="1886130"/>
                    </a:lnTo>
                    <a:lnTo>
                      <a:pt x="7184030" y="1249661"/>
                    </a:lnTo>
                    <a:lnTo>
                      <a:pt x="6743661" y="1163189"/>
                    </a:lnTo>
                    <a:lnTo>
                      <a:pt x="6342523" y="1086524"/>
                    </a:lnTo>
                    <a:lnTo>
                      <a:pt x="6088446" y="770060"/>
                    </a:lnTo>
                    <a:lnTo>
                      <a:pt x="5699786" y="750444"/>
                    </a:lnTo>
                    <a:lnTo>
                      <a:pt x="5669546" y="372292"/>
                    </a:lnTo>
                    <a:lnTo>
                      <a:pt x="5187574" y="0"/>
                    </a:lnTo>
                    <a:lnTo>
                      <a:pt x="3965063" y="1371766"/>
                    </a:lnTo>
                    <a:lnTo>
                      <a:pt x="3108410" y="1869183"/>
                    </a:lnTo>
                    <a:lnTo>
                      <a:pt x="2353375" y="3351628"/>
                    </a:lnTo>
                    <a:lnTo>
                      <a:pt x="2376531" y="5229871"/>
                    </a:lnTo>
                    <a:lnTo>
                      <a:pt x="2131391" y="5596245"/>
                    </a:lnTo>
                    <a:lnTo>
                      <a:pt x="1662911" y="5923865"/>
                    </a:ln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>
                  <a:defRPr/>
                </a:pPr>
                <a:endParaRPr lang="zh-CN" altLang="en-US" kern="0">
                  <a:solidFill>
                    <a:sysClr val="windowText" lastClr="000000"/>
                  </a:solidFill>
                  <a:latin typeface="Calibri"/>
                  <a:ea typeface="宋体" panose="02010600030101010101" pitchFamily="2" charset="-122"/>
                </a:endParaRPr>
              </a:p>
            </p:txBody>
          </p:sp>
          <p:sp>
            <p:nvSpPr>
              <p:cNvPr id="65" name="任意多边形 27">
                <a:extLst>
                  <a:ext uri="{FF2B5EF4-FFF2-40B4-BE49-F238E27FC236}">
                    <a16:creationId xmlns:a16="http://schemas.microsoft.com/office/drawing/2014/main" id="{EC00B4CA-FF0C-4E5D-AC5D-E073F4DB76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7713" y="4511676"/>
                <a:ext cx="925512" cy="582613"/>
              </a:xfrm>
              <a:custGeom>
                <a:avLst/>
                <a:gdLst>
                  <a:gd name="T0" fmla="*/ 300883 w 10831320"/>
                  <a:gd name="T1" fmla="*/ 3294699 h 6809367"/>
                  <a:gd name="T2" fmla="*/ 979253 w 10831320"/>
                  <a:gd name="T3" fmla="*/ 1930820 h 6809367"/>
                  <a:gd name="T4" fmla="*/ 1875138 w 10831320"/>
                  <a:gd name="T5" fmla="*/ 302185 h 6809367"/>
                  <a:gd name="T6" fmla="*/ 2488449 w 10831320"/>
                  <a:gd name="T7" fmla="*/ 0 h 6809367"/>
                  <a:gd name="T8" fmla="*/ 3201582 w 10831320"/>
                  <a:gd name="T9" fmla="*/ 408275 h 6809367"/>
                  <a:gd name="T10" fmla="*/ 3963755 w 10831320"/>
                  <a:gd name="T11" fmla="*/ 608844 h 6809367"/>
                  <a:gd name="T12" fmla="*/ 4649264 w 10831320"/>
                  <a:gd name="T13" fmla="*/ 831698 h 6809367"/>
                  <a:gd name="T14" fmla="*/ 5710955 w 10831320"/>
                  <a:gd name="T15" fmla="*/ 1029597 h 6809367"/>
                  <a:gd name="T16" fmla="*/ 5915993 w 10831320"/>
                  <a:gd name="T17" fmla="*/ 1306830 h 6809367"/>
                  <a:gd name="T18" fmla="*/ 6972345 w 10831320"/>
                  <a:gd name="T19" fmla="*/ 1581394 h 6809367"/>
                  <a:gd name="T20" fmla="*/ 7370813 w 10831320"/>
                  <a:gd name="T21" fmla="*/ 1380825 h 6809367"/>
                  <a:gd name="T22" fmla="*/ 7836137 w 10831320"/>
                  <a:gd name="T23" fmla="*/ 791596 h 6809367"/>
                  <a:gd name="T24" fmla="*/ 8880882 w 10831320"/>
                  <a:gd name="T25" fmla="*/ 1036736 h 6809367"/>
                  <a:gd name="T26" fmla="*/ 9700103 w 10831320"/>
                  <a:gd name="T27" fmla="*/ 1447681 h 6809367"/>
                  <a:gd name="T28" fmla="*/ 10608466 w 10831320"/>
                  <a:gd name="T29" fmla="*/ 1348732 h 6809367"/>
                  <a:gd name="T30" fmla="*/ 10804171 w 10831320"/>
                  <a:gd name="T31" fmla="*/ 2239245 h 6809367"/>
                  <a:gd name="T32" fmla="*/ 10002293 w 10831320"/>
                  <a:gd name="T33" fmla="*/ 3453834 h 6809367"/>
                  <a:gd name="T34" fmla="*/ 10147150 w 10831320"/>
                  <a:gd name="T35" fmla="*/ 4309386 h 6809367"/>
                  <a:gd name="T36" fmla="*/ 10520429 w 10831320"/>
                  <a:gd name="T37" fmla="*/ 5053508 h 6809367"/>
                  <a:gd name="T38" fmla="*/ 9633249 w 10831320"/>
                  <a:gd name="T39" fmla="*/ 5162266 h 6809367"/>
                  <a:gd name="T40" fmla="*/ 9510678 w 10831320"/>
                  <a:gd name="T41" fmla="*/ 6129013 h 6809367"/>
                  <a:gd name="T42" fmla="*/ 9815699 w 10831320"/>
                  <a:gd name="T43" fmla="*/ 6809367 h 6809367"/>
                  <a:gd name="T44" fmla="*/ 8321362 w 10831320"/>
                  <a:gd name="T45" fmla="*/ 5406768 h 6809367"/>
                  <a:gd name="T46" fmla="*/ 7453923 w 10831320"/>
                  <a:gd name="T47" fmla="*/ 5325167 h 6809367"/>
                  <a:gd name="T48" fmla="*/ 5972812 w 10831320"/>
                  <a:gd name="T49" fmla="*/ 5631592 h 6809367"/>
                  <a:gd name="T50" fmla="*/ 5451773 w 10831320"/>
                  <a:gd name="T51" fmla="*/ 5532643 h 6809367"/>
                  <a:gd name="T52" fmla="*/ 4915124 w 10831320"/>
                  <a:gd name="T53" fmla="*/ 5442991 h 6809367"/>
                  <a:gd name="T54" fmla="*/ 3717048 w 10831320"/>
                  <a:gd name="T55" fmla="*/ 4606232 h 6809367"/>
                  <a:gd name="T56" fmla="*/ 3169491 w 10831320"/>
                  <a:gd name="T57" fmla="*/ 4093436 h 6809367"/>
                  <a:gd name="T58" fmla="*/ 2815592 w 10831320"/>
                  <a:gd name="T59" fmla="*/ 3966630 h 6809367"/>
                  <a:gd name="T60" fmla="*/ 1936190 w 10831320"/>
                  <a:gd name="T61" fmla="*/ 3781440 h 6809367"/>
                  <a:gd name="T62" fmla="*/ 600401 w 10831320"/>
                  <a:gd name="T63" fmla="*/ 3959724 h 6809367"/>
                  <a:gd name="T64" fmla="*/ 0 w 10831320"/>
                  <a:gd name="T65" fmla="*/ 0 h 6809367"/>
                  <a:gd name="T66" fmla="*/ 10831320 w 10831320"/>
                  <a:gd name="T67" fmla="*/ 6809367 h 68093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T64" t="T65" r="T66" b="T67"/>
                <a:pathLst>
                  <a:path w="10831320" h="6809367">
                    <a:moveTo>
                      <a:pt x="0" y="3738975"/>
                    </a:moveTo>
                    <a:lnTo>
                      <a:pt x="300883" y="3294699"/>
                    </a:lnTo>
                    <a:lnTo>
                      <a:pt x="332976" y="2730425"/>
                    </a:lnTo>
                    <a:lnTo>
                      <a:pt x="979253" y="1930820"/>
                    </a:lnTo>
                    <a:lnTo>
                      <a:pt x="1753899" y="811154"/>
                    </a:lnTo>
                    <a:lnTo>
                      <a:pt x="1875138" y="302185"/>
                    </a:lnTo>
                    <a:lnTo>
                      <a:pt x="2037460" y="18581"/>
                    </a:lnTo>
                    <a:lnTo>
                      <a:pt x="2488449" y="0"/>
                    </a:lnTo>
                    <a:lnTo>
                      <a:pt x="2810253" y="623991"/>
                    </a:lnTo>
                    <a:lnTo>
                      <a:pt x="3201582" y="408275"/>
                    </a:lnTo>
                    <a:lnTo>
                      <a:pt x="3485954" y="621322"/>
                    </a:lnTo>
                    <a:lnTo>
                      <a:pt x="3963755" y="608844"/>
                    </a:lnTo>
                    <a:lnTo>
                      <a:pt x="4136699" y="764842"/>
                    </a:lnTo>
                    <a:lnTo>
                      <a:pt x="4649264" y="831698"/>
                    </a:lnTo>
                    <a:lnTo>
                      <a:pt x="5166297" y="952933"/>
                    </a:lnTo>
                    <a:lnTo>
                      <a:pt x="5710955" y="1029597"/>
                    </a:lnTo>
                    <a:lnTo>
                      <a:pt x="6096946" y="1118739"/>
                    </a:lnTo>
                    <a:lnTo>
                      <a:pt x="5915993" y="1306830"/>
                    </a:lnTo>
                    <a:lnTo>
                      <a:pt x="6349224" y="1494922"/>
                    </a:lnTo>
                    <a:lnTo>
                      <a:pt x="6972345" y="1581394"/>
                    </a:lnTo>
                    <a:lnTo>
                      <a:pt x="7361005" y="1715106"/>
                    </a:lnTo>
                    <a:lnTo>
                      <a:pt x="7370813" y="1380825"/>
                    </a:lnTo>
                    <a:lnTo>
                      <a:pt x="7549096" y="1103592"/>
                    </a:lnTo>
                    <a:lnTo>
                      <a:pt x="7836137" y="791596"/>
                    </a:lnTo>
                    <a:lnTo>
                      <a:pt x="8457459" y="1182926"/>
                    </a:lnTo>
                    <a:lnTo>
                      <a:pt x="8880882" y="1036736"/>
                    </a:lnTo>
                    <a:lnTo>
                      <a:pt x="9356014" y="1584063"/>
                    </a:lnTo>
                    <a:lnTo>
                      <a:pt x="9700103" y="1447681"/>
                    </a:lnTo>
                    <a:lnTo>
                      <a:pt x="10333903" y="1024258"/>
                    </a:lnTo>
                    <a:lnTo>
                      <a:pt x="10608466" y="1348732"/>
                    </a:lnTo>
                    <a:lnTo>
                      <a:pt x="10831320" y="1715106"/>
                    </a:lnTo>
                    <a:lnTo>
                      <a:pt x="10804171" y="2239245"/>
                    </a:lnTo>
                    <a:lnTo>
                      <a:pt x="9920290" y="2765656"/>
                    </a:lnTo>
                    <a:lnTo>
                      <a:pt x="10002293" y="3453834"/>
                    </a:lnTo>
                    <a:lnTo>
                      <a:pt x="9767193" y="3586211"/>
                    </a:lnTo>
                    <a:lnTo>
                      <a:pt x="10147150" y="4309386"/>
                    </a:lnTo>
                    <a:lnTo>
                      <a:pt x="10066480" y="4798329"/>
                    </a:lnTo>
                    <a:lnTo>
                      <a:pt x="10520429" y="5053508"/>
                    </a:lnTo>
                    <a:lnTo>
                      <a:pt x="10212670" y="5171842"/>
                    </a:lnTo>
                    <a:lnTo>
                      <a:pt x="9633249" y="5162266"/>
                    </a:lnTo>
                    <a:lnTo>
                      <a:pt x="9470113" y="5484072"/>
                    </a:lnTo>
                    <a:lnTo>
                      <a:pt x="9510678" y="6129013"/>
                    </a:lnTo>
                    <a:lnTo>
                      <a:pt x="9741775" y="6420288"/>
                    </a:lnTo>
                    <a:lnTo>
                      <a:pt x="9815699" y="6809367"/>
                    </a:lnTo>
                    <a:lnTo>
                      <a:pt x="9135600" y="6062156"/>
                    </a:lnTo>
                    <a:lnTo>
                      <a:pt x="8321362" y="5406768"/>
                    </a:lnTo>
                    <a:lnTo>
                      <a:pt x="7912340" y="5442165"/>
                    </a:lnTo>
                    <a:lnTo>
                      <a:pt x="7453923" y="5325167"/>
                    </a:lnTo>
                    <a:lnTo>
                      <a:pt x="6098282" y="5290405"/>
                    </a:lnTo>
                    <a:lnTo>
                      <a:pt x="5972812" y="5631592"/>
                    </a:lnTo>
                    <a:lnTo>
                      <a:pt x="5851577" y="5490973"/>
                    </a:lnTo>
                    <a:lnTo>
                      <a:pt x="5451773" y="5532643"/>
                    </a:lnTo>
                    <a:lnTo>
                      <a:pt x="5063115" y="5314024"/>
                    </a:lnTo>
                    <a:lnTo>
                      <a:pt x="4915124" y="5442991"/>
                    </a:lnTo>
                    <a:lnTo>
                      <a:pt x="4257703" y="5012943"/>
                    </a:lnTo>
                    <a:lnTo>
                      <a:pt x="3717048" y="4606232"/>
                    </a:lnTo>
                    <a:lnTo>
                      <a:pt x="3205820" y="4610238"/>
                    </a:lnTo>
                    <a:lnTo>
                      <a:pt x="3169491" y="4093436"/>
                    </a:lnTo>
                    <a:lnTo>
                      <a:pt x="3069204" y="3728629"/>
                    </a:lnTo>
                    <a:lnTo>
                      <a:pt x="2815592" y="3966630"/>
                    </a:lnTo>
                    <a:lnTo>
                      <a:pt x="2233270" y="3949918"/>
                    </a:lnTo>
                    <a:lnTo>
                      <a:pt x="1936190" y="3781440"/>
                    </a:lnTo>
                    <a:lnTo>
                      <a:pt x="997299" y="3870582"/>
                    </a:lnTo>
                    <a:lnTo>
                      <a:pt x="600401" y="3959724"/>
                    </a:lnTo>
                    <a:lnTo>
                      <a:pt x="0" y="3738975"/>
                    </a:ln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>
                  <a:defRPr/>
                </a:pPr>
                <a:endParaRPr lang="zh-CN" altLang="en-US" kern="0">
                  <a:solidFill>
                    <a:sysClr val="windowText" lastClr="000000"/>
                  </a:solidFill>
                  <a:latin typeface="Calibri"/>
                  <a:ea typeface="宋体" panose="02010600030101010101" pitchFamily="2" charset="-122"/>
                </a:endParaRPr>
              </a:p>
            </p:txBody>
          </p:sp>
          <p:sp>
            <p:nvSpPr>
              <p:cNvPr id="66" name="任意多边形 28">
                <a:extLst>
                  <a:ext uri="{FF2B5EF4-FFF2-40B4-BE49-F238E27FC236}">
                    <a16:creationId xmlns:a16="http://schemas.microsoft.com/office/drawing/2014/main" id="{D5E6212A-FE0D-483F-9F50-A89431A288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8363" y="4941888"/>
                <a:ext cx="406400" cy="381000"/>
              </a:xfrm>
              <a:custGeom>
                <a:avLst/>
                <a:gdLst>
                  <a:gd name="T0" fmla="*/ 65 w 4746852"/>
                  <a:gd name="T1" fmla="*/ 0 h 4468148"/>
                  <a:gd name="T2" fmla="*/ 56 w 4746852"/>
                  <a:gd name="T3" fmla="*/ 7 h 4468148"/>
                  <a:gd name="T4" fmla="*/ 53 w 4746852"/>
                  <a:gd name="T5" fmla="*/ 17 h 4468148"/>
                  <a:gd name="T6" fmla="*/ 53 w 4746852"/>
                  <a:gd name="T7" fmla="*/ 25 h 4468148"/>
                  <a:gd name="T8" fmla="*/ 43 w 4746852"/>
                  <a:gd name="T9" fmla="*/ 33 h 4468148"/>
                  <a:gd name="T10" fmla="*/ 29 w 4746852"/>
                  <a:gd name="T11" fmla="*/ 16 h 4468148"/>
                  <a:gd name="T12" fmla="*/ 19 w 4746852"/>
                  <a:gd name="T13" fmla="*/ 23 h 4468148"/>
                  <a:gd name="T14" fmla="*/ 18 w 4746852"/>
                  <a:gd name="T15" fmla="*/ 31 h 4468148"/>
                  <a:gd name="T16" fmla="*/ 15 w 4746852"/>
                  <a:gd name="T17" fmla="*/ 38 h 4468148"/>
                  <a:gd name="T18" fmla="*/ 7 w 4746852"/>
                  <a:gd name="T19" fmla="*/ 44 h 4468148"/>
                  <a:gd name="T20" fmla="*/ 9 w 4746852"/>
                  <a:gd name="T21" fmla="*/ 54 h 4468148"/>
                  <a:gd name="T22" fmla="*/ 0 w 4746852"/>
                  <a:gd name="T23" fmla="*/ 60 h 4468148"/>
                  <a:gd name="T24" fmla="*/ 6 w 4746852"/>
                  <a:gd name="T25" fmla="*/ 64 h 4468148"/>
                  <a:gd name="T26" fmla="*/ 24 w 4746852"/>
                  <a:gd name="T27" fmla="*/ 55 h 4468148"/>
                  <a:gd name="T28" fmla="*/ 42 w 4746852"/>
                  <a:gd name="T29" fmla="*/ 55 h 4468148"/>
                  <a:gd name="T30" fmla="*/ 57 w 4746852"/>
                  <a:gd name="T31" fmla="*/ 63 h 4468148"/>
                  <a:gd name="T32" fmla="*/ 69 w 4746852"/>
                  <a:gd name="T33" fmla="*/ 59 h 4468148"/>
                  <a:gd name="T34" fmla="*/ 75 w 4746852"/>
                  <a:gd name="T35" fmla="*/ 66 h 4468148"/>
                  <a:gd name="T36" fmla="*/ 77 w 4746852"/>
                  <a:gd name="T37" fmla="*/ 73 h 4468148"/>
                  <a:gd name="T38" fmla="*/ 88 w 4746852"/>
                  <a:gd name="T39" fmla="*/ 77 h 4468148"/>
                  <a:gd name="T40" fmla="*/ 80 w 4746852"/>
                  <a:gd name="T41" fmla="*/ 90 h 4468148"/>
                  <a:gd name="T42" fmla="*/ 87 w 4746852"/>
                  <a:gd name="T43" fmla="*/ 103 h 4468148"/>
                  <a:gd name="T44" fmla="*/ 98 w 4746852"/>
                  <a:gd name="T45" fmla="*/ 96 h 4468148"/>
                  <a:gd name="T46" fmla="*/ 105 w 4746852"/>
                  <a:gd name="T47" fmla="*/ 88 h 4468148"/>
                  <a:gd name="T48" fmla="*/ 106 w 4746852"/>
                  <a:gd name="T49" fmla="*/ 77 h 4468148"/>
                  <a:gd name="T50" fmla="*/ 103 w 4746852"/>
                  <a:gd name="T51" fmla="*/ 65 h 4468148"/>
                  <a:gd name="T52" fmla="*/ 109 w 4746852"/>
                  <a:gd name="T53" fmla="*/ 51 h 4468148"/>
                  <a:gd name="T54" fmla="*/ 109 w 4746852"/>
                  <a:gd name="T55" fmla="*/ 35 h 4468148"/>
                  <a:gd name="T56" fmla="*/ 94 w 4746852"/>
                  <a:gd name="T57" fmla="*/ 37 h 4468148"/>
                  <a:gd name="T58" fmla="*/ 87 w 4746852"/>
                  <a:gd name="T59" fmla="*/ 31 h 4468148"/>
                  <a:gd name="T60" fmla="*/ 84 w 4746852"/>
                  <a:gd name="T61" fmla="*/ 23 h 4468148"/>
                  <a:gd name="T62" fmla="*/ 80 w 4746852"/>
                  <a:gd name="T63" fmla="*/ 12 h 4468148"/>
                  <a:gd name="T64" fmla="*/ 81 w 4746852"/>
                  <a:gd name="T65" fmla="*/ 10 h 4468148"/>
                  <a:gd name="T66" fmla="*/ 65 w 4746852"/>
                  <a:gd name="T67" fmla="*/ 0 h 4468148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4746852"/>
                  <a:gd name="T103" fmla="*/ 0 h 4468148"/>
                  <a:gd name="T104" fmla="*/ 4746852 w 4746852"/>
                  <a:gd name="T105" fmla="*/ 4468148 h 4468148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4746852" h="4468148">
                    <a:moveTo>
                      <a:pt x="2828886" y="0"/>
                    </a:moveTo>
                    <a:lnTo>
                      <a:pt x="2411757" y="313358"/>
                    </a:lnTo>
                    <a:lnTo>
                      <a:pt x="2289191" y="746586"/>
                    </a:lnTo>
                    <a:lnTo>
                      <a:pt x="2283386" y="1073963"/>
                    </a:lnTo>
                    <a:lnTo>
                      <a:pt x="1866867" y="1457050"/>
                    </a:lnTo>
                    <a:lnTo>
                      <a:pt x="1251118" y="699580"/>
                    </a:lnTo>
                    <a:lnTo>
                      <a:pt x="842843" y="1019816"/>
                    </a:lnTo>
                    <a:lnTo>
                      <a:pt x="787584" y="1335232"/>
                    </a:lnTo>
                    <a:lnTo>
                      <a:pt x="639370" y="1646709"/>
                    </a:lnTo>
                    <a:lnTo>
                      <a:pt x="303124" y="1915177"/>
                    </a:lnTo>
                    <a:lnTo>
                      <a:pt x="374617" y="2354501"/>
                    </a:lnTo>
                    <a:lnTo>
                      <a:pt x="0" y="2598307"/>
                    </a:lnTo>
                    <a:lnTo>
                      <a:pt x="280134" y="2803110"/>
                    </a:lnTo>
                    <a:lnTo>
                      <a:pt x="1061693" y="2400637"/>
                    </a:lnTo>
                    <a:lnTo>
                      <a:pt x="1812720" y="2379687"/>
                    </a:lnTo>
                    <a:lnTo>
                      <a:pt x="2467471" y="2747398"/>
                    </a:lnTo>
                    <a:lnTo>
                      <a:pt x="2983808" y="2591632"/>
                    </a:lnTo>
                    <a:lnTo>
                      <a:pt x="3237887" y="2896489"/>
                    </a:lnTo>
                    <a:lnTo>
                      <a:pt x="3346642" y="3189103"/>
                    </a:lnTo>
                    <a:lnTo>
                      <a:pt x="3821543" y="3364715"/>
                    </a:lnTo>
                    <a:lnTo>
                      <a:pt x="3483256" y="3901132"/>
                    </a:lnTo>
                    <a:lnTo>
                      <a:pt x="3775980" y="4468148"/>
                    </a:lnTo>
                    <a:lnTo>
                      <a:pt x="4248098" y="4182602"/>
                    </a:lnTo>
                    <a:lnTo>
                      <a:pt x="4543380" y="3839615"/>
                    </a:lnTo>
                    <a:lnTo>
                      <a:pt x="4590852" y="3364717"/>
                    </a:lnTo>
                    <a:lnTo>
                      <a:pt x="4484998" y="2829635"/>
                    </a:lnTo>
                    <a:lnTo>
                      <a:pt x="4746852" y="2204078"/>
                    </a:lnTo>
                    <a:lnTo>
                      <a:pt x="4731073" y="1543580"/>
                    </a:lnTo>
                    <a:lnTo>
                      <a:pt x="4080961" y="1607711"/>
                    </a:lnTo>
                    <a:lnTo>
                      <a:pt x="3753584" y="1363905"/>
                    </a:lnTo>
                    <a:lnTo>
                      <a:pt x="3642157" y="1015579"/>
                    </a:lnTo>
                    <a:lnTo>
                      <a:pt x="3462306" y="540447"/>
                    </a:lnTo>
                    <a:lnTo>
                      <a:pt x="3497727" y="436432"/>
                    </a:lnTo>
                    <a:lnTo>
                      <a:pt x="2828886" y="0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>
                  <a:defRPr/>
                </a:pPr>
                <a:endParaRPr lang="zh-CN" altLang="en-US" kern="0">
                  <a:solidFill>
                    <a:sysClr val="windowText" lastClr="000000"/>
                  </a:solidFill>
                  <a:latin typeface="Calibri"/>
                  <a:ea typeface="宋体" panose="02010600030101010101" pitchFamily="2" charset="-122"/>
                </a:endParaRPr>
              </a:p>
            </p:txBody>
          </p:sp>
          <p:sp>
            <p:nvSpPr>
              <p:cNvPr id="67" name="任意多边形 29">
                <a:extLst>
                  <a:ext uri="{FF2B5EF4-FFF2-40B4-BE49-F238E27FC236}">
                    <a16:creationId xmlns:a16="http://schemas.microsoft.com/office/drawing/2014/main" id="{1532BC4B-6CE4-4B16-A1E3-44418C7743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71713" y="4719638"/>
                <a:ext cx="673100" cy="755650"/>
              </a:xfrm>
              <a:custGeom>
                <a:avLst/>
                <a:gdLst>
                  <a:gd name="T0" fmla="*/ 1359645 w 7866172"/>
                  <a:gd name="T1" fmla="*/ 8844757 h 8844757"/>
                  <a:gd name="T2" fmla="*/ 1857062 w 7866172"/>
                  <a:gd name="T3" fmla="*/ 8399049 h 8844757"/>
                  <a:gd name="T4" fmla="*/ 2092394 w 7866172"/>
                  <a:gd name="T5" fmla="*/ 7837445 h 8844757"/>
                  <a:gd name="T6" fmla="*/ 2612097 w 7866172"/>
                  <a:gd name="T7" fmla="*/ 7933725 h 8844757"/>
                  <a:gd name="T8" fmla="*/ 3166563 w 7866172"/>
                  <a:gd name="T9" fmla="*/ 7787535 h 8844757"/>
                  <a:gd name="T10" fmla="*/ 3733506 w 7866172"/>
                  <a:gd name="T11" fmla="*/ 7599443 h 8844757"/>
                  <a:gd name="T12" fmla="*/ 4154259 w 7866172"/>
                  <a:gd name="T13" fmla="*/ 7812490 h 8844757"/>
                  <a:gd name="T14" fmla="*/ 5146425 w 7866172"/>
                  <a:gd name="T15" fmla="*/ 7337358 h 8844757"/>
                  <a:gd name="T16" fmla="*/ 6811621 w 7866172"/>
                  <a:gd name="T17" fmla="*/ 6847949 h 8844757"/>
                  <a:gd name="T18" fmla="*/ 7608557 w 7866172"/>
                  <a:gd name="T19" fmla="*/ 6461088 h 8844757"/>
                  <a:gd name="T20" fmla="*/ 7866172 w 7866172"/>
                  <a:gd name="T21" fmla="*/ 5305786 h 8844757"/>
                  <a:gd name="T22" fmla="*/ 7628526 w 7866172"/>
                  <a:gd name="T23" fmla="*/ 4437584 h 8844757"/>
                  <a:gd name="T24" fmla="*/ 6641347 w 7866172"/>
                  <a:gd name="T25" fmla="*/ 4103244 h 8844757"/>
                  <a:gd name="T26" fmla="*/ 7259999 w 7866172"/>
                  <a:gd name="T27" fmla="*/ 3338402 h 8844757"/>
                  <a:gd name="T28" fmla="*/ 7030007 w 7866172"/>
                  <a:gd name="T29" fmla="*/ 2694794 h 8844757"/>
                  <a:gd name="T30" fmla="*/ 6636295 w 7866172"/>
                  <a:gd name="T31" fmla="*/ 2097562 h 8844757"/>
                  <a:gd name="T32" fmla="*/ 5938021 w 7866172"/>
                  <a:gd name="T33" fmla="*/ 2014625 h 8844757"/>
                  <a:gd name="T34" fmla="*/ 4994895 w 7866172"/>
                  <a:gd name="T35" fmla="*/ 1262260 h 8844757"/>
                  <a:gd name="T36" fmla="*/ 4395859 w 7866172"/>
                  <a:gd name="T37" fmla="*/ 430561 h 8844757"/>
                  <a:gd name="T38" fmla="*/ 3250365 w 7866172"/>
                  <a:gd name="T39" fmla="*/ 98950 h 8844757"/>
                  <a:gd name="T40" fmla="*/ 3056935 w 7866172"/>
                  <a:gd name="T41" fmla="*/ 671291 h 8844757"/>
                  <a:gd name="T42" fmla="*/ 2545240 w 7866172"/>
                  <a:gd name="T43" fmla="*/ 1277407 h 8844757"/>
                  <a:gd name="T44" fmla="*/ 1812491 w 7866172"/>
                  <a:gd name="T45" fmla="*/ 1653590 h 8844757"/>
                  <a:gd name="T46" fmla="*/ 1072604 w 7866172"/>
                  <a:gd name="T47" fmla="*/ 2106437 h 8844757"/>
                  <a:gd name="T48" fmla="*/ 303580 w 7866172"/>
                  <a:gd name="T49" fmla="*/ 2876737 h 8844757"/>
                  <a:gd name="T50" fmla="*/ 820323 w 7866172"/>
                  <a:gd name="T51" fmla="*/ 3717254 h 8844757"/>
                  <a:gd name="T52" fmla="*/ 818990 w 7866172"/>
                  <a:gd name="T53" fmla="*/ 4438859 h 8844757"/>
                  <a:gd name="T54" fmla="*/ 1178458 w 7866172"/>
                  <a:gd name="T55" fmla="*/ 5075794 h 8844757"/>
                  <a:gd name="T56" fmla="*/ 947134 w 7866172"/>
                  <a:gd name="T57" fmla="*/ 5829492 h 8844757"/>
                  <a:gd name="T58" fmla="*/ 356337 w 7866172"/>
                  <a:gd name="T59" fmla="*/ 6031629 h 8844757"/>
                  <a:gd name="T60" fmla="*/ 67961 w 7866172"/>
                  <a:gd name="T61" fmla="*/ 7162848 h 8844757"/>
                  <a:gd name="T62" fmla="*/ 470666 w 7866172"/>
                  <a:gd name="T63" fmla="*/ 8167491 h 8844757"/>
                  <a:gd name="T64" fmla="*/ 0 w 7866172"/>
                  <a:gd name="T65" fmla="*/ 0 h 8844757"/>
                  <a:gd name="T66" fmla="*/ 7866172 w 7866172"/>
                  <a:gd name="T67" fmla="*/ 8844757 h 88447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T64" t="T65" r="T66" b="T67"/>
                <a:pathLst>
                  <a:path w="7866172" h="8844757">
                    <a:moveTo>
                      <a:pt x="974094" y="8680236"/>
                    </a:moveTo>
                    <a:lnTo>
                      <a:pt x="1359645" y="8844757"/>
                    </a:lnTo>
                    <a:lnTo>
                      <a:pt x="1678779" y="8698567"/>
                    </a:lnTo>
                    <a:lnTo>
                      <a:pt x="1857062" y="8399049"/>
                    </a:lnTo>
                    <a:lnTo>
                      <a:pt x="1879348" y="7787535"/>
                    </a:lnTo>
                    <a:lnTo>
                      <a:pt x="2092394" y="7837445"/>
                    </a:lnTo>
                    <a:lnTo>
                      <a:pt x="2300101" y="7599443"/>
                    </a:lnTo>
                    <a:lnTo>
                      <a:pt x="2612097" y="7933725"/>
                    </a:lnTo>
                    <a:lnTo>
                      <a:pt x="2889330" y="7765249"/>
                    </a:lnTo>
                    <a:lnTo>
                      <a:pt x="3166563" y="7787535"/>
                    </a:lnTo>
                    <a:lnTo>
                      <a:pt x="3376939" y="7621729"/>
                    </a:lnTo>
                    <a:lnTo>
                      <a:pt x="3733506" y="7599443"/>
                    </a:lnTo>
                    <a:lnTo>
                      <a:pt x="4166737" y="6819454"/>
                    </a:lnTo>
                    <a:lnTo>
                      <a:pt x="4154259" y="7812490"/>
                    </a:lnTo>
                    <a:lnTo>
                      <a:pt x="4629450" y="8045044"/>
                    </a:lnTo>
                    <a:lnTo>
                      <a:pt x="5146425" y="7337358"/>
                    </a:lnTo>
                    <a:lnTo>
                      <a:pt x="6522445" y="6645658"/>
                    </a:lnTo>
                    <a:lnTo>
                      <a:pt x="6811621" y="6847949"/>
                    </a:lnTo>
                    <a:lnTo>
                      <a:pt x="7165518" y="6714236"/>
                    </a:lnTo>
                    <a:lnTo>
                      <a:pt x="7608557" y="6461088"/>
                    </a:lnTo>
                    <a:lnTo>
                      <a:pt x="7618363" y="5630260"/>
                    </a:lnTo>
                    <a:lnTo>
                      <a:pt x="7866172" y="5305786"/>
                    </a:lnTo>
                    <a:lnTo>
                      <a:pt x="7519413" y="5001799"/>
                    </a:lnTo>
                    <a:lnTo>
                      <a:pt x="7628526" y="4437584"/>
                    </a:lnTo>
                    <a:lnTo>
                      <a:pt x="7176197" y="4046196"/>
                    </a:lnTo>
                    <a:lnTo>
                      <a:pt x="6641347" y="4103244"/>
                    </a:lnTo>
                    <a:lnTo>
                      <a:pt x="6314204" y="3380303"/>
                    </a:lnTo>
                    <a:lnTo>
                      <a:pt x="7259999" y="3338402"/>
                    </a:lnTo>
                    <a:lnTo>
                      <a:pt x="7361618" y="3038884"/>
                    </a:lnTo>
                    <a:lnTo>
                      <a:pt x="7030007" y="2694794"/>
                    </a:lnTo>
                    <a:lnTo>
                      <a:pt x="6718011" y="2338228"/>
                    </a:lnTo>
                    <a:lnTo>
                      <a:pt x="6636295" y="2097562"/>
                    </a:lnTo>
                    <a:lnTo>
                      <a:pt x="6393537" y="2148337"/>
                    </a:lnTo>
                    <a:lnTo>
                      <a:pt x="5938021" y="2014625"/>
                    </a:lnTo>
                    <a:lnTo>
                      <a:pt x="5338985" y="2052057"/>
                    </a:lnTo>
                    <a:lnTo>
                      <a:pt x="4994895" y="1262260"/>
                    </a:lnTo>
                    <a:lnTo>
                      <a:pt x="4507286" y="851315"/>
                    </a:lnTo>
                    <a:lnTo>
                      <a:pt x="4395859" y="430561"/>
                    </a:lnTo>
                    <a:lnTo>
                      <a:pt x="4040162" y="0"/>
                    </a:lnTo>
                    <a:lnTo>
                      <a:pt x="3250365" y="98950"/>
                    </a:lnTo>
                    <a:lnTo>
                      <a:pt x="3371600" y="519703"/>
                    </a:lnTo>
                    <a:lnTo>
                      <a:pt x="3056935" y="671291"/>
                    </a:lnTo>
                    <a:lnTo>
                      <a:pt x="3179040" y="853985"/>
                    </a:lnTo>
                    <a:lnTo>
                      <a:pt x="2545240" y="1277407"/>
                    </a:lnTo>
                    <a:lnTo>
                      <a:pt x="2144103" y="1264930"/>
                    </a:lnTo>
                    <a:lnTo>
                      <a:pt x="1812491" y="1653590"/>
                    </a:lnTo>
                    <a:lnTo>
                      <a:pt x="1446117" y="1720446"/>
                    </a:lnTo>
                    <a:lnTo>
                      <a:pt x="1072604" y="2106437"/>
                    </a:lnTo>
                    <a:lnTo>
                      <a:pt x="231097" y="2658233"/>
                    </a:lnTo>
                    <a:lnTo>
                      <a:pt x="303580" y="2876737"/>
                    </a:lnTo>
                    <a:lnTo>
                      <a:pt x="972087" y="3490163"/>
                    </a:lnTo>
                    <a:lnTo>
                      <a:pt x="820323" y="3717254"/>
                    </a:lnTo>
                    <a:lnTo>
                      <a:pt x="1044514" y="3826011"/>
                    </a:lnTo>
                    <a:lnTo>
                      <a:pt x="818990" y="4438859"/>
                    </a:lnTo>
                    <a:lnTo>
                      <a:pt x="1459462" y="4844234"/>
                    </a:lnTo>
                    <a:lnTo>
                      <a:pt x="1178458" y="5075794"/>
                    </a:lnTo>
                    <a:lnTo>
                      <a:pt x="1371890" y="5437934"/>
                    </a:lnTo>
                    <a:lnTo>
                      <a:pt x="947134" y="5829492"/>
                    </a:lnTo>
                    <a:lnTo>
                      <a:pt x="821891" y="6256114"/>
                    </a:lnTo>
                    <a:lnTo>
                      <a:pt x="356337" y="6031629"/>
                    </a:lnTo>
                    <a:lnTo>
                      <a:pt x="0" y="6297720"/>
                    </a:lnTo>
                    <a:lnTo>
                      <a:pt x="67961" y="7162848"/>
                    </a:lnTo>
                    <a:lnTo>
                      <a:pt x="467764" y="7741165"/>
                    </a:lnTo>
                    <a:cubicBezTo>
                      <a:pt x="468731" y="7883274"/>
                      <a:pt x="469699" y="8025382"/>
                      <a:pt x="470666" y="8167491"/>
                    </a:cubicBezTo>
                    <a:lnTo>
                      <a:pt x="974094" y="8680236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>
                  <a:defRPr/>
                </a:pPr>
                <a:endParaRPr lang="zh-CN" altLang="en-US" kern="0">
                  <a:solidFill>
                    <a:sysClr val="windowText" lastClr="000000"/>
                  </a:solidFill>
                  <a:latin typeface="Calibri"/>
                  <a:ea typeface="宋体" panose="02010600030101010101" pitchFamily="2" charset="-122"/>
                </a:endParaRPr>
              </a:p>
            </p:txBody>
          </p:sp>
          <p:sp>
            <p:nvSpPr>
              <p:cNvPr id="68" name="任意多边形 30">
                <a:extLst>
                  <a:ext uri="{FF2B5EF4-FFF2-40B4-BE49-F238E27FC236}">
                    <a16:creationId xmlns:a16="http://schemas.microsoft.com/office/drawing/2014/main" id="{8A0984EA-8A1B-408F-844B-05987B4F5D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01875" y="5272088"/>
                <a:ext cx="923925" cy="639763"/>
              </a:xfrm>
              <a:custGeom>
                <a:avLst/>
                <a:gdLst>
                  <a:gd name="T0" fmla="*/ 1002847 w 10803206"/>
                  <a:gd name="T1" fmla="*/ 2383669 h 7503322"/>
                  <a:gd name="T2" fmla="*/ 1500264 w 10803206"/>
                  <a:gd name="T3" fmla="*/ 1937961 h 7503322"/>
                  <a:gd name="T4" fmla="*/ 1735596 w 10803206"/>
                  <a:gd name="T5" fmla="*/ 1376357 h 7503322"/>
                  <a:gd name="T6" fmla="*/ 2255299 w 10803206"/>
                  <a:gd name="T7" fmla="*/ 1472637 h 7503322"/>
                  <a:gd name="T8" fmla="*/ 2809765 w 10803206"/>
                  <a:gd name="T9" fmla="*/ 1326447 h 7503322"/>
                  <a:gd name="T10" fmla="*/ 3376708 w 10803206"/>
                  <a:gd name="T11" fmla="*/ 1138355 h 7503322"/>
                  <a:gd name="T12" fmla="*/ 3797461 w 10803206"/>
                  <a:gd name="T13" fmla="*/ 1351402 h 7503322"/>
                  <a:gd name="T14" fmla="*/ 4789627 w 10803206"/>
                  <a:gd name="T15" fmla="*/ 876270 h 7503322"/>
                  <a:gd name="T16" fmla="*/ 6454823 w 10803206"/>
                  <a:gd name="T17" fmla="*/ 386861 h 7503322"/>
                  <a:gd name="T18" fmla="*/ 7251759 w 10803206"/>
                  <a:gd name="T19" fmla="*/ 0 h 7503322"/>
                  <a:gd name="T20" fmla="*/ 8243922 w 10803206"/>
                  <a:gd name="T21" fmla="*/ 601706 h 7503322"/>
                  <a:gd name="T22" fmla="*/ 9699613 w 10803206"/>
                  <a:gd name="T23" fmla="*/ 1264929 h 7503322"/>
                  <a:gd name="T24" fmla="*/ 9130002 w 10803206"/>
                  <a:gd name="T25" fmla="*/ 2156346 h 7503322"/>
                  <a:gd name="T26" fmla="*/ 8894670 w 10803206"/>
                  <a:gd name="T27" fmla="*/ 2658232 h 7503322"/>
                  <a:gd name="T28" fmla="*/ 8171729 w 10803206"/>
                  <a:gd name="T29" fmla="*/ 2204515 h 7503322"/>
                  <a:gd name="T30" fmla="*/ 8528296 w 10803206"/>
                  <a:gd name="T31" fmla="*/ 3434682 h 7503322"/>
                  <a:gd name="T32" fmla="*/ 7748306 w 10803206"/>
                  <a:gd name="T33" fmla="*/ 3253729 h 7503322"/>
                  <a:gd name="T34" fmla="*/ 8575536 w 10803206"/>
                  <a:gd name="T35" fmla="*/ 4590854 h 7503322"/>
                  <a:gd name="T36" fmla="*/ 10803206 w 10803206"/>
                  <a:gd name="T37" fmla="*/ 6266728 h 7503322"/>
                  <a:gd name="T38" fmla="*/ 10472113 w 10803206"/>
                  <a:gd name="T39" fmla="*/ 6959497 h 7503322"/>
                  <a:gd name="T40" fmla="*/ 9822416 w 10803206"/>
                  <a:gd name="T41" fmla="*/ 7002381 h 7503322"/>
                  <a:gd name="T42" fmla="*/ 7075273 w 10803206"/>
                  <a:gd name="T43" fmla="*/ 5442168 h 7503322"/>
                  <a:gd name="T44" fmla="*/ 6362139 w 10803206"/>
                  <a:gd name="T45" fmla="*/ 6075968 h 7503322"/>
                  <a:gd name="T46" fmla="*/ 7087750 w 10803206"/>
                  <a:gd name="T47" fmla="*/ 6449480 h 7503322"/>
                  <a:gd name="T48" fmla="*/ 4847866 w 10803206"/>
                  <a:gd name="T49" fmla="*/ 7503322 h 7503322"/>
                  <a:gd name="T50" fmla="*/ 4360862 w 10803206"/>
                  <a:gd name="T51" fmla="*/ 6422726 h 7503322"/>
                  <a:gd name="T52" fmla="*/ 4271720 w 10803206"/>
                  <a:gd name="T53" fmla="*/ 6155301 h 7503322"/>
                  <a:gd name="T54" fmla="*/ 3544310 w 10803206"/>
                  <a:gd name="T55" fmla="*/ 5311125 h 7503322"/>
                  <a:gd name="T56" fmla="*/ 2843654 w 10803206"/>
                  <a:gd name="T57" fmla="*/ 6133016 h 7503322"/>
                  <a:gd name="T58" fmla="*/ 3559457 w 10803206"/>
                  <a:gd name="T59" fmla="*/ 6528814 h 7503322"/>
                  <a:gd name="T60" fmla="*/ 2709942 w 10803206"/>
                  <a:gd name="T61" fmla="*/ 6732053 h 7503322"/>
                  <a:gd name="T62" fmla="*/ 2183101 w 10803206"/>
                  <a:gd name="T63" fmla="*/ 5813882 h 7503322"/>
                  <a:gd name="T64" fmla="*/ 2230341 w 10803206"/>
                  <a:gd name="T65" fmla="*/ 4819047 h 7503322"/>
                  <a:gd name="T66" fmla="*/ 916372 w 10803206"/>
                  <a:gd name="T67" fmla="*/ 3761825 h 7503322"/>
                  <a:gd name="T68" fmla="*/ 396669 w 10803206"/>
                  <a:gd name="T69" fmla="*/ 4668388 h 7503322"/>
                  <a:gd name="T70" fmla="*/ 0 w 10803206"/>
                  <a:gd name="T71" fmla="*/ 3532702 h 7503322"/>
                  <a:gd name="T72" fmla="*/ 0 w 10803206"/>
                  <a:gd name="T73" fmla="*/ 0 h 7503322"/>
                  <a:gd name="T74" fmla="*/ 10803206 w 10803206"/>
                  <a:gd name="T75" fmla="*/ 7503322 h 75033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T72" t="T73" r="T74" b="T75"/>
                <a:pathLst>
                  <a:path w="10803206" h="7503322">
                    <a:moveTo>
                      <a:pt x="617296" y="2219148"/>
                    </a:moveTo>
                    <a:lnTo>
                      <a:pt x="1002847" y="2383669"/>
                    </a:lnTo>
                    <a:lnTo>
                      <a:pt x="1321981" y="2237479"/>
                    </a:lnTo>
                    <a:lnTo>
                      <a:pt x="1500264" y="1937961"/>
                    </a:lnTo>
                    <a:lnTo>
                      <a:pt x="1522550" y="1326447"/>
                    </a:lnTo>
                    <a:lnTo>
                      <a:pt x="1735596" y="1376357"/>
                    </a:lnTo>
                    <a:lnTo>
                      <a:pt x="1943303" y="1138355"/>
                    </a:lnTo>
                    <a:lnTo>
                      <a:pt x="2255299" y="1472637"/>
                    </a:lnTo>
                    <a:lnTo>
                      <a:pt x="2532532" y="1304161"/>
                    </a:lnTo>
                    <a:lnTo>
                      <a:pt x="2809765" y="1326447"/>
                    </a:lnTo>
                    <a:lnTo>
                      <a:pt x="3020141" y="1160641"/>
                    </a:lnTo>
                    <a:lnTo>
                      <a:pt x="3376708" y="1138355"/>
                    </a:lnTo>
                    <a:lnTo>
                      <a:pt x="3809939" y="358366"/>
                    </a:lnTo>
                    <a:lnTo>
                      <a:pt x="3797461" y="1351402"/>
                    </a:lnTo>
                    <a:lnTo>
                      <a:pt x="4272652" y="1583956"/>
                    </a:lnTo>
                    <a:lnTo>
                      <a:pt x="4789627" y="876270"/>
                    </a:lnTo>
                    <a:lnTo>
                      <a:pt x="6165647" y="184570"/>
                    </a:lnTo>
                    <a:lnTo>
                      <a:pt x="6454823" y="386861"/>
                    </a:lnTo>
                    <a:lnTo>
                      <a:pt x="6808720" y="253148"/>
                    </a:lnTo>
                    <a:lnTo>
                      <a:pt x="7251759" y="0"/>
                    </a:lnTo>
                    <a:lnTo>
                      <a:pt x="8229646" y="139052"/>
                    </a:lnTo>
                    <a:lnTo>
                      <a:pt x="8243922" y="601706"/>
                    </a:lnTo>
                    <a:lnTo>
                      <a:pt x="9110384" y="1019790"/>
                    </a:lnTo>
                    <a:lnTo>
                      <a:pt x="9699613" y="1264929"/>
                    </a:lnTo>
                    <a:cubicBezTo>
                      <a:pt x="9698724" y="1458959"/>
                      <a:pt x="9697834" y="1652990"/>
                      <a:pt x="9696945" y="1847020"/>
                    </a:cubicBezTo>
                    <a:lnTo>
                      <a:pt x="9130002" y="2156346"/>
                    </a:lnTo>
                    <a:lnTo>
                      <a:pt x="9307184" y="2444610"/>
                    </a:lnTo>
                    <a:lnTo>
                      <a:pt x="8894670" y="2658232"/>
                    </a:lnTo>
                    <a:lnTo>
                      <a:pt x="8493533" y="2157275"/>
                    </a:lnTo>
                    <a:lnTo>
                      <a:pt x="8171729" y="2204515"/>
                    </a:lnTo>
                    <a:lnTo>
                      <a:pt x="8228777" y="2761650"/>
                    </a:lnTo>
                    <a:lnTo>
                      <a:pt x="8528296" y="3434682"/>
                    </a:lnTo>
                    <a:lnTo>
                      <a:pt x="8327727" y="3590680"/>
                    </a:lnTo>
                    <a:lnTo>
                      <a:pt x="7748306" y="3253729"/>
                    </a:lnTo>
                    <a:lnTo>
                      <a:pt x="7528122" y="3625442"/>
                    </a:lnTo>
                    <a:lnTo>
                      <a:pt x="8575536" y="4590854"/>
                    </a:lnTo>
                    <a:lnTo>
                      <a:pt x="10142654" y="5524171"/>
                    </a:lnTo>
                    <a:lnTo>
                      <a:pt x="10803206" y="6266728"/>
                    </a:lnTo>
                    <a:lnTo>
                      <a:pt x="10793400" y="6837235"/>
                    </a:lnTo>
                    <a:lnTo>
                      <a:pt x="10472113" y="6959497"/>
                    </a:lnTo>
                    <a:lnTo>
                      <a:pt x="10115030" y="6935525"/>
                    </a:lnTo>
                    <a:lnTo>
                      <a:pt x="9822416" y="7002381"/>
                    </a:lnTo>
                    <a:lnTo>
                      <a:pt x="9540946" y="6982763"/>
                    </a:lnTo>
                    <a:lnTo>
                      <a:pt x="7075273" y="5442168"/>
                    </a:lnTo>
                    <a:lnTo>
                      <a:pt x="5468053" y="5439498"/>
                    </a:lnTo>
                    <a:lnTo>
                      <a:pt x="6362139" y="6075968"/>
                    </a:lnTo>
                    <a:lnTo>
                      <a:pt x="6896989" y="6152632"/>
                    </a:lnTo>
                    <a:lnTo>
                      <a:pt x="7087750" y="6449480"/>
                    </a:lnTo>
                    <a:lnTo>
                      <a:pt x="6305961" y="7204515"/>
                    </a:lnTo>
                    <a:lnTo>
                      <a:pt x="4847866" y="7503322"/>
                    </a:lnTo>
                    <a:lnTo>
                      <a:pt x="4286867" y="6900528"/>
                    </a:lnTo>
                    <a:lnTo>
                      <a:pt x="4360862" y="6422726"/>
                    </a:lnTo>
                    <a:lnTo>
                      <a:pt x="4650572" y="6177587"/>
                    </a:lnTo>
                    <a:lnTo>
                      <a:pt x="4271720" y="6155301"/>
                    </a:lnTo>
                    <a:lnTo>
                      <a:pt x="3700308" y="5994835"/>
                    </a:lnTo>
                    <a:lnTo>
                      <a:pt x="3544310" y="5311125"/>
                    </a:lnTo>
                    <a:lnTo>
                      <a:pt x="2922988" y="5709593"/>
                    </a:lnTo>
                    <a:lnTo>
                      <a:pt x="2843654" y="6133016"/>
                    </a:lnTo>
                    <a:lnTo>
                      <a:pt x="3356219" y="6174917"/>
                    </a:lnTo>
                    <a:lnTo>
                      <a:pt x="3559457" y="6528814"/>
                    </a:lnTo>
                    <a:lnTo>
                      <a:pt x="3274216" y="6897858"/>
                    </a:lnTo>
                    <a:lnTo>
                      <a:pt x="2709942" y="6732053"/>
                    </a:lnTo>
                    <a:lnTo>
                      <a:pt x="1954907" y="6457489"/>
                    </a:lnTo>
                    <a:lnTo>
                      <a:pt x="2183101" y="5813882"/>
                    </a:lnTo>
                    <a:lnTo>
                      <a:pt x="1794441" y="5462654"/>
                    </a:lnTo>
                    <a:lnTo>
                      <a:pt x="2230341" y="4819047"/>
                    </a:lnTo>
                    <a:lnTo>
                      <a:pt x="1497592" y="4343915"/>
                    </a:lnTo>
                    <a:lnTo>
                      <a:pt x="916372" y="3761825"/>
                    </a:lnTo>
                    <a:lnTo>
                      <a:pt x="683710" y="4440195"/>
                    </a:lnTo>
                    <a:lnTo>
                      <a:pt x="396669" y="4668388"/>
                    </a:lnTo>
                    <a:lnTo>
                      <a:pt x="164007" y="3868783"/>
                    </a:lnTo>
                    <a:lnTo>
                      <a:pt x="0" y="3532702"/>
                    </a:lnTo>
                    <a:lnTo>
                      <a:pt x="617296" y="2219148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>
                  <a:defRPr/>
                </a:pPr>
                <a:endParaRPr lang="zh-CN" altLang="en-US" kern="0">
                  <a:solidFill>
                    <a:sysClr val="windowText" lastClr="000000"/>
                  </a:solidFill>
                  <a:latin typeface="Calibri"/>
                  <a:ea typeface="宋体" panose="02010600030101010101" pitchFamily="2" charset="-122"/>
                </a:endParaRPr>
              </a:p>
            </p:txBody>
          </p:sp>
          <p:sp>
            <p:nvSpPr>
              <p:cNvPr id="69" name="任意多边形 31">
                <a:extLst>
                  <a:ext uri="{FF2B5EF4-FFF2-40B4-BE49-F238E27FC236}">
                    <a16:creationId xmlns:a16="http://schemas.microsoft.com/office/drawing/2014/main" id="{FA519693-34ED-42CA-BA38-4B77C683EB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11463" y="4502151"/>
                <a:ext cx="1012825" cy="1054100"/>
              </a:xfrm>
              <a:custGeom>
                <a:avLst/>
                <a:gdLst>
                  <a:gd name="T0" fmla="*/ 403805 w 11863101"/>
                  <a:gd name="T1" fmla="*/ 4883467 h 12341819"/>
                  <a:gd name="T2" fmla="*/ 1052752 w 11863101"/>
                  <a:gd name="T3" fmla="*/ 5581453 h 12341819"/>
                  <a:gd name="T4" fmla="*/ 0 w 11863101"/>
                  <a:gd name="T5" fmla="*/ 5921536 h 12341819"/>
                  <a:gd name="T6" fmla="*/ 863558 w 11863101"/>
                  <a:gd name="T7" fmla="*/ 6588994 h 12341819"/>
                  <a:gd name="T8" fmla="*/ 1216119 w 11863101"/>
                  <a:gd name="T9" fmla="*/ 7547501 h 12341819"/>
                  <a:gd name="T10" fmla="*/ 1310832 w 11863101"/>
                  <a:gd name="T11" fmla="*/ 8175961 h 12341819"/>
                  <a:gd name="T12" fmla="*/ 2272008 w 11863101"/>
                  <a:gd name="T13" fmla="*/ 9142940 h 12341819"/>
                  <a:gd name="T14" fmla="*/ 3041320 w 11863101"/>
                  <a:gd name="T15" fmla="*/ 9978875 h 12341819"/>
                  <a:gd name="T16" fmla="*/ 3739306 w 11863101"/>
                  <a:gd name="T17" fmla="*/ 10846902 h 12341819"/>
                  <a:gd name="T18" fmla="*/ 3351809 w 11863101"/>
                  <a:gd name="T19" fmla="*/ 11443101 h 12341819"/>
                  <a:gd name="T20" fmla="*/ 4057804 w 11863101"/>
                  <a:gd name="T21" fmla="*/ 11584115 h 12341819"/>
                  <a:gd name="T22" fmla="*/ 4850271 w 11863101"/>
                  <a:gd name="T23" fmla="*/ 11329168 h 12341819"/>
                  <a:gd name="T24" fmla="*/ 5446638 w 11863101"/>
                  <a:gd name="T25" fmla="*/ 10994887 h 12341819"/>
                  <a:gd name="T26" fmla="*/ 6226628 w 11863101"/>
                  <a:gd name="T27" fmla="*/ 11210602 h 12341819"/>
                  <a:gd name="T28" fmla="*/ 7036042 w 11863101"/>
                  <a:gd name="T29" fmla="*/ 11175840 h 12341819"/>
                  <a:gd name="T30" fmla="*/ 7766121 w 11863101"/>
                  <a:gd name="T31" fmla="*/ 11975445 h 12341819"/>
                  <a:gd name="T32" fmla="*/ 8364765 w 11863101"/>
                  <a:gd name="T33" fmla="*/ 12237491 h 12341819"/>
                  <a:gd name="T34" fmla="*/ 8288494 w 11863101"/>
                  <a:gd name="T35" fmla="*/ 11471125 h 12341819"/>
                  <a:gd name="T36" fmla="*/ 8232779 w 11863101"/>
                  <a:gd name="T37" fmla="*/ 10134869 h 12341819"/>
                  <a:gd name="T38" fmla="*/ 8433348 w 11863101"/>
                  <a:gd name="T39" fmla="*/ 9641691 h 12341819"/>
                  <a:gd name="T40" fmla="*/ 8675818 w 11863101"/>
                  <a:gd name="T41" fmla="*/ 9078748 h 12341819"/>
                  <a:gd name="T42" fmla="*/ 9254137 w 11863101"/>
                  <a:gd name="T43" fmla="*/ 8408621 h 12341819"/>
                  <a:gd name="T44" fmla="*/ 9881027 w 11863101"/>
                  <a:gd name="T45" fmla="*/ 8517144 h 12341819"/>
                  <a:gd name="T46" fmla="*/ 10731011 w 11863101"/>
                  <a:gd name="T47" fmla="*/ 8472574 h 12341819"/>
                  <a:gd name="T48" fmla="*/ 11075330 w 11863101"/>
                  <a:gd name="T49" fmla="*/ 7578256 h 12341819"/>
                  <a:gd name="T50" fmla="*/ 11692417 w 11863101"/>
                  <a:gd name="T51" fmla="*/ 7186695 h 12341819"/>
                  <a:gd name="T52" fmla="*/ 11523707 w 11863101"/>
                  <a:gd name="T53" fmla="*/ 6683707 h 12341819"/>
                  <a:gd name="T54" fmla="*/ 10951193 w 11863101"/>
                  <a:gd name="T55" fmla="*/ 6370146 h 12341819"/>
                  <a:gd name="T56" fmla="*/ 10112124 w 11863101"/>
                  <a:gd name="T57" fmla="*/ 5810107 h 12341819"/>
                  <a:gd name="T58" fmla="*/ 8398585 w 11863101"/>
                  <a:gd name="T59" fmla="*/ 4990886 h 12341819"/>
                  <a:gd name="T60" fmla="*/ 7527886 w 11863101"/>
                  <a:gd name="T61" fmla="*/ 5004699 h 12341819"/>
                  <a:gd name="T62" fmla="*/ 6997039 w 11863101"/>
                  <a:gd name="T63" fmla="*/ 4501711 h 12341819"/>
                  <a:gd name="T64" fmla="*/ 5895248 w 11863101"/>
                  <a:gd name="T65" fmla="*/ 3487261 h 12341819"/>
                  <a:gd name="T66" fmla="*/ 6787767 w 11863101"/>
                  <a:gd name="T67" fmla="*/ 2750277 h 12341819"/>
                  <a:gd name="T68" fmla="*/ 6605709 w 11863101"/>
                  <a:gd name="T69" fmla="*/ 1788869 h 12341819"/>
                  <a:gd name="T70" fmla="*/ 7099994 w 11863101"/>
                  <a:gd name="T71" fmla="*/ 870699 h 12341819"/>
                  <a:gd name="T72" fmla="*/ 6156634 w 11863101"/>
                  <a:gd name="T73" fmla="*/ 172713 h 12341819"/>
                  <a:gd name="T74" fmla="*/ 5323602 w 11863101"/>
                  <a:gd name="T75" fmla="*/ 44573 h 12341819"/>
                  <a:gd name="T76" fmla="*/ 4526083 w 11863101"/>
                  <a:gd name="T77" fmla="*/ 109340 h 12341819"/>
                  <a:gd name="T78" fmla="*/ 4132666 w 11863101"/>
                  <a:gd name="T79" fmla="*/ 529506 h 12341819"/>
                  <a:gd name="T80" fmla="*/ 3229118 w 11863101"/>
                  <a:gd name="T81" fmla="*/ 805812 h 12341819"/>
                  <a:gd name="T82" fmla="*/ 4384944 w 11863101"/>
                  <a:gd name="T83" fmla="*/ 1945093 h 12341819"/>
                  <a:gd name="T84" fmla="*/ 4039056 w 11863101"/>
                  <a:gd name="T85" fmla="*/ 3650391 h 12341819"/>
                  <a:gd name="T86" fmla="*/ 3242120 w 11863101"/>
                  <a:gd name="T87" fmla="*/ 3321449 h 12341819"/>
                  <a:gd name="T88" fmla="*/ 2106434 w 11863101"/>
                  <a:gd name="T89" fmla="*/ 3232308 h 12341819"/>
                  <a:gd name="T90" fmla="*/ 1319306 w 11863101"/>
                  <a:gd name="T91" fmla="*/ 3328588 h 12341819"/>
                  <a:gd name="T92" fmla="*/ 898552 w 11863101"/>
                  <a:gd name="T93" fmla="*/ 4004288 h 12341819"/>
                  <a:gd name="T94" fmla="*/ 378849 w 11863101"/>
                  <a:gd name="T95" fmla="*/ 4246758 h 12341819"/>
                  <a:gd name="T96" fmla="*/ 0 w 11863101"/>
                  <a:gd name="T97" fmla="*/ 0 h 12341819"/>
                  <a:gd name="T98" fmla="*/ 11863101 w 11863101"/>
                  <a:gd name="T99" fmla="*/ 12341819 h 123418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T96" t="T97" r="T98" b="T99"/>
                <a:pathLst>
                  <a:path w="11863101" h="12341819">
                    <a:moveTo>
                      <a:pt x="320444" y="4634962"/>
                    </a:moveTo>
                    <a:lnTo>
                      <a:pt x="403805" y="4883467"/>
                    </a:lnTo>
                    <a:lnTo>
                      <a:pt x="697752" y="5219313"/>
                    </a:lnTo>
                    <a:lnTo>
                      <a:pt x="1052752" y="5581453"/>
                    </a:lnTo>
                    <a:lnTo>
                      <a:pt x="948465" y="5885206"/>
                    </a:lnTo>
                    <a:lnTo>
                      <a:pt x="0" y="5921536"/>
                    </a:lnTo>
                    <a:lnTo>
                      <a:pt x="342519" y="6648715"/>
                    </a:lnTo>
                    <a:lnTo>
                      <a:pt x="863558" y="6588994"/>
                    </a:lnTo>
                    <a:lnTo>
                      <a:pt x="1321744" y="6987464"/>
                    </a:lnTo>
                    <a:lnTo>
                      <a:pt x="1216119" y="7547501"/>
                    </a:lnTo>
                    <a:lnTo>
                      <a:pt x="1561545" y="7851256"/>
                    </a:lnTo>
                    <a:lnTo>
                      <a:pt x="1310832" y="8175961"/>
                    </a:lnTo>
                    <a:lnTo>
                      <a:pt x="1305495" y="9004756"/>
                    </a:lnTo>
                    <a:lnTo>
                      <a:pt x="2272008" y="9142940"/>
                    </a:lnTo>
                    <a:lnTo>
                      <a:pt x="2297427" y="9604027"/>
                    </a:lnTo>
                    <a:lnTo>
                      <a:pt x="3041320" y="9978875"/>
                    </a:lnTo>
                    <a:lnTo>
                      <a:pt x="3744645" y="10271487"/>
                    </a:lnTo>
                    <a:cubicBezTo>
                      <a:pt x="3742865" y="10463292"/>
                      <a:pt x="3741086" y="10655097"/>
                      <a:pt x="3739306" y="10846902"/>
                    </a:cubicBezTo>
                    <a:lnTo>
                      <a:pt x="3183504" y="11161801"/>
                    </a:lnTo>
                    <a:lnTo>
                      <a:pt x="3351809" y="11443101"/>
                    </a:lnTo>
                    <a:lnTo>
                      <a:pt x="3670014" y="11609070"/>
                    </a:lnTo>
                    <a:lnTo>
                      <a:pt x="4057804" y="11584115"/>
                    </a:lnTo>
                    <a:lnTo>
                      <a:pt x="4404563" y="11641164"/>
                    </a:lnTo>
                    <a:lnTo>
                      <a:pt x="4850271" y="11329168"/>
                    </a:lnTo>
                    <a:lnTo>
                      <a:pt x="5283502" y="11363931"/>
                    </a:lnTo>
                    <a:lnTo>
                      <a:pt x="5446638" y="10994887"/>
                    </a:lnTo>
                    <a:lnTo>
                      <a:pt x="5669493" y="10663275"/>
                    </a:lnTo>
                    <a:lnTo>
                      <a:pt x="6226628" y="11210602"/>
                    </a:lnTo>
                    <a:lnTo>
                      <a:pt x="6634904" y="11074220"/>
                    </a:lnTo>
                    <a:lnTo>
                      <a:pt x="7036042" y="11175840"/>
                    </a:lnTo>
                    <a:lnTo>
                      <a:pt x="7422032" y="11564500"/>
                    </a:lnTo>
                    <a:lnTo>
                      <a:pt x="7766121" y="11975445"/>
                    </a:lnTo>
                    <a:lnTo>
                      <a:pt x="8065640" y="12341819"/>
                    </a:lnTo>
                    <a:lnTo>
                      <a:pt x="8364765" y="12237491"/>
                    </a:lnTo>
                    <a:lnTo>
                      <a:pt x="8225872" y="11808307"/>
                    </a:lnTo>
                    <a:lnTo>
                      <a:pt x="8288494" y="11471125"/>
                    </a:lnTo>
                    <a:lnTo>
                      <a:pt x="7781963" y="10686667"/>
                    </a:lnTo>
                    <a:lnTo>
                      <a:pt x="8232779" y="10134869"/>
                    </a:lnTo>
                    <a:lnTo>
                      <a:pt x="8203587" y="9840923"/>
                    </a:lnTo>
                    <a:lnTo>
                      <a:pt x="8433348" y="9641691"/>
                    </a:lnTo>
                    <a:lnTo>
                      <a:pt x="8395915" y="9099703"/>
                    </a:lnTo>
                    <a:lnTo>
                      <a:pt x="8675818" y="9078748"/>
                    </a:lnTo>
                    <a:lnTo>
                      <a:pt x="8757183" y="8444951"/>
                    </a:lnTo>
                    <a:lnTo>
                      <a:pt x="9254137" y="8408621"/>
                    </a:lnTo>
                    <a:lnTo>
                      <a:pt x="9507748" y="8581333"/>
                    </a:lnTo>
                    <a:lnTo>
                      <a:pt x="9881027" y="8517144"/>
                    </a:lnTo>
                    <a:lnTo>
                      <a:pt x="10306018" y="7852819"/>
                    </a:lnTo>
                    <a:lnTo>
                      <a:pt x="10731011" y="8472574"/>
                    </a:lnTo>
                    <a:lnTo>
                      <a:pt x="11002671" y="8419531"/>
                    </a:lnTo>
                    <a:lnTo>
                      <a:pt x="11075330" y="7578256"/>
                    </a:lnTo>
                    <a:lnTo>
                      <a:pt x="11863101" y="7512324"/>
                    </a:lnTo>
                    <a:lnTo>
                      <a:pt x="11692417" y="7186695"/>
                    </a:lnTo>
                    <a:lnTo>
                      <a:pt x="11486275" y="6977654"/>
                    </a:lnTo>
                    <a:lnTo>
                      <a:pt x="11523707" y="6683707"/>
                    </a:lnTo>
                    <a:lnTo>
                      <a:pt x="11222855" y="6446808"/>
                    </a:lnTo>
                    <a:lnTo>
                      <a:pt x="10951193" y="6370146"/>
                    </a:lnTo>
                    <a:lnTo>
                      <a:pt x="10615344" y="6110959"/>
                    </a:lnTo>
                    <a:lnTo>
                      <a:pt x="10112124" y="5810107"/>
                    </a:lnTo>
                    <a:lnTo>
                      <a:pt x="9316756" y="5609304"/>
                    </a:lnTo>
                    <a:lnTo>
                      <a:pt x="8398585" y="4990886"/>
                    </a:lnTo>
                    <a:lnTo>
                      <a:pt x="7919913" y="5147986"/>
                    </a:lnTo>
                    <a:lnTo>
                      <a:pt x="7527886" y="5004699"/>
                    </a:lnTo>
                    <a:lnTo>
                      <a:pt x="7430272" y="4705181"/>
                    </a:lnTo>
                    <a:lnTo>
                      <a:pt x="6997039" y="4501711"/>
                    </a:lnTo>
                    <a:lnTo>
                      <a:pt x="6772620" y="4097673"/>
                    </a:lnTo>
                    <a:lnTo>
                      <a:pt x="5895248" y="3487261"/>
                    </a:lnTo>
                    <a:lnTo>
                      <a:pt x="6264058" y="3303407"/>
                    </a:lnTo>
                    <a:lnTo>
                      <a:pt x="6787767" y="2750277"/>
                    </a:lnTo>
                    <a:lnTo>
                      <a:pt x="6801812" y="2179097"/>
                    </a:lnTo>
                    <a:lnTo>
                      <a:pt x="6605709" y="1788869"/>
                    </a:lnTo>
                    <a:lnTo>
                      <a:pt x="7340326" y="1274562"/>
                    </a:lnTo>
                    <a:lnTo>
                      <a:pt x="7099994" y="870699"/>
                    </a:lnTo>
                    <a:lnTo>
                      <a:pt x="6662526" y="448612"/>
                    </a:lnTo>
                    <a:lnTo>
                      <a:pt x="6156634" y="172713"/>
                    </a:lnTo>
                    <a:lnTo>
                      <a:pt x="5694213" y="133712"/>
                    </a:lnTo>
                    <a:lnTo>
                      <a:pt x="5323602" y="44573"/>
                    </a:lnTo>
                    <a:lnTo>
                      <a:pt x="4911089" y="0"/>
                    </a:lnTo>
                    <a:lnTo>
                      <a:pt x="4526083" y="109340"/>
                    </a:lnTo>
                    <a:lnTo>
                      <a:pt x="4408100" y="321801"/>
                    </a:lnTo>
                    <a:lnTo>
                      <a:pt x="4132666" y="529506"/>
                    </a:lnTo>
                    <a:lnTo>
                      <a:pt x="3724390" y="640933"/>
                    </a:lnTo>
                    <a:lnTo>
                      <a:pt x="3229118" y="805812"/>
                    </a:lnTo>
                    <a:lnTo>
                      <a:pt x="3102198" y="1237299"/>
                    </a:lnTo>
                    <a:lnTo>
                      <a:pt x="4384944" y="1945093"/>
                    </a:lnTo>
                    <a:lnTo>
                      <a:pt x="4330566" y="3257263"/>
                    </a:lnTo>
                    <a:lnTo>
                      <a:pt x="4039056" y="3650391"/>
                    </a:lnTo>
                    <a:lnTo>
                      <a:pt x="3913352" y="4044390"/>
                    </a:lnTo>
                    <a:lnTo>
                      <a:pt x="3242120" y="3321449"/>
                    </a:lnTo>
                    <a:lnTo>
                      <a:pt x="2571758" y="3576397"/>
                    </a:lnTo>
                    <a:lnTo>
                      <a:pt x="2106434" y="3232308"/>
                    </a:lnTo>
                    <a:lnTo>
                      <a:pt x="1606347" y="3108403"/>
                    </a:lnTo>
                    <a:lnTo>
                      <a:pt x="1319306" y="3328588"/>
                    </a:lnTo>
                    <a:lnTo>
                      <a:pt x="1153500" y="3637914"/>
                    </a:lnTo>
                    <a:lnTo>
                      <a:pt x="898552" y="4004288"/>
                    </a:lnTo>
                    <a:lnTo>
                      <a:pt x="819219" y="4261905"/>
                    </a:lnTo>
                    <a:lnTo>
                      <a:pt x="378849" y="4246758"/>
                    </a:lnTo>
                    <a:lnTo>
                      <a:pt x="320444" y="4634962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>
                  <a:defRPr/>
                </a:pPr>
                <a:endParaRPr lang="zh-CN" altLang="en-US" kern="0">
                  <a:solidFill>
                    <a:sysClr val="windowText" lastClr="000000"/>
                  </a:solidFill>
                  <a:latin typeface="Calibri"/>
                  <a:ea typeface="宋体" panose="02010600030101010101" pitchFamily="2" charset="-122"/>
                </a:endParaRPr>
              </a:p>
            </p:txBody>
          </p:sp>
          <p:sp>
            <p:nvSpPr>
              <p:cNvPr id="70" name="任意多边形 32">
                <a:extLst>
                  <a:ext uri="{FF2B5EF4-FFF2-40B4-BE49-F238E27FC236}">
                    <a16:creationId xmlns:a16="http://schemas.microsoft.com/office/drawing/2014/main" id="{5B375EF6-1C53-48A9-B6F4-ED58EA27AE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00375" y="5413376"/>
                <a:ext cx="1025525" cy="693738"/>
              </a:xfrm>
              <a:custGeom>
                <a:avLst/>
                <a:gdLst>
                  <a:gd name="T0" fmla="*/ 13010 w 3230"/>
                  <a:gd name="T1" fmla="*/ 165523 h 2186"/>
                  <a:gd name="T2" fmla="*/ 30346 w 3230"/>
                  <a:gd name="T3" fmla="*/ 151874 h 2186"/>
                  <a:gd name="T4" fmla="*/ 5105 w 3230"/>
                  <a:gd name="T5" fmla="*/ 94616 h 2186"/>
                  <a:gd name="T6" fmla="*/ 0 w 3230"/>
                  <a:gd name="T7" fmla="*/ 46309 h 2186"/>
                  <a:gd name="T8" fmla="*/ 27260 w 3230"/>
                  <a:gd name="T9" fmla="*/ 42957 h 2186"/>
                  <a:gd name="T10" fmla="*/ 61913 w 3230"/>
                  <a:gd name="T11" fmla="*/ 85324 h 2186"/>
                  <a:gd name="T12" fmla="*/ 96912 w 3230"/>
                  <a:gd name="T13" fmla="*/ 66631 h 2186"/>
                  <a:gd name="T14" fmla="*/ 124113 w 3230"/>
                  <a:gd name="T15" fmla="*/ 80811 h 2186"/>
                  <a:gd name="T16" fmla="*/ 157262 w 3230"/>
                  <a:gd name="T17" fmla="*/ 78679 h 2186"/>
                  <a:gd name="T18" fmla="*/ 186903 w 3230"/>
                  <a:gd name="T19" fmla="*/ 83554 h 2186"/>
                  <a:gd name="T20" fmla="*/ 225003 w 3230"/>
                  <a:gd name="T21" fmla="*/ 56896 h 2186"/>
                  <a:gd name="T22" fmla="*/ 262037 w 3230"/>
                  <a:gd name="T23" fmla="*/ 59866 h 2186"/>
                  <a:gd name="T24" fmla="*/ 275982 w 3230"/>
                  <a:gd name="T25" fmla="*/ 28334 h 2186"/>
                  <a:gd name="T26" fmla="*/ 295032 w 3230"/>
                  <a:gd name="T27" fmla="*/ 0 h 2186"/>
                  <a:gd name="T28" fmla="*/ 342657 w 3230"/>
                  <a:gd name="T29" fmla="*/ 46765 h 2186"/>
                  <a:gd name="T30" fmla="*/ 377557 w 3230"/>
                  <a:gd name="T31" fmla="*/ 35112 h 2186"/>
                  <a:gd name="T32" fmla="*/ 411847 w 3230"/>
                  <a:gd name="T33" fmla="*/ 43795 h 2186"/>
                  <a:gd name="T34" fmla="*/ 444842 w 3230"/>
                  <a:gd name="T35" fmla="*/ 77003 h 2186"/>
                  <a:gd name="T36" fmla="*/ 474256 w 3230"/>
                  <a:gd name="T37" fmla="*/ 112115 h 2186"/>
                  <a:gd name="T38" fmla="*/ 499859 w 3230"/>
                  <a:gd name="T39" fmla="*/ 143420 h 2186"/>
                  <a:gd name="T40" fmla="*/ 525429 w 3230"/>
                  <a:gd name="T41" fmla="*/ 134505 h 2186"/>
                  <a:gd name="T42" fmla="*/ 562268 w 3230"/>
                  <a:gd name="T43" fmla="*/ 132718 h 2186"/>
                  <a:gd name="T44" fmla="*/ 609530 w 3230"/>
                  <a:gd name="T45" fmla="*/ 168669 h 2186"/>
                  <a:gd name="T46" fmla="*/ 556211 w 3230"/>
                  <a:gd name="T47" fmla="*/ 241997 h 2186"/>
                  <a:gd name="T48" fmla="*/ 591225 w 3230"/>
                  <a:gd name="T49" fmla="*/ 282460 h 2186"/>
                  <a:gd name="T50" fmla="*/ 616694 w 3230"/>
                  <a:gd name="T51" fmla="*/ 263915 h 2186"/>
                  <a:gd name="T52" fmla="*/ 656223 w 3230"/>
                  <a:gd name="T53" fmla="*/ 287716 h 2186"/>
                  <a:gd name="T54" fmla="*/ 646242 w 3230"/>
                  <a:gd name="T55" fmla="*/ 310452 h 2186"/>
                  <a:gd name="T56" fmla="*/ 668531 w 3230"/>
                  <a:gd name="T57" fmla="*/ 341826 h 2186"/>
                  <a:gd name="T58" fmla="*/ 734120 w 3230"/>
                  <a:gd name="T59" fmla="*/ 335815 h 2186"/>
                  <a:gd name="T60" fmla="*/ 811312 w 3230"/>
                  <a:gd name="T61" fmla="*/ 349868 h 2186"/>
                  <a:gd name="T62" fmla="*/ 858083 w 3230"/>
                  <a:gd name="T63" fmla="*/ 410796 h 2186"/>
                  <a:gd name="T64" fmla="*/ 892771 w 3230"/>
                  <a:gd name="T65" fmla="*/ 397244 h 2186"/>
                  <a:gd name="T66" fmla="*/ 892676 w 3230"/>
                  <a:gd name="T67" fmla="*/ 430928 h 2186"/>
                  <a:gd name="T68" fmla="*/ 929347 w 3230"/>
                  <a:gd name="T69" fmla="*/ 439382 h 2186"/>
                  <a:gd name="T70" fmla="*/ 1001033 w 3230"/>
                  <a:gd name="T71" fmla="*/ 442486 h 2186"/>
                  <a:gd name="T72" fmla="*/ 1020866 w 3230"/>
                  <a:gd name="T73" fmla="*/ 468683 h 2186"/>
                  <a:gd name="T74" fmla="*/ 1025570 w 3230"/>
                  <a:gd name="T75" fmla="*/ 518195 h 2186"/>
                  <a:gd name="T76" fmla="*/ 987583 w 3230"/>
                  <a:gd name="T77" fmla="*/ 558658 h 2186"/>
                  <a:gd name="T78" fmla="*/ 949235 w 3230"/>
                  <a:gd name="T79" fmla="*/ 552127 h 2186"/>
                  <a:gd name="T80" fmla="*/ 933375 w 3230"/>
                  <a:gd name="T81" fmla="*/ 572687 h 2186"/>
                  <a:gd name="T82" fmla="*/ 948646 w 3230"/>
                  <a:gd name="T83" fmla="*/ 606643 h 2186"/>
                  <a:gd name="T84" fmla="*/ 957560 w 3230"/>
                  <a:gd name="T85" fmla="*/ 615931 h 2186"/>
                  <a:gd name="T86" fmla="*/ 875531 w 3230"/>
                  <a:gd name="T87" fmla="*/ 622962 h 2186"/>
                  <a:gd name="T88" fmla="*/ 889094 w 3230"/>
                  <a:gd name="T89" fmla="*/ 655332 h 2186"/>
                  <a:gd name="T90" fmla="*/ 864330 w 3230"/>
                  <a:gd name="T91" fmla="*/ 650457 h 2186"/>
                  <a:gd name="T92" fmla="*/ 849089 w 3230"/>
                  <a:gd name="T93" fmla="*/ 666757 h 2186"/>
                  <a:gd name="T94" fmla="*/ 825619 w 3230"/>
                  <a:gd name="T95" fmla="*/ 668661 h 2186"/>
                  <a:gd name="T96" fmla="*/ 750714 w 3230"/>
                  <a:gd name="T97" fmla="*/ 664853 h 2186"/>
                  <a:gd name="T98" fmla="*/ 715586 w 3230"/>
                  <a:gd name="T99" fmla="*/ 638423 h 2186"/>
                  <a:gd name="T100" fmla="*/ 703928 w 3230"/>
                  <a:gd name="T101" fmla="*/ 609023 h 2186"/>
                  <a:gd name="T102" fmla="*/ 693410 w 3230"/>
                  <a:gd name="T103" fmla="*/ 566522 h 2186"/>
                  <a:gd name="T104" fmla="*/ 657240 w 3230"/>
                  <a:gd name="T105" fmla="*/ 521954 h 2186"/>
                  <a:gd name="T106" fmla="*/ 571336 w 3230"/>
                  <a:gd name="T107" fmla="*/ 510693 h 2186"/>
                  <a:gd name="T108" fmla="*/ 505956 w 3230"/>
                  <a:gd name="T109" fmla="*/ 480227 h 2186"/>
                  <a:gd name="T110" fmla="*/ 448196 w 3230"/>
                  <a:gd name="T111" fmla="*/ 496526 h 2186"/>
                  <a:gd name="T112" fmla="*/ 369327 w 3230"/>
                  <a:gd name="T113" fmla="*/ 465450 h 2186"/>
                  <a:gd name="T114" fmla="*/ 310882 w 3230"/>
                  <a:gd name="T115" fmla="*/ 420817 h 2186"/>
                  <a:gd name="T116" fmla="*/ 259065 w 3230"/>
                  <a:gd name="T117" fmla="*/ 370928 h 2186"/>
                  <a:gd name="T118" fmla="*/ 225232 w 3230"/>
                  <a:gd name="T119" fmla="*/ 296895 h 2186"/>
                  <a:gd name="T120" fmla="*/ 77401 w 3230"/>
                  <a:gd name="T121" fmla="*/ 207475 h 2186"/>
                  <a:gd name="T122" fmla="*/ 13010 w 3230"/>
                  <a:gd name="T123" fmla="*/ 165523 h 218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3230"/>
                  <a:gd name="T187" fmla="*/ 0 h 2186"/>
                  <a:gd name="T188" fmla="*/ 3230 w 3230"/>
                  <a:gd name="T189" fmla="*/ 2186 h 218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3230" h="2186">
                    <a:moveTo>
                      <a:pt x="41" y="522"/>
                    </a:moveTo>
                    <a:lnTo>
                      <a:pt x="96" y="479"/>
                    </a:lnTo>
                    <a:lnTo>
                      <a:pt x="16" y="298"/>
                    </a:lnTo>
                    <a:lnTo>
                      <a:pt x="0" y="146"/>
                    </a:lnTo>
                    <a:lnTo>
                      <a:pt x="86" y="135"/>
                    </a:lnTo>
                    <a:lnTo>
                      <a:pt x="195" y="269"/>
                    </a:lnTo>
                    <a:lnTo>
                      <a:pt x="305" y="210"/>
                    </a:lnTo>
                    <a:lnTo>
                      <a:pt x="391" y="255"/>
                    </a:lnTo>
                    <a:lnTo>
                      <a:pt x="495" y="248"/>
                    </a:lnTo>
                    <a:lnTo>
                      <a:pt x="589" y="263"/>
                    </a:lnTo>
                    <a:lnTo>
                      <a:pt x="709" y="179"/>
                    </a:lnTo>
                    <a:lnTo>
                      <a:pt x="825" y="189"/>
                    </a:lnTo>
                    <a:lnTo>
                      <a:pt x="869" y="89"/>
                    </a:lnTo>
                    <a:lnTo>
                      <a:pt x="929" y="0"/>
                    </a:lnTo>
                    <a:lnTo>
                      <a:pt x="1079" y="147"/>
                    </a:lnTo>
                    <a:lnTo>
                      <a:pt x="1189" y="111"/>
                    </a:lnTo>
                    <a:lnTo>
                      <a:pt x="1297" y="138"/>
                    </a:lnTo>
                    <a:lnTo>
                      <a:pt x="1401" y="243"/>
                    </a:lnTo>
                    <a:lnTo>
                      <a:pt x="1494" y="353"/>
                    </a:lnTo>
                    <a:lnTo>
                      <a:pt x="1574" y="452"/>
                    </a:lnTo>
                    <a:lnTo>
                      <a:pt x="1655" y="424"/>
                    </a:lnTo>
                    <a:lnTo>
                      <a:pt x="1771" y="418"/>
                    </a:lnTo>
                    <a:lnTo>
                      <a:pt x="1920" y="531"/>
                    </a:lnTo>
                    <a:lnTo>
                      <a:pt x="1752" y="763"/>
                    </a:lnTo>
                    <a:lnTo>
                      <a:pt x="1862" y="890"/>
                    </a:lnTo>
                    <a:lnTo>
                      <a:pt x="1942" y="832"/>
                    </a:lnTo>
                    <a:lnTo>
                      <a:pt x="2067" y="907"/>
                    </a:lnTo>
                    <a:lnTo>
                      <a:pt x="2035" y="978"/>
                    </a:lnTo>
                    <a:lnTo>
                      <a:pt x="2106" y="1077"/>
                    </a:lnTo>
                    <a:lnTo>
                      <a:pt x="2312" y="1058"/>
                    </a:lnTo>
                    <a:lnTo>
                      <a:pt x="2555" y="1102"/>
                    </a:lnTo>
                    <a:lnTo>
                      <a:pt x="2703" y="1294"/>
                    </a:lnTo>
                    <a:lnTo>
                      <a:pt x="2812" y="1252"/>
                    </a:lnTo>
                    <a:cubicBezTo>
                      <a:pt x="2812" y="1287"/>
                      <a:pt x="2812" y="1323"/>
                      <a:pt x="2811" y="1358"/>
                    </a:cubicBezTo>
                    <a:lnTo>
                      <a:pt x="2927" y="1385"/>
                    </a:lnTo>
                    <a:lnTo>
                      <a:pt x="3153" y="1394"/>
                    </a:lnTo>
                    <a:lnTo>
                      <a:pt x="3215" y="1477"/>
                    </a:lnTo>
                    <a:lnTo>
                      <a:pt x="3230" y="1633"/>
                    </a:lnTo>
                    <a:lnTo>
                      <a:pt x="3110" y="1760"/>
                    </a:lnTo>
                    <a:lnTo>
                      <a:pt x="2990" y="1740"/>
                    </a:lnTo>
                    <a:lnTo>
                      <a:pt x="2940" y="1805"/>
                    </a:lnTo>
                    <a:lnTo>
                      <a:pt x="2988" y="1912"/>
                    </a:lnTo>
                    <a:lnTo>
                      <a:pt x="3016" y="1941"/>
                    </a:lnTo>
                    <a:lnTo>
                      <a:pt x="2757" y="1963"/>
                    </a:lnTo>
                    <a:lnTo>
                      <a:pt x="2800" y="2065"/>
                    </a:lnTo>
                    <a:lnTo>
                      <a:pt x="2722" y="2050"/>
                    </a:lnTo>
                    <a:lnTo>
                      <a:pt x="2674" y="2101"/>
                    </a:lnTo>
                    <a:lnTo>
                      <a:pt x="2623" y="2186"/>
                    </a:lnTo>
                    <a:lnTo>
                      <a:pt x="2364" y="2095"/>
                    </a:lnTo>
                    <a:lnTo>
                      <a:pt x="2254" y="2012"/>
                    </a:lnTo>
                    <a:lnTo>
                      <a:pt x="2217" y="1919"/>
                    </a:lnTo>
                    <a:lnTo>
                      <a:pt x="2184" y="1785"/>
                    </a:lnTo>
                    <a:lnTo>
                      <a:pt x="2070" y="1645"/>
                    </a:lnTo>
                    <a:lnTo>
                      <a:pt x="1799" y="1609"/>
                    </a:lnTo>
                    <a:lnTo>
                      <a:pt x="1593" y="1513"/>
                    </a:lnTo>
                    <a:lnTo>
                      <a:pt x="1412" y="1565"/>
                    </a:lnTo>
                    <a:lnTo>
                      <a:pt x="1163" y="1467"/>
                    </a:lnTo>
                    <a:lnTo>
                      <a:pt x="979" y="1326"/>
                    </a:lnTo>
                    <a:lnTo>
                      <a:pt x="816" y="1169"/>
                    </a:lnTo>
                    <a:lnTo>
                      <a:pt x="709" y="936"/>
                    </a:lnTo>
                    <a:lnTo>
                      <a:pt x="244" y="654"/>
                    </a:lnTo>
                    <a:lnTo>
                      <a:pt x="41" y="522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>
                  <a:defRPr/>
                </a:pPr>
                <a:endParaRPr lang="zh-CN" altLang="en-US" kern="0">
                  <a:solidFill>
                    <a:sysClr val="windowText" lastClr="000000"/>
                  </a:solidFill>
                  <a:latin typeface="Calibri"/>
                  <a:ea typeface="宋体" panose="02010600030101010101" pitchFamily="2" charset="-122"/>
                </a:endParaRPr>
              </a:p>
            </p:txBody>
          </p:sp>
          <p:sp>
            <p:nvSpPr>
              <p:cNvPr id="71" name="任意多边形 33">
                <a:extLst>
                  <a:ext uri="{FF2B5EF4-FFF2-40B4-BE49-F238E27FC236}">
                    <a16:creationId xmlns:a16="http://schemas.microsoft.com/office/drawing/2014/main" id="{5B5C7E86-8696-4CB1-BC5E-0153266649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90775" y="4198938"/>
                <a:ext cx="847725" cy="704850"/>
              </a:xfrm>
              <a:custGeom>
                <a:avLst/>
                <a:gdLst>
                  <a:gd name="T0" fmla="*/ 1369221 w 9917127"/>
                  <a:gd name="T1" fmla="*/ 1852355 h 8247688"/>
                  <a:gd name="T2" fmla="*/ 1156174 w 9917127"/>
                  <a:gd name="T3" fmla="*/ 2617197 h 8247688"/>
                  <a:gd name="T4" fmla="*/ 537522 w 9917127"/>
                  <a:gd name="T5" fmla="*/ 2897100 h 8247688"/>
                  <a:gd name="T6" fmla="*/ 232662 w 9917127"/>
                  <a:gd name="T7" fmla="*/ 3377571 h 8247688"/>
                  <a:gd name="T8" fmla="*/ 155998 w 9917127"/>
                  <a:gd name="T9" fmla="*/ 3850033 h 8247688"/>
                  <a:gd name="T10" fmla="*/ 656083 w 9917127"/>
                  <a:gd name="T11" fmla="*/ 4072887 h 8247688"/>
                  <a:gd name="T12" fmla="*/ 901223 w 9917127"/>
                  <a:gd name="T13" fmla="*/ 4624684 h 8247688"/>
                  <a:gd name="T14" fmla="*/ 1188263 w 9917127"/>
                  <a:gd name="T15" fmla="*/ 5426959 h 8247688"/>
                  <a:gd name="T16" fmla="*/ 1141023 w 9917127"/>
                  <a:gd name="T17" fmla="*/ 6171315 h 8247688"/>
                  <a:gd name="T18" fmla="*/ 1976729 w 9917127"/>
                  <a:gd name="T19" fmla="*/ 6623057 h 8247688"/>
                  <a:gd name="T20" fmla="*/ 2652428 w 9917127"/>
                  <a:gd name="T21" fmla="*/ 6100916 h 8247688"/>
                  <a:gd name="T22" fmla="*/ 3123559 w 9917127"/>
                  <a:gd name="T23" fmla="*/ 6956005 h 8247688"/>
                  <a:gd name="T24" fmla="*/ 3951252 w 9917127"/>
                  <a:gd name="T25" fmla="*/ 8145835 h 8247688"/>
                  <a:gd name="T26" fmla="*/ 4998898 w 9917127"/>
                  <a:gd name="T27" fmla="*/ 8247688 h 8247688"/>
                  <a:gd name="T28" fmla="*/ 5294413 w 9917127"/>
                  <a:gd name="T29" fmla="*/ 7805983 h 8247688"/>
                  <a:gd name="T30" fmla="*/ 5826592 w 9917127"/>
                  <a:gd name="T31" fmla="*/ 7530084 h 8247688"/>
                  <a:gd name="T32" fmla="*/ 6237537 w 9917127"/>
                  <a:gd name="T33" fmla="*/ 6886476 h 8247688"/>
                  <a:gd name="T34" fmla="*/ 7006619 w 9917127"/>
                  <a:gd name="T35" fmla="*/ 6776385 h 8247688"/>
                  <a:gd name="T36" fmla="*/ 8154780 w 9917127"/>
                  <a:gd name="T37" fmla="*/ 6867093 h 8247688"/>
                  <a:gd name="T38" fmla="*/ 8955953 w 9917127"/>
                  <a:gd name="T39" fmla="*/ 7206947 h 8247688"/>
                  <a:gd name="T40" fmla="*/ 9301144 w 9917127"/>
                  <a:gd name="T41" fmla="*/ 5498745 h 8247688"/>
                  <a:gd name="T42" fmla="*/ 8157683 w 9917127"/>
                  <a:gd name="T43" fmla="*/ 4356154 h 8247688"/>
                  <a:gd name="T44" fmla="*/ 9056236 w 9917127"/>
                  <a:gd name="T45" fmla="*/ 4085826 h 8247688"/>
                  <a:gd name="T46" fmla="*/ 9442868 w 9917127"/>
                  <a:gd name="T47" fmla="*/ 3663741 h 8247688"/>
                  <a:gd name="T48" fmla="*/ 9201324 w 9917127"/>
                  <a:gd name="T49" fmla="*/ 3006089 h 8247688"/>
                  <a:gd name="T50" fmla="*/ 9917127 w 9917127"/>
                  <a:gd name="T51" fmla="*/ 2402815 h 8247688"/>
                  <a:gd name="T52" fmla="*/ 9492368 w 9917127"/>
                  <a:gd name="T53" fmla="*/ 2161681 h 8247688"/>
                  <a:gd name="T54" fmla="*/ 9174860 w 9917127"/>
                  <a:gd name="T55" fmla="*/ 1627116 h 8247688"/>
                  <a:gd name="T56" fmla="*/ 8523878 w 9917127"/>
                  <a:gd name="T57" fmla="*/ 1331837 h 8247688"/>
                  <a:gd name="T58" fmla="*/ 7830307 w 9917127"/>
                  <a:gd name="T59" fmla="*/ 1379019 h 8247688"/>
                  <a:gd name="T60" fmla="*/ 6820325 w 9917127"/>
                  <a:gd name="T61" fmla="*/ 1146357 h 8247688"/>
                  <a:gd name="T62" fmla="*/ 6231966 w 9917127"/>
                  <a:gd name="T63" fmla="*/ 877133 h 8247688"/>
                  <a:gd name="T64" fmla="*/ 5291510 w 9917127"/>
                  <a:gd name="T65" fmla="*/ 787991 h 8247688"/>
                  <a:gd name="T66" fmla="*/ 4029250 w 9917127"/>
                  <a:gd name="T67" fmla="*/ 392193 h 8247688"/>
                  <a:gd name="T68" fmla="*/ 3343741 w 9917127"/>
                  <a:gd name="T69" fmla="*/ 241534 h 8247688"/>
                  <a:gd name="T70" fmla="*/ 2214841 w 9917127"/>
                  <a:gd name="T71" fmla="*/ 0 h 8247688"/>
                  <a:gd name="T72" fmla="*/ 1937961 w 9917127"/>
                  <a:gd name="T73" fmla="*/ 815616 h 8247688"/>
                  <a:gd name="T74" fmla="*/ 0 w 9917127"/>
                  <a:gd name="T75" fmla="*/ 0 h 8247688"/>
                  <a:gd name="T76" fmla="*/ 9917127 w 9917127"/>
                  <a:gd name="T77" fmla="*/ 8247688 h 82476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T74" t="T75" r="T76" b="T77"/>
                <a:pathLst>
                  <a:path w="9917127" h="8247688">
                    <a:moveTo>
                      <a:pt x="1445391" y="1006793"/>
                    </a:moveTo>
                    <a:lnTo>
                      <a:pt x="1369221" y="1852355"/>
                    </a:lnTo>
                    <a:lnTo>
                      <a:pt x="755037" y="2273108"/>
                    </a:lnTo>
                    <a:lnTo>
                      <a:pt x="1156174" y="2617197"/>
                    </a:lnTo>
                    <a:lnTo>
                      <a:pt x="913704" y="2783003"/>
                    </a:lnTo>
                    <a:lnTo>
                      <a:pt x="537522" y="2897100"/>
                    </a:lnTo>
                    <a:lnTo>
                      <a:pt x="0" y="3107476"/>
                    </a:lnTo>
                    <a:lnTo>
                      <a:pt x="232662" y="3377571"/>
                    </a:lnTo>
                    <a:lnTo>
                      <a:pt x="537520" y="3582608"/>
                    </a:lnTo>
                    <a:lnTo>
                      <a:pt x="155998" y="3850033"/>
                    </a:lnTo>
                    <a:lnTo>
                      <a:pt x="433231" y="4018509"/>
                    </a:lnTo>
                    <a:lnTo>
                      <a:pt x="656083" y="4072887"/>
                    </a:lnTo>
                    <a:lnTo>
                      <a:pt x="812081" y="4394691"/>
                    </a:lnTo>
                    <a:lnTo>
                      <a:pt x="901223" y="4624684"/>
                    </a:lnTo>
                    <a:lnTo>
                      <a:pt x="866460" y="5127440"/>
                    </a:lnTo>
                    <a:lnTo>
                      <a:pt x="1188263" y="5426959"/>
                    </a:lnTo>
                    <a:lnTo>
                      <a:pt x="1512737" y="5683705"/>
                    </a:lnTo>
                    <a:lnTo>
                      <a:pt x="1141023" y="6171315"/>
                    </a:lnTo>
                    <a:lnTo>
                      <a:pt x="1676858" y="6765950"/>
                    </a:lnTo>
                    <a:lnTo>
                      <a:pt x="1976729" y="6623057"/>
                    </a:lnTo>
                    <a:lnTo>
                      <a:pt x="1861297" y="6195397"/>
                    </a:lnTo>
                    <a:lnTo>
                      <a:pt x="2652428" y="6100916"/>
                    </a:lnTo>
                    <a:lnTo>
                      <a:pt x="3004994" y="6522771"/>
                    </a:lnTo>
                    <a:lnTo>
                      <a:pt x="3123559" y="6956005"/>
                    </a:lnTo>
                    <a:lnTo>
                      <a:pt x="3612502" y="7368515"/>
                    </a:lnTo>
                    <a:lnTo>
                      <a:pt x="3951252" y="8145835"/>
                    </a:lnTo>
                    <a:lnTo>
                      <a:pt x="4571238" y="8113976"/>
                    </a:lnTo>
                    <a:lnTo>
                      <a:pt x="4998898" y="8247688"/>
                    </a:lnTo>
                    <a:lnTo>
                      <a:pt x="5230861" y="8193078"/>
                    </a:lnTo>
                    <a:lnTo>
                      <a:pt x="5294413" y="7805983"/>
                    </a:lnTo>
                    <a:lnTo>
                      <a:pt x="5744357" y="7814226"/>
                    </a:lnTo>
                    <a:lnTo>
                      <a:pt x="5826592" y="7530084"/>
                    </a:lnTo>
                    <a:lnTo>
                      <a:pt x="6071733" y="7206947"/>
                    </a:lnTo>
                    <a:lnTo>
                      <a:pt x="6237537" y="6886476"/>
                    </a:lnTo>
                    <a:lnTo>
                      <a:pt x="6528930" y="6666526"/>
                    </a:lnTo>
                    <a:lnTo>
                      <a:pt x="7006619" y="6776385"/>
                    </a:lnTo>
                    <a:lnTo>
                      <a:pt x="7491557" y="7127381"/>
                    </a:lnTo>
                    <a:lnTo>
                      <a:pt x="8154780" y="6867093"/>
                    </a:lnTo>
                    <a:lnTo>
                      <a:pt x="8836398" y="7597811"/>
                    </a:lnTo>
                    <a:lnTo>
                      <a:pt x="8955953" y="7206947"/>
                    </a:lnTo>
                    <a:lnTo>
                      <a:pt x="9251234" y="6805578"/>
                    </a:lnTo>
                    <a:lnTo>
                      <a:pt x="9301144" y="5498745"/>
                    </a:lnTo>
                    <a:lnTo>
                      <a:pt x="8013300" y="4783136"/>
                    </a:lnTo>
                    <a:lnTo>
                      <a:pt x="8157683" y="4356154"/>
                    </a:lnTo>
                    <a:lnTo>
                      <a:pt x="8652197" y="4195919"/>
                    </a:lnTo>
                    <a:lnTo>
                      <a:pt x="9056236" y="4085826"/>
                    </a:lnTo>
                    <a:lnTo>
                      <a:pt x="9332135" y="3869878"/>
                    </a:lnTo>
                    <a:lnTo>
                      <a:pt x="9442868" y="3663741"/>
                    </a:lnTo>
                    <a:lnTo>
                      <a:pt x="9103708" y="3178801"/>
                    </a:lnTo>
                    <a:lnTo>
                      <a:pt x="9201324" y="3006089"/>
                    </a:lnTo>
                    <a:lnTo>
                      <a:pt x="9419943" y="3014329"/>
                    </a:lnTo>
                    <a:lnTo>
                      <a:pt x="9917127" y="2402815"/>
                    </a:lnTo>
                    <a:lnTo>
                      <a:pt x="9825318" y="2199345"/>
                    </a:lnTo>
                    <a:lnTo>
                      <a:pt x="9492368" y="2161681"/>
                    </a:lnTo>
                    <a:lnTo>
                      <a:pt x="9114852" y="1984731"/>
                    </a:lnTo>
                    <a:lnTo>
                      <a:pt x="9174860" y="1627116"/>
                    </a:lnTo>
                    <a:lnTo>
                      <a:pt x="8847196" y="1281172"/>
                    </a:lnTo>
                    <a:lnTo>
                      <a:pt x="8523878" y="1331837"/>
                    </a:lnTo>
                    <a:lnTo>
                      <a:pt x="8189543" y="1275601"/>
                    </a:lnTo>
                    <a:lnTo>
                      <a:pt x="7830307" y="1379019"/>
                    </a:lnTo>
                    <a:lnTo>
                      <a:pt x="7399746" y="1436068"/>
                    </a:lnTo>
                    <a:lnTo>
                      <a:pt x="6820325" y="1146357"/>
                    </a:lnTo>
                    <a:lnTo>
                      <a:pt x="6283676" y="1166843"/>
                    </a:lnTo>
                    <a:lnTo>
                      <a:pt x="6231966" y="877133"/>
                    </a:lnTo>
                    <a:lnTo>
                      <a:pt x="5699786" y="854848"/>
                    </a:lnTo>
                    <a:lnTo>
                      <a:pt x="5291510" y="787991"/>
                    </a:lnTo>
                    <a:lnTo>
                      <a:pt x="4628287" y="634663"/>
                    </a:lnTo>
                    <a:lnTo>
                      <a:pt x="4029250" y="392193"/>
                    </a:lnTo>
                    <a:lnTo>
                      <a:pt x="3811216" y="74858"/>
                    </a:lnTo>
                    <a:lnTo>
                      <a:pt x="3343741" y="241534"/>
                    </a:lnTo>
                    <a:lnTo>
                      <a:pt x="2635947" y="130107"/>
                    </a:lnTo>
                    <a:lnTo>
                      <a:pt x="2214841" y="0"/>
                    </a:lnTo>
                    <a:lnTo>
                      <a:pt x="1817884" y="499963"/>
                    </a:lnTo>
                    <a:lnTo>
                      <a:pt x="1937961" y="815616"/>
                    </a:lnTo>
                    <a:lnTo>
                      <a:pt x="1445391" y="1006793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>
                  <a:defRPr/>
                </a:pPr>
                <a:endParaRPr lang="zh-CN" altLang="en-US" kern="0">
                  <a:solidFill>
                    <a:sysClr val="windowText" lastClr="000000"/>
                  </a:solidFill>
                  <a:latin typeface="Calibri"/>
                  <a:ea typeface="宋体" panose="02010600030101010101" pitchFamily="2" charset="-122"/>
                </a:endParaRPr>
              </a:p>
            </p:txBody>
          </p:sp>
          <p:sp>
            <p:nvSpPr>
              <p:cNvPr id="72" name="任意多边形 34">
                <a:extLst>
                  <a:ext uri="{FF2B5EF4-FFF2-40B4-BE49-F238E27FC236}">
                    <a16:creationId xmlns:a16="http://schemas.microsoft.com/office/drawing/2014/main" id="{F5ED90C9-CBBD-443D-88F0-14AA43EFD6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25625" y="4213226"/>
                <a:ext cx="717550" cy="752475"/>
              </a:xfrm>
              <a:custGeom>
                <a:avLst/>
                <a:gdLst>
                  <a:gd name="T0" fmla="*/ 7978643 w 8398065"/>
                  <a:gd name="T1" fmla="*/ 1683016 h 8799492"/>
                  <a:gd name="T2" fmla="*/ 7765596 w 8398065"/>
                  <a:gd name="T3" fmla="*/ 2447858 h 8799492"/>
                  <a:gd name="T4" fmla="*/ 7146944 w 8398065"/>
                  <a:gd name="T5" fmla="*/ 2727761 h 8799492"/>
                  <a:gd name="T6" fmla="*/ 6842084 w 8398065"/>
                  <a:gd name="T7" fmla="*/ 3208232 h 8799492"/>
                  <a:gd name="T8" fmla="*/ 6765420 w 8398065"/>
                  <a:gd name="T9" fmla="*/ 3680694 h 8799492"/>
                  <a:gd name="T10" fmla="*/ 7265505 w 8398065"/>
                  <a:gd name="T11" fmla="*/ 3903548 h 8799492"/>
                  <a:gd name="T12" fmla="*/ 7510645 w 8398065"/>
                  <a:gd name="T13" fmla="*/ 4455345 h 8799492"/>
                  <a:gd name="T14" fmla="*/ 7797685 w 8398065"/>
                  <a:gd name="T15" fmla="*/ 5257620 h 8799492"/>
                  <a:gd name="T16" fmla="*/ 7750445 w 8398065"/>
                  <a:gd name="T17" fmla="*/ 6001976 h 8799492"/>
                  <a:gd name="T18" fmla="*/ 8398065 w 8398065"/>
                  <a:gd name="T19" fmla="*/ 6789567 h 8799492"/>
                  <a:gd name="T20" fmla="*/ 7369569 w 8398065"/>
                  <a:gd name="T21" fmla="*/ 7192502 h 8799492"/>
                  <a:gd name="T22" fmla="*/ 6678721 w 8398065"/>
                  <a:gd name="T23" fmla="*/ 7643783 h 8799492"/>
                  <a:gd name="T24" fmla="*/ 5455693 w 8398065"/>
                  <a:gd name="T25" fmla="*/ 8582672 h 8799492"/>
                  <a:gd name="T26" fmla="*/ 5192041 w 8398065"/>
                  <a:gd name="T27" fmla="*/ 8795718 h 8799492"/>
                  <a:gd name="T28" fmla="*/ 4890724 w 8398065"/>
                  <a:gd name="T29" fmla="*/ 7377460 h 8799492"/>
                  <a:gd name="T30" fmla="*/ 3554935 w 8398065"/>
                  <a:gd name="T31" fmla="*/ 6272534 h 8799492"/>
                  <a:gd name="T32" fmla="*/ 2751092 w 8398065"/>
                  <a:gd name="T33" fmla="*/ 5864490 h 8799492"/>
                  <a:gd name="T34" fmla="*/ 2114160 w 8398065"/>
                  <a:gd name="T35" fmla="*/ 6141723 h 8799492"/>
                  <a:gd name="T36" fmla="*/ 1341074 w 8398065"/>
                  <a:gd name="T37" fmla="*/ 6292148 h 8799492"/>
                  <a:gd name="T38" fmla="*/ 677619 w 8398065"/>
                  <a:gd name="T39" fmla="*/ 6219723 h 8799492"/>
                  <a:gd name="T40" fmla="*/ 0 w 8398065"/>
                  <a:gd name="T41" fmla="*/ 6086841 h 8799492"/>
                  <a:gd name="T42" fmla="*/ 481286 w 8398065"/>
                  <a:gd name="T43" fmla="*/ 5358600 h 8799492"/>
                  <a:gd name="T44" fmla="*/ 114911 w 8398065"/>
                  <a:gd name="T45" fmla="*/ 4788753 h 8799492"/>
                  <a:gd name="T46" fmla="*/ 305672 w 8398065"/>
                  <a:gd name="T47" fmla="*/ 3865012 h 8799492"/>
                  <a:gd name="T48" fmla="*/ 222101 w 8398065"/>
                  <a:gd name="T49" fmla="*/ 3380072 h 8799492"/>
                  <a:gd name="T50" fmla="*/ 459000 w 8398065"/>
                  <a:gd name="T51" fmla="*/ 2920321 h 8799492"/>
                  <a:gd name="T52" fmla="*/ 914517 w 8398065"/>
                  <a:gd name="T53" fmla="*/ 2364287 h 8799492"/>
                  <a:gd name="T54" fmla="*/ 501999 w 8398065"/>
                  <a:gd name="T55" fmla="*/ 1364696 h 8799492"/>
                  <a:gd name="T56" fmla="*/ 1526494 w 8398065"/>
                  <a:gd name="T57" fmla="*/ 777320 h 8799492"/>
                  <a:gd name="T58" fmla="*/ 1335733 w 8398065"/>
                  <a:gd name="T59" fmla="*/ 1765017 h 8799492"/>
                  <a:gd name="T60" fmla="*/ 2655041 w 8398065"/>
                  <a:gd name="T61" fmla="*/ 2215194 h 8799492"/>
                  <a:gd name="T62" fmla="*/ 3254078 w 8398065"/>
                  <a:gd name="T63" fmla="*/ 2410423 h 8799492"/>
                  <a:gd name="T64" fmla="*/ 3961872 w 8398065"/>
                  <a:gd name="T65" fmla="*/ 2101097 h 8799492"/>
                  <a:gd name="T66" fmla="*/ 3978119 w 8398065"/>
                  <a:gd name="T67" fmla="*/ 1272880 h 8799492"/>
                  <a:gd name="T68" fmla="*/ 4102723 w 8398065"/>
                  <a:gd name="T69" fmla="*/ 599037 h 8799492"/>
                  <a:gd name="T70" fmla="*/ 4125008 w 8398065"/>
                  <a:gd name="T71" fmla="*/ 54379 h 8799492"/>
                  <a:gd name="T72" fmla="*/ 4958506 w 8398065"/>
                  <a:gd name="T73" fmla="*/ 143520 h 8799492"/>
                  <a:gd name="T74" fmla="*/ 5879347 w 8398065"/>
                  <a:gd name="T75" fmla="*/ 264755 h 8799492"/>
                  <a:gd name="T76" fmla="*/ 7067612 w 8398065"/>
                  <a:gd name="T77" fmla="*/ 153328 h 8799492"/>
                  <a:gd name="T78" fmla="*/ 7443795 w 8398065"/>
                  <a:gd name="T79" fmla="*/ 608845 h 8799492"/>
                  <a:gd name="T80" fmla="*/ 0 w 8398065"/>
                  <a:gd name="T81" fmla="*/ 0 h 8799492"/>
                  <a:gd name="T82" fmla="*/ 8398065 w 8398065"/>
                  <a:gd name="T83" fmla="*/ 8799492 h 87994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T80" t="T81" r="T82" b="T83"/>
                <a:pathLst>
                  <a:path w="8398065" h="8799492">
                    <a:moveTo>
                      <a:pt x="8054813" y="837454"/>
                    </a:moveTo>
                    <a:lnTo>
                      <a:pt x="7978643" y="1683016"/>
                    </a:lnTo>
                    <a:lnTo>
                      <a:pt x="7364459" y="2103769"/>
                    </a:lnTo>
                    <a:lnTo>
                      <a:pt x="7765596" y="2447858"/>
                    </a:lnTo>
                    <a:lnTo>
                      <a:pt x="7523126" y="2613664"/>
                    </a:lnTo>
                    <a:lnTo>
                      <a:pt x="7146944" y="2727761"/>
                    </a:lnTo>
                    <a:lnTo>
                      <a:pt x="6609422" y="2938137"/>
                    </a:lnTo>
                    <a:lnTo>
                      <a:pt x="6842084" y="3208232"/>
                    </a:lnTo>
                    <a:lnTo>
                      <a:pt x="7146942" y="3413269"/>
                    </a:lnTo>
                    <a:lnTo>
                      <a:pt x="6765420" y="3680694"/>
                    </a:lnTo>
                    <a:lnTo>
                      <a:pt x="7042653" y="3849170"/>
                    </a:lnTo>
                    <a:lnTo>
                      <a:pt x="7265505" y="3903548"/>
                    </a:lnTo>
                    <a:lnTo>
                      <a:pt x="7421503" y="4225352"/>
                    </a:lnTo>
                    <a:lnTo>
                      <a:pt x="7510645" y="4455345"/>
                    </a:lnTo>
                    <a:lnTo>
                      <a:pt x="7475882" y="4958101"/>
                    </a:lnTo>
                    <a:lnTo>
                      <a:pt x="7797685" y="5257620"/>
                    </a:lnTo>
                    <a:lnTo>
                      <a:pt x="8122159" y="5514366"/>
                    </a:lnTo>
                    <a:lnTo>
                      <a:pt x="7750445" y="6001976"/>
                    </a:lnTo>
                    <a:lnTo>
                      <a:pt x="8297421" y="6609089"/>
                    </a:lnTo>
                    <a:lnTo>
                      <a:pt x="8398065" y="6789567"/>
                    </a:lnTo>
                    <a:lnTo>
                      <a:pt x="7764265" y="7208753"/>
                    </a:lnTo>
                    <a:lnTo>
                      <a:pt x="7369569" y="7192502"/>
                    </a:lnTo>
                    <a:lnTo>
                      <a:pt x="7029717" y="7583834"/>
                    </a:lnTo>
                    <a:lnTo>
                      <a:pt x="6678721" y="7643783"/>
                    </a:lnTo>
                    <a:lnTo>
                      <a:pt x="6302539" y="8033777"/>
                    </a:lnTo>
                    <a:lnTo>
                      <a:pt x="5455693" y="8582672"/>
                    </a:lnTo>
                    <a:lnTo>
                      <a:pt x="5523883" y="8799492"/>
                    </a:lnTo>
                    <a:lnTo>
                      <a:pt x="5192041" y="8795718"/>
                    </a:lnTo>
                    <a:lnTo>
                      <a:pt x="4622429" y="7677210"/>
                    </a:lnTo>
                    <a:lnTo>
                      <a:pt x="4890724" y="7377460"/>
                    </a:lnTo>
                    <a:lnTo>
                      <a:pt x="4134587" y="6231098"/>
                    </a:lnTo>
                    <a:lnTo>
                      <a:pt x="3554935" y="6272534"/>
                    </a:lnTo>
                    <a:lnTo>
                      <a:pt x="3329177" y="5996866"/>
                    </a:lnTo>
                    <a:lnTo>
                      <a:pt x="2751092" y="5864490"/>
                    </a:lnTo>
                    <a:lnTo>
                      <a:pt x="2609776" y="6340958"/>
                    </a:lnTo>
                    <a:lnTo>
                      <a:pt x="2114160" y="6141723"/>
                    </a:lnTo>
                    <a:lnTo>
                      <a:pt x="1686500" y="6170915"/>
                    </a:lnTo>
                    <a:lnTo>
                      <a:pt x="1341074" y="6292148"/>
                    </a:lnTo>
                    <a:lnTo>
                      <a:pt x="850795" y="6420292"/>
                    </a:lnTo>
                    <a:lnTo>
                      <a:pt x="677619" y="6219723"/>
                    </a:lnTo>
                    <a:lnTo>
                      <a:pt x="64769" y="6253150"/>
                    </a:lnTo>
                    <a:lnTo>
                      <a:pt x="0" y="6086841"/>
                    </a:lnTo>
                    <a:lnTo>
                      <a:pt x="322387" y="5691546"/>
                    </a:lnTo>
                    <a:lnTo>
                      <a:pt x="481286" y="5358600"/>
                    </a:lnTo>
                    <a:lnTo>
                      <a:pt x="450526" y="4997796"/>
                    </a:lnTo>
                    <a:lnTo>
                      <a:pt x="114911" y="4788753"/>
                    </a:lnTo>
                    <a:lnTo>
                      <a:pt x="170623" y="4097674"/>
                    </a:lnTo>
                    <a:lnTo>
                      <a:pt x="305672" y="3865012"/>
                    </a:lnTo>
                    <a:lnTo>
                      <a:pt x="126053" y="3639254"/>
                    </a:lnTo>
                    <a:lnTo>
                      <a:pt x="222101" y="3380072"/>
                    </a:lnTo>
                    <a:lnTo>
                      <a:pt x="71905" y="3090361"/>
                    </a:lnTo>
                    <a:lnTo>
                      <a:pt x="459000" y="2920321"/>
                    </a:lnTo>
                    <a:lnTo>
                      <a:pt x="882423" y="2874182"/>
                    </a:lnTo>
                    <a:lnTo>
                      <a:pt x="914517" y="2364287"/>
                    </a:lnTo>
                    <a:lnTo>
                      <a:pt x="741804" y="1859961"/>
                    </a:lnTo>
                    <a:lnTo>
                      <a:pt x="501999" y="1364696"/>
                    </a:lnTo>
                    <a:lnTo>
                      <a:pt x="960479" y="494748"/>
                    </a:lnTo>
                    <a:lnTo>
                      <a:pt x="1526494" y="777320"/>
                    </a:lnTo>
                    <a:lnTo>
                      <a:pt x="1395451" y="1188265"/>
                    </a:lnTo>
                    <a:lnTo>
                      <a:pt x="1335733" y="1765017"/>
                    </a:lnTo>
                    <a:lnTo>
                      <a:pt x="2147816" y="2173292"/>
                    </a:lnTo>
                    <a:lnTo>
                      <a:pt x="2655041" y="2215194"/>
                    </a:lnTo>
                    <a:lnTo>
                      <a:pt x="2912658" y="2737566"/>
                    </a:lnTo>
                    <a:lnTo>
                      <a:pt x="3254078" y="2410423"/>
                    </a:lnTo>
                    <a:lnTo>
                      <a:pt x="3783589" y="2470141"/>
                    </a:lnTo>
                    <a:lnTo>
                      <a:pt x="3961872" y="2101097"/>
                    </a:lnTo>
                    <a:lnTo>
                      <a:pt x="3414545" y="1546631"/>
                    </a:lnTo>
                    <a:lnTo>
                      <a:pt x="3978119" y="1272880"/>
                    </a:lnTo>
                    <a:lnTo>
                      <a:pt x="3624921" y="526841"/>
                    </a:lnTo>
                    <a:lnTo>
                      <a:pt x="4102723" y="599037"/>
                    </a:lnTo>
                    <a:lnTo>
                      <a:pt x="4271198" y="376183"/>
                    </a:lnTo>
                    <a:lnTo>
                      <a:pt x="4125008" y="54379"/>
                    </a:lnTo>
                    <a:lnTo>
                      <a:pt x="4847950" y="0"/>
                    </a:lnTo>
                    <a:lnTo>
                      <a:pt x="4958506" y="143520"/>
                    </a:lnTo>
                    <a:lnTo>
                      <a:pt x="5592306" y="210377"/>
                    </a:lnTo>
                    <a:lnTo>
                      <a:pt x="5879347" y="264755"/>
                    </a:lnTo>
                    <a:lnTo>
                      <a:pt x="6522954" y="287041"/>
                    </a:lnTo>
                    <a:lnTo>
                      <a:pt x="7067612" y="153328"/>
                    </a:lnTo>
                    <a:lnTo>
                      <a:pt x="7176370" y="398468"/>
                    </a:lnTo>
                    <a:lnTo>
                      <a:pt x="7443795" y="608845"/>
                    </a:lnTo>
                    <a:lnTo>
                      <a:pt x="8054813" y="837454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>
                  <a:defRPr/>
                </a:pPr>
                <a:endParaRPr lang="zh-CN" altLang="en-US" kern="0">
                  <a:solidFill>
                    <a:sysClr val="windowText" lastClr="000000"/>
                  </a:solidFill>
                  <a:latin typeface="Calibri"/>
                  <a:ea typeface="宋体" panose="02010600030101010101" pitchFamily="2" charset="-122"/>
                </a:endParaRPr>
              </a:p>
            </p:txBody>
          </p:sp>
          <p:sp>
            <p:nvSpPr>
              <p:cNvPr id="73" name="任意多边形 35">
                <a:extLst>
                  <a:ext uri="{FF2B5EF4-FFF2-40B4-BE49-F238E27FC236}">
                    <a16:creationId xmlns:a16="http://schemas.microsoft.com/office/drawing/2014/main" id="{DB0CB00B-0314-4759-9087-AE0C95695D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14538" y="3251201"/>
                <a:ext cx="730250" cy="795338"/>
              </a:xfrm>
              <a:custGeom>
                <a:avLst/>
                <a:gdLst>
                  <a:gd name="T0" fmla="*/ 720272 w 8548780"/>
                  <a:gd name="T1" fmla="*/ 5482503 h 9319189"/>
                  <a:gd name="T2" fmla="*/ 1373687 w 8548780"/>
                  <a:gd name="T3" fmla="*/ 6101156 h 9319189"/>
                  <a:gd name="T4" fmla="*/ 2485289 w 8548780"/>
                  <a:gd name="T5" fmla="*/ 6556672 h 9319189"/>
                  <a:gd name="T6" fmla="*/ 3183275 w 8548780"/>
                  <a:gd name="T7" fmla="*/ 6843713 h 9319189"/>
                  <a:gd name="T8" fmla="*/ 2848994 w 8548780"/>
                  <a:gd name="T9" fmla="*/ 7477512 h 9319189"/>
                  <a:gd name="T10" fmla="*/ 3588011 w 8548780"/>
                  <a:gd name="T11" fmla="*/ 7519414 h 9319189"/>
                  <a:gd name="T12" fmla="*/ 3563056 w 8548780"/>
                  <a:gd name="T13" fmla="*/ 8509780 h 9319189"/>
                  <a:gd name="T14" fmla="*/ 4461611 w 8548780"/>
                  <a:gd name="T15" fmla="*/ 8819103 h 9319189"/>
                  <a:gd name="T16" fmla="*/ 5041032 w 8548780"/>
                  <a:gd name="T17" fmla="*/ 8952815 h 9319189"/>
                  <a:gd name="T18" fmla="*/ 5640069 w 8548780"/>
                  <a:gd name="T19" fmla="*/ 9172999 h 9319189"/>
                  <a:gd name="T20" fmla="*/ 6225116 w 8548780"/>
                  <a:gd name="T21" fmla="*/ 8807383 h 9319189"/>
                  <a:gd name="T22" fmla="*/ 6357670 w 8548780"/>
                  <a:gd name="T23" fmla="*/ 7871508 h 9319189"/>
                  <a:gd name="T24" fmla="*/ 6335385 w 8548780"/>
                  <a:gd name="T25" fmla="*/ 7272471 h 9319189"/>
                  <a:gd name="T26" fmla="*/ 6191865 w 8548780"/>
                  <a:gd name="T27" fmla="*/ 6975623 h 9319189"/>
                  <a:gd name="T28" fmla="*/ 7093089 w 8548780"/>
                  <a:gd name="T29" fmla="*/ 6471938 h 9319189"/>
                  <a:gd name="T30" fmla="*/ 7174220 w 8548780"/>
                  <a:gd name="T31" fmla="*/ 4632057 h 9319189"/>
                  <a:gd name="T32" fmla="*/ 8206488 w 8548780"/>
                  <a:gd name="T33" fmla="*/ 3745979 h 9319189"/>
                  <a:gd name="T34" fmla="*/ 8548780 w 8548780"/>
                  <a:gd name="T35" fmla="*/ 2978468 h 9319189"/>
                  <a:gd name="T36" fmla="*/ 7627069 w 8548780"/>
                  <a:gd name="T37" fmla="*/ 2726190 h 9319189"/>
                  <a:gd name="T38" fmla="*/ 7840115 w 8548780"/>
                  <a:gd name="T39" fmla="*/ 2127153 h 9319189"/>
                  <a:gd name="T40" fmla="*/ 7230932 w 8548780"/>
                  <a:gd name="T41" fmla="*/ 1599061 h 9319189"/>
                  <a:gd name="T42" fmla="*/ 6256051 w 8548780"/>
                  <a:gd name="T43" fmla="*/ 1011084 h 9319189"/>
                  <a:gd name="T44" fmla="*/ 5853468 w 8548780"/>
                  <a:gd name="T45" fmla="*/ 625152 h 9319189"/>
                  <a:gd name="T46" fmla="*/ 5673044 w 8548780"/>
                  <a:gd name="T47" fmla="*/ 186512 h 9319189"/>
                  <a:gd name="T48" fmla="*/ 5316477 w 8548780"/>
                  <a:gd name="T49" fmla="*/ 61714 h 9319189"/>
                  <a:gd name="T50" fmla="*/ 5187222 w 8548780"/>
                  <a:gd name="T51" fmla="*/ 570715 h 9319189"/>
                  <a:gd name="T52" fmla="*/ 4011434 w 8548780"/>
                  <a:gd name="T53" fmla="*/ 246242 h 9319189"/>
                  <a:gd name="T54" fmla="*/ 3447160 w 8548780"/>
                  <a:gd name="T55" fmla="*/ 526144 h 9319189"/>
                  <a:gd name="T56" fmla="*/ 2924787 w 8548780"/>
                  <a:gd name="T57" fmla="*/ 1036039 h 9319189"/>
                  <a:gd name="T58" fmla="*/ 2246417 w 8548780"/>
                  <a:gd name="T59" fmla="*/ 971852 h 9319189"/>
                  <a:gd name="T60" fmla="*/ 1997908 w 8548780"/>
                  <a:gd name="T61" fmla="*/ 450119 h 9319189"/>
                  <a:gd name="T62" fmla="*/ 819221 w 8548780"/>
                  <a:gd name="T63" fmla="*/ 296152 h 9319189"/>
                  <a:gd name="T64" fmla="*/ 0 w 8548780"/>
                  <a:gd name="T65" fmla="*/ 16249 h 9319189"/>
                  <a:gd name="T66" fmla="*/ 98947 w 8548780"/>
                  <a:gd name="T67" fmla="*/ 758806 h 9319189"/>
                  <a:gd name="T68" fmla="*/ 767512 w 8548780"/>
                  <a:gd name="T69" fmla="*/ 1243746 h 9319189"/>
                  <a:gd name="T70" fmla="*/ 566941 w 8548780"/>
                  <a:gd name="T71" fmla="*/ 1882884 h 9319189"/>
                  <a:gd name="T72" fmla="*/ 1321976 w 8548780"/>
                  <a:gd name="T73" fmla="*/ 1838314 h 9319189"/>
                  <a:gd name="T74" fmla="*/ 1579593 w 8548780"/>
                  <a:gd name="T75" fmla="*/ 2704775 h 9319189"/>
                  <a:gd name="T76" fmla="*/ 893214 w 8548780"/>
                  <a:gd name="T77" fmla="*/ 4055306 h 9319189"/>
                  <a:gd name="T78" fmla="*/ 650744 w 8548780"/>
                  <a:gd name="T79" fmla="*/ 4587486 h 9319189"/>
                  <a:gd name="T80" fmla="*/ 323114 w 8548780"/>
                  <a:gd name="T81" fmla="*/ 5055896 h 9319189"/>
                  <a:gd name="T82" fmla="*/ 0 w 8548780"/>
                  <a:gd name="T83" fmla="*/ 0 h 9319189"/>
                  <a:gd name="T84" fmla="*/ 8548780 w 8548780"/>
                  <a:gd name="T85" fmla="*/ 9319189 h 93191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T82" t="T83" r="T84" b="T85"/>
                <a:pathLst>
                  <a:path w="8548780" h="9319189">
                    <a:moveTo>
                      <a:pt x="323114" y="5055896"/>
                    </a:moveTo>
                    <a:lnTo>
                      <a:pt x="720272" y="5482503"/>
                    </a:lnTo>
                    <a:lnTo>
                      <a:pt x="1074169" y="5811446"/>
                    </a:lnTo>
                    <a:lnTo>
                      <a:pt x="1373687" y="6101156"/>
                    </a:lnTo>
                    <a:lnTo>
                      <a:pt x="1962916" y="6276770"/>
                    </a:lnTo>
                    <a:lnTo>
                      <a:pt x="2485289" y="6556672"/>
                    </a:lnTo>
                    <a:lnTo>
                      <a:pt x="2861471" y="6900761"/>
                    </a:lnTo>
                    <a:lnTo>
                      <a:pt x="3183275" y="6843713"/>
                    </a:lnTo>
                    <a:lnTo>
                      <a:pt x="3205560" y="7066567"/>
                    </a:lnTo>
                    <a:lnTo>
                      <a:pt x="2848994" y="7477512"/>
                    </a:lnTo>
                    <a:lnTo>
                      <a:pt x="3176195" y="7632474"/>
                    </a:lnTo>
                    <a:lnTo>
                      <a:pt x="3588011" y="7519414"/>
                    </a:lnTo>
                    <a:lnTo>
                      <a:pt x="3998956" y="7888458"/>
                    </a:lnTo>
                    <a:lnTo>
                      <a:pt x="3563056" y="8509780"/>
                    </a:lnTo>
                    <a:lnTo>
                      <a:pt x="3996287" y="8774535"/>
                    </a:lnTo>
                    <a:lnTo>
                      <a:pt x="4461611" y="8819103"/>
                    </a:lnTo>
                    <a:lnTo>
                      <a:pt x="4786084" y="8606057"/>
                    </a:lnTo>
                    <a:lnTo>
                      <a:pt x="5041032" y="8952815"/>
                    </a:lnTo>
                    <a:lnTo>
                      <a:pt x="5204168" y="9319189"/>
                    </a:lnTo>
                    <a:lnTo>
                      <a:pt x="5640069" y="9172999"/>
                    </a:lnTo>
                    <a:lnTo>
                      <a:pt x="5927109" y="9207762"/>
                    </a:lnTo>
                    <a:lnTo>
                      <a:pt x="6225116" y="8807383"/>
                    </a:lnTo>
                    <a:lnTo>
                      <a:pt x="6481575" y="8361787"/>
                    </a:lnTo>
                    <a:lnTo>
                      <a:pt x="6357670" y="7871508"/>
                    </a:lnTo>
                    <a:lnTo>
                      <a:pt x="6526146" y="7641515"/>
                    </a:lnTo>
                    <a:lnTo>
                      <a:pt x="6335385" y="7272471"/>
                    </a:lnTo>
                    <a:lnTo>
                      <a:pt x="6370148" y="7096858"/>
                    </a:lnTo>
                    <a:lnTo>
                      <a:pt x="6191865" y="6975623"/>
                    </a:lnTo>
                    <a:lnTo>
                      <a:pt x="6268529" y="6157272"/>
                    </a:lnTo>
                    <a:lnTo>
                      <a:pt x="7093089" y="6471938"/>
                    </a:lnTo>
                    <a:lnTo>
                      <a:pt x="7018222" y="5082234"/>
                    </a:lnTo>
                    <a:lnTo>
                      <a:pt x="7174220" y="4632057"/>
                    </a:lnTo>
                    <a:lnTo>
                      <a:pt x="7394405" y="4602633"/>
                    </a:lnTo>
                    <a:lnTo>
                      <a:pt x="8206488" y="3745979"/>
                    </a:lnTo>
                    <a:lnTo>
                      <a:pt x="8203818" y="3401890"/>
                    </a:lnTo>
                    <a:lnTo>
                      <a:pt x="8548780" y="2978468"/>
                    </a:lnTo>
                    <a:lnTo>
                      <a:pt x="8228775" y="2713712"/>
                    </a:lnTo>
                    <a:lnTo>
                      <a:pt x="7627069" y="2726190"/>
                    </a:lnTo>
                    <a:lnTo>
                      <a:pt x="7681448" y="2515813"/>
                    </a:lnTo>
                    <a:lnTo>
                      <a:pt x="7840115" y="2127153"/>
                    </a:lnTo>
                    <a:lnTo>
                      <a:pt x="7397077" y="1841968"/>
                    </a:lnTo>
                    <a:lnTo>
                      <a:pt x="7230932" y="1599061"/>
                    </a:lnTo>
                    <a:lnTo>
                      <a:pt x="6590333" y="1545934"/>
                    </a:lnTo>
                    <a:lnTo>
                      <a:pt x="6256051" y="1011084"/>
                    </a:lnTo>
                    <a:lnTo>
                      <a:pt x="5927109" y="924612"/>
                    </a:lnTo>
                    <a:lnTo>
                      <a:pt x="5853468" y="625152"/>
                    </a:lnTo>
                    <a:lnTo>
                      <a:pt x="5541119" y="392432"/>
                    </a:lnTo>
                    <a:lnTo>
                      <a:pt x="5673044" y="186512"/>
                    </a:lnTo>
                    <a:lnTo>
                      <a:pt x="5540225" y="24270"/>
                    </a:lnTo>
                    <a:lnTo>
                      <a:pt x="5316477" y="61714"/>
                    </a:lnTo>
                    <a:lnTo>
                      <a:pt x="5395811" y="400452"/>
                    </a:lnTo>
                    <a:lnTo>
                      <a:pt x="5187222" y="570715"/>
                    </a:lnTo>
                    <a:lnTo>
                      <a:pt x="4454473" y="516336"/>
                    </a:lnTo>
                    <a:lnTo>
                      <a:pt x="4011434" y="246242"/>
                    </a:lnTo>
                    <a:lnTo>
                      <a:pt x="3711915" y="704427"/>
                    </a:lnTo>
                    <a:lnTo>
                      <a:pt x="3447160" y="526144"/>
                    </a:lnTo>
                    <a:lnTo>
                      <a:pt x="2887355" y="679472"/>
                    </a:lnTo>
                    <a:lnTo>
                      <a:pt x="2924787" y="1036039"/>
                    </a:lnTo>
                    <a:lnTo>
                      <a:pt x="2598515" y="1236608"/>
                    </a:lnTo>
                    <a:lnTo>
                      <a:pt x="2246417" y="971852"/>
                    </a:lnTo>
                    <a:lnTo>
                      <a:pt x="2368752" y="588300"/>
                    </a:lnTo>
                    <a:lnTo>
                      <a:pt x="1997908" y="450119"/>
                    </a:lnTo>
                    <a:lnTo>
                      <a:pt x="1717776" y="207012"/>
                    </a:lnTo>
                    <a:lnTo>
                      <a:pt x="819221" y="296152"/>
                    </a:lnTo>
                    <a:lnTo>
                      <a:pt x="587079" y="0"/>
                    </a:lnTo>
                    <a:lnTo>
                      <a:pt x="0" y="16249"/>
                    </a:lnTo>
                    <a:lnTo>
                      <a:pt x="311996" y="595670"/>
                    </a:lnTo>
                    <a:lnTo>
                      <a:pt x="98947" y="758806"/>
                    </a:lnTo>
                    <a:lnTo>
                      <a:pt x="433231" y="954036"/>
                    </a:lnTo>
                    <a:lnTo>
                      <a:pt x="767512" y="1243746"/>
                    </a:lnTo>
                    <a:lnTo>
                      <a:pt x="833666" y="1793513"/>
                    </a:lnTo>
                    <a:lnTo>
                      <a:pt x="566941" y="1882884"/>
                    </a:lnTo>
                    <a:lnTo>
                      <a:pt x="631128" y="2373163"/>
                    </a:lnTo>
                    <a:lnTo>
                      <a:pt x="1321976" y="1838314"/>
                    </a:lnTo>
                    <a:lnTo>
                      <a:pt x="1611686" y="2093261"/>
                    </a:lnTo>
                    <a:lnTo>
                      <a:pt x="1579593" y="2704775"/>
                    </a:lnTo>
                    <a:lnTo>
                      <a:pt x="1194702" y="3400788"/>
                    </a:lnTo>
                    <a:lnTo>
                      <a:pt x="893214" y="4055306"/>
                    </a:lnTo>
                    <a:lnTo>
                      <a:pt x="883406" y="4421680"/>
                    </a:lnTo>
                    <a:lnTo>
                      <a:pt x="650744" y="4587486"/>
                    </a:lnTo>
                    <a:lnTo>
                      <a:pt x="623989" y="5020716"/>
                    </a:lnTo>
                    <a:lnTo>
                      <a:pt x="323114" y="5055896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>
                  <a:defRPr/>
                </a:pPr>
                <a:endParaRPr lang="zh-CN" altLang="en-US" kern="0">
                  <a:solidFill>
                    <a:sysClr val="windowText" lastClr="000000"/>
                  </a:solidFill>
                  <a:latin typeface="Calibri"/>
                  <a:ea typeface="宋体" panose="02010600030101010101" pitchFamily="2" charset="-122"/>
                </a:endParaRPr>
              </a:p>
            </p:txBody>
          </p:sp>
          <p:sp>
            <p:nvSpPr>
              <p:cNvPr id="74" name="任意多边形 36">
                <a:extLst>
                  <a:ext uri="{FF2B5EF4-FFF2-40B4-BE49-F238E27FC236}">
                    <a16:creationId xmlns:a16="http://schemas.microsoft.com/office/drawing/2014/main" id="{563364D1-0552-443C-BB49-7123D5C4C9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36725" y="3683001"/>
                <a:ext cx="915987" cy="763588"/>
              </a:xfrm>
              <a:custGeom>
                <a:avLst/>
                <a:gdLst>
                  <a:gd name="T0" fmla="*/ 3970866 w 10719865"/>
                  <a:gd name="T1" fmla="*/ 426607 h 8946184"/>
                  <a:gd name="T2" fmla="*/ 4624281 w 10719865"/>
                  <a:gd name="T3" fmla="*/ 1045260 h 8946184"/>
                  <a:gd name="T4" fmla="*/ 5735883 w 10719865"/>
                  <a:gd name="T5" fmla="*/ 1500776 h 8946184"/>
                  <a:gd name="T6" fmla="*/ 6433869 w 10719865"/>
                  <a:gd name="T7" fmla="*/ 1787817 h 8946184"/>
                  <a:gd name="T8" fmla="*/ 6099588 w 10719865"/>
                  <a:gd name="T9" fmla="*/ 2421616 h 8946184"/>
                  <a:gd name="T10" fmla="*/ 6838605 w 10719865"/>
                  <a:gd name="T11" fmla="*/ 2463518 h 8946184"/>
                  <a:gd name="T12" fmla="*/ 6813650 w 10719865"/>
                  <a:gd name="T13" fmla="*/ 3453884 h 8946184"/>
                  <a:gd name="T14" fmla="*/ 7712205 w 10719865"/>
                  <a:gd name="T15" fmla="*/ 3763207 h 8946184"/>
                  <a:gd name="T16" fmla="*/ 8291626 w 10719865"/>
                  <a:gd name="T17" fmla="*/ 3896919 h 8946184"/>
                  <a:gd name="T18" fmla="*/ 8890663 w 10719865"/>
                  <a:gd name="T19" fmla="*/ 4117103 h 8946184"/>
                  <a:gd name="T20" fmla="*/ 9475710 w 10719865"/>
                  <a:gd name="T21" fmla="*/ 3751487 h 8946184"/>
                  <a:gd name="T22" fmla="*/ 10566537 w 10719865"/>
                  <a:gd name="T23" fmla="*/ 4475466 h 8946184"/>
                  <a:gd name="T24" fmla="*/ 10261679 w 10719865"/>
                  <a:gd name="T25" fmla="*/ 5245648 h 8946184"/>
                  <a:gd name="T26" fmla="*/ 9879763 w 10719865"/>
                  <a:gd name="T27" fmla="*/ 6032745 h 8946184"/>
                  <a:gd name="T28" fmla="*/ 9595557 w 10719865"/>
                  <a:gd name="T29" fmla="*/ 6847991 h 8946184"/>
                  <a:gd name="T30" fmla="*/ 8482388 w 10719865"/>
                  <a:gd name="T31" fmla="*/ 6807655 h 8946184"/>
                  <a:gd name="T32" fmla="*/ 8115550 w 10719865"/>
                  <a:gd name="T33" fmla="*/ 6357712 h 8946184"/>
                  <a:gd name="T34" fmla="*/ 6972088 w 10719865"/>
                  <a:gd name="T35" fmla="*/ 6476043 h 8946184"/>
                  <a:gd name="T36" fmla="*/ 6012238 w 10719865"/>
                  <a:gd name="T37" fmla="*/ 6347738 h 8946184"/>
                  <a:gd name="T38" fmla="*/ 5177179 w 10719865"/>
                  <a:gd name="T39" fmla="*/ 6257778 h 8946184"/>
                  <a:gd name="T40" fmla="*/ 5157800 w 10719865"/>
                  <a:gd name="T41" fmla="*/ 6804754 h 8946184"/>
                  <a:gd name="T42" fmla="*/ 5032328 w 10719865"/>
                  <a:gd name="T43" fmla="*/ 7483356 h 8946184"/>
                  <a:gd name="T44" fmla="*/ 5003135 w 10719865"/>
                  <a:gd name="T45" fmla="*/ 8305480 h 8946184"/>
                  <a:gd name="T46" fmla="*/ 4310722 w 10719865"/>
                  <a:gd name="T47" fmla="*/ 8613473 h 8946184"/>
                  <a:gd name="T48" fmla="*/ 3714355 w 10719865"/>
                  <a:gd name="T49" fmla="*/ 8426715 h 8946184"/>
                  <a:gd name="T50" fmla="*/ 2391273 w 10719865"/>
                  <a:gd name="T51" fmla="*/ 7969633 h 8946184"/>
                  <a:gd name="T52" fmla="*/ 2574432 w 10719865"/>
                  <a:gd name="T53" fmla="*/ 6990409 h 8946184"/>
                  <a:gd name="T54" fmla="*/ 1551622 w 10719865"/>
                  <a:gd name="T55" fmla="*/ 7580049 h 8946184"/>
                  <a:gd name="T56" fmla="*/ 244038 w 10719865"/>
                  <a:gd name="T57" fmla="*/ 6254527 h 8946184"/>
                  <a:gd name="T58" fmla="*/ 799608 w 10719865"/>
                  <a:gd name="T59" fmla="*/ 5410120 h 8946184"/>
                  <a:gd name="T60" fmla="*/ 1097558 w 10719865"/>
                  <a:gd name="T61" fmla="*/ 4209146 h 8946184"/>
                  <a:gd name="T62" fmla="*/ 461089 w 10719865"/>
                  <a:gd name="T63" fmla="*/ 3962436 h 8946184"/>
                  <a:gd name="T64" fmla="*/ 23621 w 10719865"/>
                  <a:gd name="T65" fmla="*/ 2165096 h 8946184"/>
                  <a:gd name="T66" fmla="*/ 416287 w 10719865"/>
                  <a:gd name="T67" fmla="*/ 1474016 h 8946184"/>
                  <a:gd name="T68" fmla="*/ 297953 w 10719865"/>
                  <a:gd name="T69" fmla="*/ 919551 h 8946184"/>
                  <a:gd name="T70" fmla="*/ 1008646 w 10719865"/>
                  <a:gd name="T71" fmla="*/ 1266309 h 8946184"/>
                  <a:gd name="T72" fmla="*/ 2631942 w 10719865"/>
                  <a:gd name="T73" fmla="*/ 934698 h 8946184"/>
                  <a:gd name="T74" fmla="*/ 3074981 w 10719865"/>
                  <a:gd name="T75" fmla="*/ 224234 h 8946184"/>
                  <a:gd name="T76" fmla="*/ 3573708 w 10719865"/>
                  <a:gd name="T77" fmla="*/ 0 h 8946184"/>
                  <a:gd name="T78" fmla="*/ 0 w 10719865"/>
                  <a:gd name="T79" fmla="*/ 0 h 8946184"/>
                  <a:gd name="T80" fmla="*/ 10719865 w 10719865"/>
                  <a:gd name="T81" fmla="*/ 8946184 h 8946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T78" t="T79" r="T80" b="T81"/>
                <a:pathLst>
                  <a:path w="10719865" h="8946184">
                    <a:moveTo>
                      <a:pt x="3573708" y="0"/>
                    </a:moveTo>
                    <a:lnTo>
                      <a:pt x="3970866" y="426607"/>
                    </a:lnTo>
                    <a:lnTo>
                      <a:pt x="4324763" y="755550"/>
                    </a:lnTo>
                    <a:lnTo>
                      <a:pt x="4624281" y="1045260"/>
                    </a:lnTo>
                    <a:lnTo>
                      <a:pt x="5213510" y="1220874"/>
                    </a:lnTo>
                    <a:lnTo>
                      <a:pt x="5735883" y="1500776"/>
                    </a:lnTo>
                    <a:lnTo>
                      <a:pt x="6112065" y="1844865"/>
                    </a:lnTo>
                    <a:lnTo>
                      <a:pt x="6433869" y="1787817"/>
                    </a:lnTo>
                    <a:lnTo>
                      <a:pt x="6456154" y="2010671"/>
                    </a:lnTo>
                    <a:lnTo>
                      <a:pt x="6099588" y="2421616"/>
                    </a:lnTo>
                    <a:lnTo>
                      <a:pt x="6426789" y="2576578"/>
                    </a:lnTo>
                    <a:lnTo>
                      <a:pt x="6838605" y="2463518"/>
                    </a:lnTo>
                    <a:lnTo>
                      <a:pt x="7249550" y="2832562"/>
                    </a:lnTo>
                    <a:lnTo>
                      <a:pt x="6813650" y="3453884"/>
                    </a:lnTo>
                    <a:lnTo>
                      <a:pt x="7246881" y="3718639"/>
                    </a:lnTo>
                    <a:lnTo>
                      <a:pt x="7712205" y="3763207"/>
                    </a:lnTo>
                    <a:lnTo>
                      <a:pt x="8036678" y="3550161"/>
                    </a:lnTo>
                    <a:lnTo>
                      <a:pt x="8291626" y="3896919"/>
                    </a:lnTo>
                    <a:lnTo>
                      <a:pt x="8454762" y="4263293"/>
                    </a:lnTo>
                    <a:lnTo>
                      <a:pt x="8890663" y="4117103"/>
                    </a:lnTo>
                    <a:lnTo>
                      <a:pt x="9177703" y="4151866"/>
                    </a:lnTo>
                    <a:lnTo>
                      <a:pt x="9475710" y="3751487"/>
                    </a:lnTo>
                    <a:lnTo>
                      <a:pt x="9967503" y="4101954"/>
                    </a:lnTo>
                    <a:lnTo>
                      <a:pt x="10566537" y="4475466"/>
                    </a:lnTo>
                    <a:lnTo>
                      <a:pt x="10719865" y="4784793"/>
                    </a:lnTo>
                    <a:lnTo>
                      <a:pt x="10261679" y="5245648"/>
                    </a:lnTo>
                    <a:lnTo>
                      <a:pt x="9761592" y="5431069"/>
                    </a:lnTo>
                    <a:lnTo>
                      <a:pt x="9879763" y="6032745"/>
                    </a:lnTo>
                    <a:lnTo>
                      <a:pt x="9487033" y="6533092"/>
                    </a:lnTo>
                    <a:lnTo>
                      <a:pt x="9595557" y="6847991"/>
                    </a:lnTo>
                    <a:lnTo>
                      <a:pt x="9110617" y="7046992"/>
                    </a:lnTo>
                    <a:lnTo>
                      <a:pt x="8482388" y="6807655"/>
                    </a:lnTo>
                    <a:lnTo>
                      <a:pt x="8221870" y="6593044"/>
                    </a:lnTo>
                    <a:lnTo>
                      <a:pt x="8115550" y="6357712"/>
                    </a:lnTo>
                    <a:lnTo>
                      <a:pt x="7576695" y="6492758"/>
                    </a:lnTo>
                    <a:lnTo>
                      <a:pt x="6972088" y="6476043"/>
                    </a:lnTo>
                    <a:lnTo>
                      <a:pt x="6699092" y="6421665"/>
                    </a:lnTo>
                    <a:lnTo>
                      <a:pt x="6012238" y="6347738"/>
                    </a:lnTo>
                    <a:lnTo>
                      <a:pt x="5892116" y="6209955"/>
                    </a:lnTo>
                    <a:lnTo>
                      <a:pt x="5177179" y="6257778"/>
                    </a:lnTo>
                    <a:lnTo>
                      <a:pt x="5316699" y="6587473"/>
                    </a:lnTo>
                    <a:lnTo>
                      <a:pt x="5157800" y="6804754"/>
                    </a:lnTo>
                    <a:lnTo>
                      <a:pt x="4680230" y="6728321"/>
                    </a:lnTo>
                    <a:lnTo>
                      <a:pt x="5032328" y="7483356"/>
                    </a:lnTo>
                    <a:lnTo>
                      <a:pt x="4469853" y="7757919"/>
                    </a:lnTo>
                    <a:lnTo>
                      <a:pt x="5003135" y="8305480"/>
                    </a:lnTo>
                    <a:lnTo>
                      <a:pt x="4847133" y="8668202"/>
                    </a:lnTo>
                    <a:lnTo>
                      <a:pt x="4310722" y="8613473"/>
                    </a:lnTo>
                    <a:lnTo>
                      <a:pt x="3959726" y="8946184"/>
                    </a:lnTo>
                    <a:lnTo>
                      <a:pt x="3714355" y="8426715"/>
                    </a:lnTo>
                    <a:lnTo>
                      <a:pt x="3214268" y="8384816"/>
                    </a:lnTo>
                    <a:lnTo>
                      <a:pt x="2391273" y="7969633"/>
                    </a:lnTo>
                    <a:lnTo>
                      <a:pt x="2452093" y="7394216"/>
                    </a:lnTo>
                    <a:lnTo>
                      <a:pt x="2574432" y="6990409"/>
                    </a:lnTo>
                    <a:lnTo>
                      <a:pt x="2015961" y="6703368"/>
                    </a:lnTo>
                    <a:lnTo>
                      <a:pt x="1551622" y="7580049"/>
                    </a:lnTo>
                    <a:lnTo>
                      <a:pt x="755037" y="6668374"/>
                    </a:lnTo>
                    <a:lnTo>
                      <a:pt x="244038" y="6254527"/>
                    </a:lnTo>
                    <a:lnTo>
                      <a:pt x="650514" y="5926921"/>
                    </a:lnTo>
                    <a:lnTo>
                      <a:pt x="799608" y="5410120"/>
                    </a:lnTo>
                    <a:lnTo>
                      <a:pt x="943128" y="4767846"/>
                    </a:lnTo>
                    <a:lnTo>
                      <a:pt x="1097558" y="4209146"/>
                    </a:lnTo>
                    <a:lnTo>
                      <a:pt x="905462" y="3876198"/>
                    </a:lnTo>
                    <a:lnTo>
                      <a:pt x="461089" y="3962436"/>
                    </a:lnTo>
                    <a:lnTo>
                      <a:pt x="123907" y="3413544"/>
                    </a:lnTo>
                    <a:lnTo>
                      <a:pt x="23621" y="2165096"/>
                    </a:lnTo>
                    <a:lnTo>
                      <a:pt x="325809" y="1809865"/>
                    </a:lnTo>
                    <a:lnTo>
                      <a:pt x="416287" y="1474016"/>
                    </a:lnTo>
                    <a:lnTo>
                      <a:pt x="0" y="990644"/>
                    </a:lnTo>
                    <a:lnTo>
                      <a:pt x="297953" y="919551"/>
                    </a:lnTo>
                    <a:lnTo>
                      <a:pt x="503159" y="1054892"/>
                    </a:lnTo>
                    <a:lnTo>
                      <a:pt x="1008646" y="1266309"/>
                    </a:lnTo>
                    <a:lnTo>
                      <a:pt x="1981196" y="1345643"/>
                    </a:lnTo>
                    <a:lnTo>
                      <a:pt x="2631942" y="934698"/>
                    </a:lnTo>
                    <a:lnTo>
                      <a:pt x="3008124" y="612894"/>
                    </a:lnTo>
                    <a:lnTo>
                      <a:pt x="3074981" y="224234"/>
                    </a:lnTo>
                    <a:lnTo>
                      <a:pt x="3297835" y="13858"/>
                    </a:lnTo>
                    <a:lnTo>
                      <a:pt x="3573708" y="0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>
                  <a:defRPr/>
                </a:pPr>
                <a:endParaRPr lang="zh-CN" altLang="en-US" kern="0">
                  <a:solidFill>
                    <a:sysClr val="windowText" lastClr="000000"/>
                  </a:solidFill>
                  <a:latin typeface="Calibri"/>
                  <a:ea typeface="宋体" panose="02010600030101010101" pitchFamily="2" charset="-122"/>
                </a:endParaRPr>
              </a:p>
            </p:txBody>
          </p:sp>
          <p:sp>
            <p:nvSpPr>
              <p:cNvPr id="75" name="任意多边形 37">
                <a:extLst>
                  <a:ext uri="{FF2B5EF4-FFF2-40B4-BE49-F238E27FC236}">
                    <a16:creationId xmlns:a16="http://schemas.microsoft.com/office/drawing/2014/main" id="{8DD85DC3-9A2C-4092-A50A-DBCC3F98D7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43175" y="3181351"/>
                <a:ext cx="644525" cy="833438"/>
              </a:xfrm>
              <a:custGeom>
                <a:avLst/>
                <a:gdLst>
                  <a:gd name="T0" fmla="*/ 2004817 w 7534795"/>
                  <a:gd name="T1" fmla="*/ 4562127 h 9754917"/>
                  <a:gd name="T2" fmla="*/ 974115 w 7534795"/>
                  <a:gd name="T3" fmla="*/ 5448205 h 9754917"/>
                  <a:gd name="T4" fmla="*/ 898611 w 7534795"/>
                  <a:gd name="T5" fmla="*/ 7290178 h 9754917"/>
                  <a:gd name="T6" fmla="*/ 0 w 7534795"/>
                  <a:gd name="T7" fmla="*/ 7787535 h 9754917"/>
                  <a:gd name="T8" fmla="*/ 144856 w 7534795"/>
                  <a:gd name="T9" fmla="*/ 8096861 h 9754917"/>
                  <a:gd name="T10" fmla="*/ 160235 w 7534795"/>
                  <a:gd name="T11" fmla="*/ 8687657 h 9754917"/>
                  <a:gd name="T12" fmla="*/ 854218 w 7534795"/>
                  <a:gd name="T13" fmla="*/ 9371596 h 9754917"/>
                  <a:gd name="T14" fmla="*/ 1673439 w 7534795"/>
                  <a:gd name="T15" fmla="*/ 9754917 h 9754917"/>
                  <a:gd name="T16" fmla="*/ 1938195 w 7534795"/>
                  <a:gd name="T17" fmla="*/ 9222737 h 9754917"/>
                  <a:gd name="T18" fmla="*/ 1804482 w 7534795"/>
                  <a:gd name="T19" fmla="*/ 8668271 h 9754917"/>
                  <a:gd name="T20" fmla="*/ 2435612 w 7534795"/>
                  <a:gd name="T21" fmla="*/ 8180661 h 9754917"/>
                  <a:gd name="T22" fmla="*/ 3557022 w 7534795"/>
                  <a:gd name="T23" fmla="*/ 7485345 h 9754917"/>
                  <a:gd name="T24" fmla="*/ 4608035 w 7534795"/>
                  <a:gd name="T25" fmla="*/ 7529915 h 9754917"/>
                  <a:gd name="T26" fmla="*/ 5204402 w 7534795"/>
                  <a:gd name="T27" fmla="*/ 7383726 h 9754917"/>
                  <a:gd name="T28" fmla="*/ 5930010 w 7534795"/>
                  <a:gd name="T29" fmla="*/ 7010213 h 9754917"/>
                  <a:gd name="T30" fmla="*/ 6239337 w 7534795"/>
                  <a:gd name="T31" fmla="*/ 6611745 h 9754917"/>
                  <a:gd name="T32" fmla="*/ 6746280 w 7534795"/>
                  <a:gd name="T33" fmla="*/ 7077672 h 9754917"/>
                  <a:gd name="T34" fmla="*/ 7534795 w 7534795"/>
                  <a:gd name="T35" fmla="*/ 6245141 h 9754917"/>
                  <a:gd name="T36" fmla="*/ 6452386 w 7534795"/>
                  <a:gd name="T37" fmla="*/ 5031686 h 9754917"/>
                  <a:gd name="T38" fmla="*/ 6041440 w 7534795"/>
                  <a:gd name="T39" fmla="*/ 4861646 h 9754917"/>
                  <a:gd name="T40" fmla="*/ 6119436 w 7534795"/>
                  <a:gd name="T41" fmla="*/ 4351751 h 9754917"/>
                  <a:gd name="T42" fmla="*/ 5610879 w 7534795"/>
                  <a:gd name="T43" fmla="*/ 3706576 h 9754917"/>
                  <a:gd name="T44" fmla="*/ 5570424 w 7534795"/>
                  <a:gd name="T45" fmla="*/ 2980965 h 9754917"/>
                  <a:gd name="T46" fmla="*/ 5112123 w 7534795"/>
                  <a:gd name="T47" fmla="*/ 1916141 h 9754917"/>
                  <a:gd name="T48" fmla="*/ 5149558 w 7534795"/>
                  <a:gd name="T49" fmla="*/ 1147061 h 9754917"/>
                  <a:gd name="T50" fmla="*/ 3951484 w 7534795"/>
                  <a:gd name="T51" fmla="*/ 936685 h 9754917"/>
                  <a:gd name="T52" fmla="*/ 3798156 w 7534795"/>
                  <a:gd name="T53" fmla="*/ 394696 h 9754917"/>
                  <a:gd name="T54" fmla="*/ 3044455 w 7534795"/>
                  <a:gd name="T55" fmla="*/ 191690 h 9754917"/>
                  <a:gd name="T56" fmla="*/ 2687888 w 7534795"/>
                  <a:gd name="T57" fmla="*/ 632060 h 9754917"/>
                  <a:gd name="T58" fmla="*/ 2420463 w 7534795"/>
                  <a:gd name="T59" fmla="*/ 998434 h 9754917"/>
                  <a:gd name="T60" fmla="*/ 2732459 w 7534795"/>
                  <a:gd name="T61" fmla="*/ 1256051 h 9754917"/>
                  <a:gd name="T62" fmla="*/ 2700365 w 7534795"/>
                  <a:gd name="T63" fmla="*/ 1832800 h 9754917"/>
                  <a:gd name="T64" fmla="*/ 2034472 w 7534795"/>
                  <a:gd name="T65" fmla="*/ 2045848 h 9754917"/>
                  <a:gd name="T66" fmla="*/ 1040447 w 7534795"/>
                  <a:gd name="T67" fmla="*/ 2416457 h 9754917"/>
                  <a:gd name="T68" fmla="*/ 1645349 w 7534795"/>
                  <a:gd name="T69" fmla="*/ 2944403 h 9754917"/>
                  <a:gd name="T70" fmla="*/ 1435204 w 7534795"/>
                  <a:gd name="T71" fmla="*/ 3547677 h 9754917"/>
                  <a:gd name="T72" fmla="*/ 2348906 w 7534795"/>
                  <a:gd name="T73" fmla="*/ 3788813 h 9754917"/>
                  <a:gd name="T74" fmla="*/ 0 w 7534795"/>
                  <a:gd name="T75" fmla="*/ 0 h 9754917"/>
                  <a:gd name="T76" fmla="*/ 7534795 w 7534795"/>
                  <a:gd name="T77" fmla="*/ 9754917 h 97549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T74" t="T75" r="T76" b="T77"/>
                <a:pathLst>
                  <a:path w="7534795" h="9754917">
                    <a:moveTo>
                      <a:pt x="2014197" y="4208008"/>
                    </a:moveTo>
                    <a:lnTo>
                      <a:pt x="2004817" y="4562127"/>
                    </a:lnTo>
                    <a:lnTo>
                      <a:pt x="1199641" y="5418781"/>
                    </a:lnTo>
                    <a:lnTo>
                      <a:pt x="974115" y="5448205"/>
                    </a:lnTo>
                    <a:lnTo>
                      <a:pt x="817885" y="5891244"/>
                    </a:lnTo>
                    <a:lnTo>
                      <a:pt x="898611" y="7290178"/>
                    </a:lnTo>
                    <a:lnTo>
                      <a:pt x="72661" y="6969881"/>
                    </a:lnTo>
                    <a:lnTo>
                      <a:pt x="0" y="7787535"/>
                    </a:lnTo>
                    <a:lnTo>
                      <a:pt x="167142" y="7904767"/>
                    </a:lnTo>
                    <a:lnTo>
                      <a:pt x="144856" y="8096861"/>
                    </a:lnTo>
                    <a:lnTo>
                      <a:pt x="327375" y="8454995"/>
                    </a:lnTo>
                    <a:lnTo>
                      <a:pt x="160235" y="8687657"/>
                    </a:lnTo>
                    <a:lnTo>
                      <a:pt x="220589" y="8930315"/>
                    </a:lnTo>
                    <a:lnTo>
                      <a:pt x="854218" y="9371596"/>
                    </a:lnTo>
                    <a:lnTo>
                      <a:pt x="1252686" y="9713016"/>
                    </a:lnTo>
                    <a:lnTo>
                      <a:pt x="1673439" y="9754917"/>
                    </a:lnTo>
                    <a:lnTo>
                      <a:pt x="1772389" y="9376065"/>
                    </a:lnTo>
                    <a:lnTo>
                      <a:pt x="1938195" y="9222737"/>
                    </a:lnTo>
                    <a:lnTo>
                      <a:pt x="1668100" y="8923218"/>
                    </a:lnTo>
                    <a:lnTo>
                      <a:pt x="1804482" y="8668271"/>
                    </a:lnTo>
                    <a:lnTo>
                      <a:pt x="2492661" y="8670940"/>
                    </a:lnTo>
                    <a:lnTo>
                      <a:pt x="2435612" y="8180661"/>
                    </a:lnTo>
                    <a:lnTo>
                      <a:pt x="2957985" y="7839242"/>
                    </a:lnTo>
                    <a:lnTo>
                      <a:pt x="3557022" y="7485345"/>
                    </a:lnTo>
                    <a:lnTo>
                      <a:pt x="4143581" y="7364110"/>
                    </a:lnTo>
                    <a:lnTo>
                      <a:pt x="4608035" y="7529915"/>
                    </a:lnTo>
                    <a:lnTo>
                      <a:pt x="5006503" y="7718007"/>
                    </a:lnTo>
                    <a:lnTo>
                      <a:pt x="5204402" y="7383726"/>
                    </a:lnTo>
                    <a:lnTo>
                      <a:pt x="5739252" y="7351632"/>
                    </a:lnTo>
                    <a:lnTo>
                      <a:pt x="5930010" y="7010213"/>
                    </a:lnTo>
                    <a:lnTo>
                      <a:pt x="6016483" y="6643838"/>
                    </a:lnTo>
                    <a:lnTo>
                      <a:pt x="6239337" y="6611745"/>
                    </a:lnTo>
                    <a:lnTo>
                      <a:pt x="6640474" y="6834599"/>
                    </a:lnTo>
                    <a:lnTo>
                      <a:pt x="6746280" y="7077672"/>
                    </a:lnTo>
                    <a:lnTo>
                      <a:pt x="7045852" y="7078173"/>
                    </a:lnTo>
                    <a:lnTo>
                      <a:pt x="7534795" y="6245141"/>
                    </a:lnTo>
                    <a:lnTo>
                      <a:pt x="6937092" y="5336778"/>
                    </a:lnTo>
                    <a:lnTo>
                      <a:pt x="6452386" y="5031686"/>
                    </a:lnTo>
                    <a:lnTo>
                      <a:pt x="6031864" y="5230690"/>
                    </a:lnTo>
                    <a:lnTo>
                      <a:pt x="6041440" y="4861646"/>
                    </a:lnTo>
                    <a:lnTo>
                      <a:pt x="6365911" y="4612271"/>
                    </a:lnTo>
                    <a:lnTo>
                      <a:pt x="6119436" y="4351751"/>
                    </a:lnTo>
                    <a:lnTo>
                      <a:pt x="6384942" y="4274338"/>
                    </a:lnTo>
                    <a:lnTo>
                      <a:pt x="5610879" y="3706576"/>
                    </a:lnTo>
                    <a:lnTo>
                      <a:pt x="5216877" y="3372295"/>
                    </a:lnTo>
                    <a:lnTo>
                      <a:pt x="5570424" y="2980965"/>
                    </a:lnTo>
                    <a:lnTo>
                      <a:pt x="5223552" y="2467935"/>
                    </a:lnTo>
                    <a:lnTo>
                      <a:pt x="5112123" y="1916141"/>
                    </a:lnTo>
                    <a:lnTo>
                      <a:pt x="5296504" y="1497014"/>
                    </a:lnTo>
                    <a:lnTo>
                      <a:pt x="5149558" y="1147061"/>
                    </a:lnTo>
                    <a:lnTo>
                      <a:pt x="4653474" y="1014685"/>
                    </a:lnTo>
                    <a:lnTo>
                      <a:pt x="3951484" y="936685"/>
                    </a:lnTo>
                    <a:lnTo>
                      <a:pt x="3920725" y="712263"/>
                    </a:lnTo>
                    <a:lnTo>
                      <a:pt x="3798156" y="394696"/>
                    </a:lnTo>
                    <a:lnTo>
                      <a:pt x="3268294" y="0"/>
                    </a:lnTo>
                    <a:lnTo>
                      <a:pt x="3044455" y="191690"/>
                    </a:lnTo>
                    <a:lnTo>
                      <a:pt x="2818931" y="275493"/>
                    </a:lnTo>
                    <a:lnTo>
                      <a:pt x="2687888" y="632060"/>
                    </a:lnTo>
                    <a:lnTo>
                      <a:pt x="2229702" y="820151"/>
                    </a:lnTo>
                    <a:lnTo>
                      <a:pt x="2420463" y="998434"/>
                    </a:lnTo>
                    <a:lnTo>
                      <a:pt x="2350937" y="1364808"/>
                    </a:lnTo>
                    <a:lnTo>
                      <a:pt x="2732459" y="1256051"/>
                    </a:lnTo>
                    <a:lnTo>
                      <a:pt x="2875979" y="1543092"/>
                    </a:lnTo>
                    <a:lnTo>
                      <a:pt x="2700365" y="1832800"/>
                    </a:lnTo>
                    <a:lnTo>
                      <a:pt x="2349138" y="1857755"/>
                    </a:lnTo>
                    <a:lnTo>
                      <a:pt x="2034472" y="2045848"/>
                    </a:lnTo>
                    <a:lnTo>
                      <a:pt x="1725434" y="1846901"/>
                    </a:lnTo>
                    <a:lnTo>
                      <a:pt x="1040447" y="2416457"/>
                    </a:lnTo>
                    <a:lnTo>
                      <a:pt x="1200974" y="2651791"/>
                    </a:lnTo>
                    <a:lnTo>
                      <a:pt x="1645349" y="2944403"/>
                    </a:lnTo>
                    <a:lnTo>
                      <a:pt x="1488015" y="3337300"/>
                    </a:lnTo>
                    <a:lnTo>
                      <a:pt x="1435204" y="3547677"/>
                    </a:lnTo>
                    <a:lnTo>
                      <a:pt x="2036911" y="3535199"/>
                    </a:lnTo>
                    <a:lnTo>
                      <a:pt x="2348906" y="3788813"/>
                    </a:lnTo>
                    <a:lnTo>
                      <a:pt x="2014197" y="4208008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>
                  <a:defRPr/>
                </a:pPr>
                <a:endParaRPr lang="zh-CN" altLang="en-US" kern="0">
                  <a:solidFill>
                    <a:sysClr val="windowText" lastClr="000000"/>
                  </a:solidFill>
                  <a:latin typeface="Calibri"/>
                  <a:ea typeface="宋体" panose="02010600030101010101" pitchFamily="2" charset="-122"/>
                </a:endParaRPr>
              </a:p>
            </p:txBody>
          </p:sp>
          <p:sp>
            <p:nvSpPr>
              <p:cNvPr id="76" name="任意多边形 38">
                <a:extLst>
                  <a:ext uri="{FF2B5EF4-FFF2-40B4-BE49-F238E27FC236}">
                    <a16:creationId xmlns:a16="http://schemas.microsoft.com/office/drawing/2014/main" id="{2D777B92-6292-43A0-A9D2-7D8A68C792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46350" y="3746501"/>
                <a:ext cx="638175" cy="574675"/>
              </a:xfrm>
              <a:custGeom>
                <a:avLst/>
                <a:gdLst>
                  <a:gd name="T0" fmla="*/ 9 w 7471941"/>
                  <a:gd name="T1" fmla="*/ 122 h 6732285"/>
                  <a:gd name="T2" fmla="*/ 7 w 7471941"/>
                  <a:gd name="T3" fmla="*/ 108 h 6732285"/>
                  <a:gd name="T4" fmla="*/ 18 w 7471941"/>
                  <a:gd name="T5" fmla="*/ 104 h 6732285"/>
                  <a:gd name="T6" fmla="*/ 29 w 7471941"/>
                  <a:gd name="T7" fmla="*/ 93 h 6732285"/>
                  <a:gd name="T8" fmla="*/ 25 w 7471941"/>
                  <a:gd name="T9" fmla="*/ 86 h 6732285"/>
                  <a:gd name="T10" fmla="*/ 11 w 7471941"/>
                  <a:gd name="T11" fmla="*/ 77 h 6732285"/>
                  <a:gd name="T12" fmla="*/ 0 w 7471941"/>
                  <a:gd name="T13" fmla="*/ 69 h 6732285"/>
                  <a:gd name="T14" fmla="*/ 6 w 7471941"/>
                  <a:gd name="T15" fmla="*/ 59 h 6732285"/>
                  <a:gd name="T16" fmla="*/ 5 w 7471941"/>
                  <a:gd name="T17" fmla="*/ 54 h 6732285"/>
                  <a:gd name="T18" fmla="*/ 19 w 7471941"/>
                  <a:gd name="T19" fmla="*/ 63 h 6732285"/>
                  <a:gd name="T20" fmla="*/ 28 w 7471941"/>
                  <a:gd name="T21" fmla="*/ 71 h 6732285"/>
                  <a:gd name="T22" fmla="*/ 38 w 7471941"/>
                  <a:gd name="T23" fmla="*/ 72 h 6732285"/>
                  <a:gd name="T24" fmla="*/ 40 w 7471941"/>
                  <a:gd name="T25" fmla="*/ 64 h 6732285"/>
                  <a:gd name="T26" fmla="*/ 44 w 7471941"/>
                  <a:gd name="T27" fmla="*/ 60 h 6732285"/>
                  <a:gd name="T28" fmla="*/ 38 w 7471941"/>
                  <a:gd name="T29" fmla="*/ 53 h 6732285"/>
                  <a:gd name="T30" fmla="*/ 41 w 7471941"/>
                  <a:gd name="T31" fmla="*/ 47 h 6732285"/>
                  <a:gd name="T32" fmla="*/ 57 w 7471941"/>
                  <a:gd name="T33" fmla="*/ 47 h 6732285"/>
                  <a:gd name="T34" fmla="*/ 55 w 7471941"/>
                  <a:gd name="T35" fmla="*/ 36 h 6732285"/>
                  <a:gd name="T36" fmla="*/ 67 w 7471941"/>
                  <a:gd name="T37" fmla="*/ 28 h 6732285"/>
                  <a:gd name="T38" fmla="*/ 81 w 7471941"/>
                  <a:gd name="T39" fmla="*/ 20 h 6732285"/>
                  <a:gd name="T40" fmla="*/ 95 w 7471941"/>
                  <a:gd name="T41" fmla="*/ 17 h 6732285"/>
                  <a:gd name="T42" fmla="*/ 105 w 7471941"/>
                  <a:gd name="T43" fmla="*/ 21 h 6732285"/>
                  <a:gd name="T44" fmla="*/ 114 w 7471941"/>
                  <a:gd name="T45" fmla="*/ 25 h 6732285"/>
                  <a:gd name="T46" fmla="*/ 119 w 7471941"/>
                  <a:gd name="T47" fmla="*/ 18 h 6732285"/>
                  <a:gd name="T48" fmla="*/ 131 w 7471941"/>
                  <a:gd name="T49" fmla="*/ 17 h 6732285"/>
                  <a:gd name="T50" fmla="*/ 136 w 7471941"/>
                  <a:gd name="T51" fmla="*/ 9 h 6732285"/>
                  <a:gd name="T52" fmla="*/ 138 w 7471941"/>
                  <a:gd name="T53" fmla="*/ 1 h 6732285"/>
                  <a:gd name="T54" fmla="*/ 143 w 7471941"/>
                  <a:gd name="T55" fmla="*/ 0 h 6732285"/>
                  <a:gd name="T56" fmla="*/ 152 w 7471941"/>
                  <a:gd name="T57" fmla="*/ 5 h 6732285"/>
                  <a:gd name="T58" fmla="*/ 155 w 7471941"/>
                  <a:gd name="T59" fmla="*/ 11 h 6732285"/>
                  <a:gd name="T60" fmla="*/ 154 w 7471941"/>
                  <a:gd name="T61" fmla="*/ 24 h 6732285"/>
                  <a:gd name="T62" fmla="*/ 152 w 7471941"/>
                  <a:gd name="T63" fmla="*/ 32 h 6732285"/>
                  <a:gd name="T64" fmla="*/ 161 w 7471941"/>
                  <a:gd name="T65" fmla="*/ 43 h 6732285"/>
                  <a:gd name="T66" fmla="*/ 171 w 7471941"/>
                  <a:gd name="T67" fmla="*/ 46 h 6732285"/>
                  <a:gd name="T68" fmla="*/ 172 w 7471941"/>
                  <a:gd name="T69" fmla="*/ 55 h 6732285"/>
                  <a:gd name="T70" fmla="*/ 168 w 7471941"/>
                  <a:gd name="T71" fmla="*/ 58 h 6732285"/>
                  <a:gd name="T72" fmla="*/ 160 w 7471941"/>
                  <a:gd name="T73" fmla="*/ 59 h 6732285"/>
                  <a:gd name="T74" fmla="*/ 158 w 7471941"/>
                  <a:gd name="T75" fmla="*/ 67 h 6732285"/>
                  <a:gd name="T76" fmla="*/ 163 w 7471941"/>
                  <a:gd name="T77" fmla="*/ 77 h 6732285"/>
                  <a:gd name="T78" fmla="*/ 155 w 7471941"/>
                  <a:gd name="T79" fmla="*/ 81 h 6732285"/>
                  <a:gd name="T80" fmla="*/ 151 w 7471941"/>
                  <a:gd name="T81" fmla="*/ 89 h 6732285"/>
                  <a:gd name="T82" fmla="*/ 158 w 7471941"/>
                  <a:gd name="T83" fmla="*/ 96 h 6732285"/>
                  <a:gd name="T84" fmla="*/ 151 w 7471941"/>
                  <a:gd name="T85" fmla="*/ 110 h 6732285"/>
                  <a:gd name="T86" fmla="*/ 146 w 7471941"/>
                  <a:gd name="T87" fmla="*/ 118 h 6732285"/>
                  <a:gd name="T88" fmla="*/ 161 w 7471941"/>
                  <a:gd name="T89" fmla="*/ 125 h 6732285"/>
                  <a:gd name="T90" fmla="*/ 147 w 7471941"/>
                  <a:gd name="T91" fmla="*/ 142 h 6732285"/>
                  <a:gd name="T92" fmla="*/ 154 w 7471941"/>
                  <a:gd name="T93" fmla="*/ 152 h 6732285"/>
                  <a:gd name="T94" fmla="*/ 147 w 7471941"/>
                  <a:gd name="T95" fmla="*/ 151 h 6732285"/>
                  <a:gd name="T96" fmla="*/ 138 w 7471941"/>
                  <a:gd name="T97" fmla="*/ 153 h 6732285"/>
                  <a:gd name="T98" fmla="*/ 129 w 7471941"/>
                  <a:gd name="T99" fmla="*/ 155 h 6732285"/>
                  <a:gd name="T100" fmla="*/ 115 w 7471941"/>
                  <a:gd name="T101" fmla="*/ 148 h 6732285"/>
                  <a:gd name="T102" fmla="*/ 103 w 7471941"/>
                  <a:gd name="T103" fmla="*/ 148 h 6732285"/>
                  <a:gd name="T104" fmla="*/ 102 w 7471941"/>
                  <a:gd name="T105" fmla="*/ 142 h 6732285"/>
                  <a:gd name="T106" fmla="*/ 90 w 7471941"/>
                  <a:gd name="T107" fmla="*/ 141 h 6732285"/>
                  <a:gd name="T108" fmla="*/ 80 w 7471941"/>
                  <a:gd name="T109" fmla="*/ 140 h 6732285"/>
                  <a:gd name="T110" fmla="*/ 65 w 7471941"/>
                  <a:gd name="T111" fmla="*/ 136 h 6732285"/>
                  <a:gd name="T112" fmla="*/ 51 w 7471941"/>
                  <a:gd name="T113" fmla="*/ 131 h 6732285"/>
                  <a:gd name="T114" fmla="*/ 46 w 7471941"/>
                  <a:gd name="T115" fmla="*/ 123 h 6732285"/>
                  <a:gd name="T116" fmla="*/ 35 w 7471941"/>
                  <a:gd name="T117" fmla="*/ 127 h 6732285"/>
                  <a:gd name="T118" fmla="*/ 19 w 7471941"/>
                  <a:gd name="T119" fmla="*/ 125 h 6732285"/>
                  <a:gd name="T120" fmla="*/ 9 w 7471941"/>
                  <a:gd name="T121" fmla="*/ 122 h 6732285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7471941"/>
                  <a:gd name="T184" fmla="*/ 0 h 6732285"/>
                  <a:gd name="T185" fmla="*/ 7471941 w 7471941"/>
                  <a:gd name="T186" fmla="*/ 6732285 h 6732285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7471941" h="6732285">
                    <a:moveTo>
                      <a:pt x="396758" y="5296222"/>
                    </a:moveTo>
                    <a:lnTo>
                      <a:pt x="288377" y="4695372"/>
                    </a:lnTo>
                    <a:lnTo>
                      <a:pt x="785563" y="4508617"/>
                    </a:lnTo>
                    <a:lnTo>
                      <a:pt x="1245711" y="4052530"/>
                    </a:lnTo>
                    <a:lnTo>
                      <a:pt x="1094889" y="3738201"/>
                    </a:lnTo>
                    <a:lnTo>
                      <a:pt x="491615" y="3363357"/>
                    </a:lnTo>
                    <a:lnTo>
                      <a:pt x="0" y="3015031"/>
                    </a:lnTo>
                    <a:lnTo>
                      <a:pt x="256052" y="2562182"/>
                    </a:lnTo>
                    <a:lnTo>
                      <a:pt x="198070" y="2329707"/>
                    </a:lnTo>
                    <a:lnTo>
                      <a:pt x="826128" y="2759851"/>
                    </a:lnTo>
                    <a:lnTo>
                      <a:pt x="1224596" y="3101271"/>
                    </a:lnTo>
                    <a:lnTo>
                      <a:pt x="1645349" y="3143172"/>
                    </a:lnTo>
                    <a:lnTo>
                      <a:pt x="1744299" y="2764320"/>
                    </a:lnTo>
                    <a:lnTo>
                      <a:pt x="1910105" y="2610992"/>
                    </a:lnTo>
                    <a:lnTo>
                      <a:pt x="1640010" y="2311473"/>
                    </a:lnTo>
                    <a:lnTo>
                      <a:pt x="1776392" y="2056526"/>
                    </a:lnTo>
                    <a:lnTo>
                      <a:pt x="2464571" y="2059195"/>
                    </a:lnTo>
                    <a:lnTo>
                      <a:pt x="2407522" y="1568916"/>
                    </a:lnTo>
                    <a:lnTo>
                      <a:pt x="2929895" y="1227497"/>
                    </a:lnTo>
                    <a:lnTo>
                      <a:pt x="3528932" y="873600"/>
                    </a:lnTo>
                    <a:lnTo>
                      <a:pt x="4115491" y="752365"/>
                    </a:lnTo>
                    <a:lnTo>
                      <a:pt x="4579945" y="918170"/>
                    </a:lnTo>
                    <a:lnTo>
                      <a:pt x="4978413" y="1106262"/>
                    </a:lnTo>
                    <a:lnTo>
                      <a:pt x="5176312" y="771981"/>
                    </a:lnTo>
                    <a:lnTo>
                      <a:pt x="5711162" y="739887"/>
                    </a:lnTo>
                    <a:lnTo>
                      <a:pt x="5901920" y="398468"/>
                    </a:lnTo>
                    <a:lnTo>
                      <a:pt x="5988393" y="32093"/>
                    </a:lnTo>
                    <a:lnTo>
                      <a:pt x="6211247" y="0"/>
                    </a:lnTo>
                    <a:lnTo>
                      <a:pt x="6612384" y="222854"/>
                    </a:lnTo>
                    <a:lnTo>
                      <a:pt x="6721037" y="485424"/>
                    </a:lnTo>
                    <a:lnTo>
                      <a:pt x="6689050" y="1036502"/>
                    </a:lnTo>
                    <a:lnTo>
                      <a:pt x="6591666" y="1391735"/>
                    </a:lnTo>
                    <a:lnTo>
                      <a:pt x="7003947" y="1866867"/>
                    </a:lnTo>
                    <a:lnTo>
                      <a:pt x="7444085" y="1999244"/>
                    </a:lnTo>
                    <a:lnTo>
                      <a:pt x="7471941" y="2375426"/>
                    </a:lnTo>
                    <a:lnTo>
                      <a:pt x="7310892" y="2533172"/>
                    </a:lnTo>
                    <a:lnTo>
                      <a:pt x="6962275" y="2577560"/>
                    </a:lnTo>
                    <a:lnTo>
                      <a:pt x="6859091" y="2925889"/>
                    </a:lnTo>
                    <a:lnTo>
                      <a:pt x="7106900" y="3339504"/>
                    </a:lnTo>
                    <a:lnTo>
                      <a:pt x="6726714" y="3545875"/>
                    </a:lnTo>
                    <a:lnTo>
                      <a:pt x="6559860" y="3875575"/>
                    </a:lnTo>
                    <a:lnTo>
                      <a:pt x="6890953" y="4186813"/>
                    </a:lnTo>
                    <a:lnTo>
                      <a:pt x="6560909" y="4767801"/>
                    </a:lnTo>
                    <a:lnTo>
                      <a:pt x="6341126" y="5120954"/>
                    </a:lnTo>
                    <a:lnTo>
                      <a:pt x="7019092" y="5435260"/>
                    </a:lnTo>
                    <a:lnTo>
                      <a:pt x="6381289" y="6200104"/>
                    </a:lnTo>
                    <a:lnTo>
                      <a:pt x="6714005" y="6625158"/>
                    </a:lnTo>
                    <a:lnTo>
                      <a:pt x="6386631" y="6568044"/>
                    </a:lnTo>
                    <a:lnTo>
                      <a:pt x="6014685" y="6669664"/>
                    </a:lnTo>
                    <a:lnTo>
                      <a:pt x="5598167" y="6732285"/>
                    </a:lnTo>
                    <a:lnTo>
                      <a:pt x="5019850" y="6441239"/>
                    </a:lnTo>
                    <a:lnTo>
                      <a:pt x="4466718" y="6455050"/>
                    </a:lnTo>
                    <a:lnTo>
                      <a:pt x="4419014" y="6172246"/>
                    </a:lnTo>
                    <a:lnTo>
                      <a:pt x="3892639" y="6149961"/>
                    </a:lnTo>
                    <a:lnTo>
                      <a:pt x="3492833" y="6077534"/>
                    </a:lnTo>
                    <a:lnTo>
                      <a:pt x="2825374" y="5934013"/>
                    </a:lnTo>
                    <a:lnTo>
                      <a:pt x="2215194" y="5680401"/>
                    </a:lnTo>
                    <a:lnTo>
                      <a:pt x="2004059" y="5372004"/>
                    </a:lnTo>
                    <a:lnTo>
                      <a:pt x="1526786" y="5536881"/>
                    </a:lnTo>
                    <a:lnTo>
                      <a:pt x="834371" y="5425452"/>
                    </a:lnTo>
                    <a:lnTo>
                      <a:pt x="396758" y="5296222"/>
                    </a:ln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>
                  <a:defRPr/>
                </a:pPr>
                <a:endParaRPr lang="zh-CN" altLang="en-US" kern="0">
                  <a:solidFill>
                    <a:sysClr val="windowText" lastClr="000000"/>
                  </a:solidFill>
                  <a:latin typeface="Calibri"/>
                  <a:ea typeface="宋体" panose="02010600030101010101" pitchFamily="2" charset="-122"/>
                </a:endParaRPr>
              </a:p>
            </p:txBody>
          </p:sp>
          <p:sp>
            <p:nvSpPr>
              <p:cNvPr id="77" name="任意多边形 39">
                <a:extLst>
                  <a:ext uri="{FF2B5EF4-FFF2-40B4-BE49-F238E27FC236}">
                    <a16:creationId xmlns:a16="http://schemas.microsoft.com/office/drawing/2014/main" id="{054F7D8F-5C74-453B-BE0C-F34DF43931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43125" y="2747963"/>
                <a:ext cx="715962" cy="639763"/>
              </a:xfrm>
              <a:custGeom>
                <a:avLst/>
                <a:gdLst>
                  <a:gd name="T0" fmla="*/ 3362452 w 8366342"/>
                  <a:gd name="T1" fmla="*/ 1332984 h 7476179"/>
                  <a:gd name="T2" fmla="*/ 2532541 w 8366342"/>
                  <a:gd name="T3" fmla="*/ 1717187 h 7476179"/>
                  <a:gd name="T4" fmla="*/ 1978075 w 8366342"/>
                  <a:gd name="T5" fmla="*/ 1869621 h 7476179"/>
                  <a:gd name="T6" fmla="*/ 1665186 w 8366342"/>
                  <a:gd name="T7" fmla="*/ 2291268 h 7476179"/>
                  <a:gd name="T8" fmla="*/ 1255134 w 8366342"/>
                  <a:gd name="T9" fmla="*/ 2716490 h 7476179"/>
                  <a:gd name="T10" fmla="*/ 1374251 w 8366342"/>
                  <a:gd name="T11" fmla="*/ 3679274 h 7476179"/>
                  <a:gd name="T12" fmla="*/ 867356 w 8366342"/>
                  <a:gd name="T13" fmla="*/ 4518067 h 7476179"/>
                  <a:gd name="T14" fmla="*/ 427880 w 8366342"/>
                  <a:gd name="T15" fmla="*/ 5286473 h 7476179"/>
                  <a:gd name="T16" fmla="*/ 198419 w 8366342"/>
                  <a:gd name="T17" fmla="*/ 6082841 h 7476179"/>
                  <a:gd name="T18" fmla="*/ 845360 w 8366342"/>
                  <a:gd name="T19" fmla="*/ 6456038 h 7476179"/>
                  <a:gd name="T20" fmla="*/ 1072973 w 8366342"/>
                  <a:gd name="T21" fmla="*/ 7104985 h 7476179"/>
                  <a:gd name="T22" fmla="*/ 1377251 w 8366342"/>
                  <a:gd name="T23" fmla="*/ 6552608 h 7476179"/>
                  <a:gd name="T24" fmla="*/ 2189044 w 8366342"/>
                  <a:gd name="T25" fmla="*/ 6577563 h 7476179"/>
                  <a:gd name="T26" fmla="*/ 2936360 w 8366342"/>
                  <a:gd name="T27" fmla="*/ 6391852 h 7476179"/>
                  <a:gd name="T28" fmla="*/ 3874437 w 8366342"/>
                  <a:gd name="T29" fmla="*/ 6265568 h 7476179"/>
                  <a:gd name="T30" fmla="*/ 3325055 w 8366342"/>
                  <a:gd name="T31" fmla="*/ 5930080 h 7476179"/>
                  <a:gd name="T32" fmla="*/ 3035309 w 8366342"/>
                  <a:gd name="T33" fmla="*/ 5155441 h 7476179"/>
                  <a:gd name="T34" fmla="*/ 3009460 w 8366342"/>
                  <a:gd name="T35" fmla="*/ 4707945 h 7476179"/>
                  <a:gd name="T36" fmla="*/ 2698358 w 8366342"/>
                  <a:gd name="T37" fmla="*/ 4036702 h 7476179"/>
                  <a:gd name="T38" fmla="*/ 3294714 w 8366342"/>
                  <a:gd name="T39" fmla="*/ 3935964 h 7476179"/>
                  <a:gd name="T40" fmla="*/ 4029251 w 8366342"/>
                  <a:gd name="T41" fmla="*/ 3624862 h 7476179"/>
                  <a:gd name="T42" fmla="*/ 4460706 w 8366342"/>
                  <a:gd name="T43" fmla="*/ 3418943 h 7476179"/>
                  <a:gd name="T44" fmla="*/ 5096293 w 8366342"/>
                  <a:gd name="T45" fmla="*/ 4015298 h 7476179"/>
                  <a:gd name="T46" fmla="*/ 5365505 w 8366342"/>
                  <a:gd name="T47" fmla="*/ 4654460 h 7476179"/>
                  <a:gd name="T48" fmla="*/ 5650759 w 8366342"/>
                  <a:gd name="T49" fmla="*/ 5003006 h 7476179"/>
                  <a:gd name="T50" fmla="*/ 5524173 w 8366342"/>
                  <a:gd name="T51" fmla="*/ 5411270 h 7476179"/>
                  <a:gd name="T52" fmla="*/ 5122142 w 8366342"/>
                  <a:gd name="T53" fmla="*/ 5832917 h 7476179"/>
                  <a:gd name="T54" fmla="*/ 4486554 w 8366342"/>
                  <a:gd name="T55" fmla="*/ 6048644 h 7476179"/>
                  <a:gd name="T56" fmla="*/ 4312426 w 8366342"/>
                  <a:gd name="T57" fmla="*/ 6485752 h 7476179"/>
                  <a:gd name="T58" fmla="*/ 4740608 w 8366342"/>
                  <a:gd name="T59" fmla="*/ 6891648 h 7476179"/>
                  <a:gd name="T60" fmla="*/ 5728581 w 8366342"/>
                  <a:gd name="T61" fmla="*/ 7476179 h 7476179"/>
                  <a:gd name="T62" fmla="*/ 6717801 w 8366342"/>
                  <a:gd name="T63" fmla="*/ 7107074 h 7476179"/>
                  <a:gd name="T64" fmla="*/ 7378350 w 8366342"/>
                  <a:gd name="T65" fmla="*/ 6899194 h 7476179"/>
                  <a:gd name="T66" fmla="*/ 7398551 w 8366342"/>
                  <a:gd name="T67" fmla="*/ 6312518 h 7476179"/>
                  <a:gd name="T68" fmla="*/ 7091604 w 8366342"/>
                  <a:gd name="T69" fmla="*/ 6062619 h 7476179"/>
                  <a:gd name="T70" fmla="*/ 7351311 w 8366342"/>
                  <a:gd name="T71" fmla="*/ 5703963 h 7476179"/>
                  <a:gd name="T72" fmla="*/ 7697779 w 8366342"/>
                  <a:gd name="T73" fmla="*/ 5260925 h 7476179"/>
                  <a:gd name="T74" fmla="*/ 7794350 w 8366342"/>
                  <a:gd name="T75" fmla="*/ 4421798 h 7476179"/>
                  <a:gd name="T76" fmla="*/ 7826733 w 8366342"/>
                  <a:gd name="T77" fmla="*/ 3899715 h 7476179"/>
                  <a:gd name="T78" fmla="*/ 7442832 w 8366342"/>
                  <a:gd name="T79" fmla="*/ 3367535 h 7476179"/>
                  <a:gd name="T80" fmla="*/ 7868634 w 8366342"/>
                  <a:gd name="T81" fmla="*/ 3318205 h 7476179"/>
                  <a:gd name="T82" fmla="*/ 8366342 w 8366342"/>
                  <a:gd name="T83" fmla="*/ 2885265 h 7476179"/>
                  <a:gd name="T84" fmla="*/ 7148362 w 8366342"/>
                  <a:gd name="T85" fmla="*/ 724740 h 7476179"/>
                  <a:gd name="T86" fmla="*/ 7167084 w 8366342"/>
                  <a:gd name="T87" fmla="*/ 117997 h 7476179"/>
                  <a:gd name="T88" fmla="*/ 6693740 w 8366342"/>
                  <a:gd name="T89" fmla="*/ 28855 h 7476179"/>
                  <a:gd name="T90" fmla="*/ 6477406 w 8366342"/>
                  <a:gd name="T91" fmla="*/ 574082 h 7476179"/>
                  <a:gd name="T92" fmla="*/ 5442181 w 8366342"/>
                  <a:gd name="T93" fmla="*/ 502200 h 7476179"/>
                  <a:gd name="T94" fmla="*/ 4593525 w 8366342"/>
                  <a:gd name="T95" fmla="*/ 982650 h 7476179"/>
                  <a:gd name="T96" fmla="*/ 3649269 w 8366342"/>
                  <a:gd name="T97" fmla="*/ 1808088 h 7476179"/>
                  <a:gd name="T98" fmla="*/ 0 w 8366342"/>
                  <a:gd name="T99" fmla="*/ 0 h 7476179"/>
                  <a:gd name="T100" fmla="*/ 8366342 w 8366342"/>
                  <a:gd name="T101" fmla="*/ 7476179 h 7476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T98" t="T99" r="T100" b="T101"/>
                <a:pathLst>
                  <a:path w="8366342" h="7476179">
                    <a:moveTo>
                      <a:pt x="3649269" y="1808088"/>
                    </a:moveTo>
                    <a:lnTo>
                      <a:pt x="3362452" y="1332984"/>
                    </a:lnTo>
                    <a:lnTo>
                      <a:pt x="2817794" y="1798308"/>
                    </a:lnTo>
                    <a:lnTo>
                      <a:pt x="2532541" y="1717187"/>
                    </a:lnTo>
                    <a:lnTo>
                      <a:pt x="2237480" y="2030076"/>
                    </a:lnTo>
                    <a:lnTo>
                      <a:pt x="1978075" y="1869621"/>
                    </a:lnTo>
                    <a:lnTo>
                      <a:pt x="1764135" y="1879429"/>
                    </a:lnTo>
                    <a:lnTo>
                      <a:pt x="1665186" y="2291268"/>
                    </a:lnTo>
                    <a:lnTo>
                      <a:pt x="1494923" y="2683492"/>
                    </a:lnTo>
                    <a:lnTo>
                      <a:pt x="1255134" y="2716490"/>
                    </a:lnTo>
                    <a:lnTo>
                      <a:pt x="1297024" y="3201428"/>
                    </a:lnTo>
                    <a:lnTo>
                      <a:pt x="1374251" y="3679274"/>
                    </a:lnTo>
                    <a:lnTo>
                      <a:pt x="867356" y="4187349"/>
                    </a:lnTo>
                    <a:lnTo>
                      <a:pt x="867356" y="4518067"/>
                    </a:lnTo>
                    <a:lnTo>
                      <a:pt x="964518" y="4785492"/>
                    </a:lnTo>
                    <a:lnTo>
                      <a:pt x="427880" y="5286473"/>
                    </a:lnTo>
                    <a:lnTo>
                      <a:pt x="0" y="5529836"/>
                    </a:lnTo>
                    <a:lnTo>
                      <a:pt x="198419" y="6082841"/>
                    </a:lnTo>
                    <a:lnTo>
                      <a:pt x="481365" y="6330044"/>
                    </a:lnTo>
                    <a:lnTo>
                      <a:pt x="845360" y="6456038"/>
                    </a:lnTo>
                    <a:lnTo>
                      <a:pt x="728884" y="6852127"/>
                    </a:lnTo>
                    <a:lnTo>
                      <a:pt x="1072973" y="7104985"/>
                    </a:lnTo>
                    <a:lnTo>
                      <a:pt x="1402206" y="6904126"/>
                    </a:lnTo>
                    <a:lnTo>
                      <a:pt x="1377251" y="6552608"/>
                    </a:lnTo>
                    <a:lnTo>
                      <a:pt x="1927416" y="6404446"/>
                    </a:lnTo>
                    <a:lnTo>
                      <a:pt x="2189044" y="6577563"/>
                    </a:lnTo>
                    <a:lnTo>
                      <a:pt x="2483803" y="6124137"/>
                    </a:lnTo>
                    <a:lnTo>
                      <a:pt x="2936360" y="6391852"/>
                    </a:lnTo>
                    <a:lnTo>
                      <a:pt x="3662537" y="6455470"/>
                    </a:lnTo>
                    <a:lnTo>
                      <a:pt x="3874437" y="6265568"/>
                    </a:lnTo>
                    <a:lnTo>
                      <a:pt x="3799836" y="5933991"/>
                    </a:lnTo>
                    <a:lnTo>
                      <a:pt x="3325055" y="5930080"/>
                    </a:lnTo>
                    <a:lnTo>
                      <a:pt x="2689468" y="5377401"/>
                    </a:lnTo>
                    <a:lnTo>
                      <a:pt x="3035309" y="5155441"/>
                    </a:lnTo>
                    <a:lnTo>
                      <a:pt x="3160108" y="4870188"/>
                    </a:lnTo>
                    <a:lnTo>
                      <a:pt x="3009460" y="4707945"/>
                    </a:lnTo>
                    <a:lnTo>
                      <a:pt x="3053138" y="4395056"/>
                    </a:lnTo>
                    <a:lnTo>
                      <a:pt x="2698358" y="4036702"/>
                    </a:lnTo>
                    <a:lnTo>
                      <a:pt x="2997865" y="3714004"/>
                    </a:lnTo>
                    <a:lnTo>
                      <a:pt x="3294714" y="3935964"/>
                    </a:lnTo>
                    <a:lnTo>
                      <a:pt x="3716361" y="3963601"/>
                    </a:lnTo>
                    <a:lnTo>
                      <a:pt x="4029251" y="3624862"/>
                    </a:lnTo>
                    <a:lnTo>
                      <a:pt x="4173665" y="3676560"/>
                    </a:lnTo>
                    <a:lnTo>
                      <a:pt x="4460706" y="3418943"/>
                    </a:lnTo>
                    <a:lnTo>
                      <a:pt x="4971494" y="3595439"/>
                    </a:lnTo>
                    <a:lnTo>
                      <a:pt x="5096293" y="4015298"/>
                    </a:lnTo>
                    <a:lnTo>
                      <a:pt x="5207102" y="4366247"/>
                    </a:lnTo>
                    <a:lnTo>
                      <a:pt x="5365505" y="4654460"/>
                    </a:lnTo>
                    <a:lnTo>
                      <a:pt x="5597274" y="4646439"/>
                    </a:lnTo>
                    <a:lnTo>
                      <a:pt x="5650759" y="5003006"/>
                    </a:lnTo>
                    <a:lnTo>
                      <a:pt x="5845083" y="5260623"/>
                    </a:lnTo>
                    <a:lnTo>
                      <a:pt x="5524173" y="5411270"/>
                    </a:lnTo>
                    <a:lnTo>
                      <a:pt x="5274576" y="5466542"/>
                    </a:lnTo>
                    <a:lnTo>
                      <a:pt x="5122142" y="5832917"/>
                    </a:lnTo>
                    <a:lnTo>
                      <a:pt x="4888586" y="6082513"/>
                    </a:lnTo>
                    <a:lnTo>
                      <a:pt x="4486554" y="6048644"/>
                    </a:lnTo>
                    <a:lnTo>
                      <a:pt x="4176622" y="6381777"/>
                    </a:lnTo>
                    <a:lnTo>
                      <a:pt x="4312426" y="6485752"/>
                    </a:lnTo>
                    <a:lnTo>
                      <a:pt x="4416362" y="6802914"/>
                    </a:lnTo>
                    <a:lnTo>
                      <a:pt x="4740608" y="6891648"/>
                    </a:lnTo>
                    <a:lnTo>
                      <a:pt x="5071577" y="7420986"/>
                    </a:lnTo>
                    <a:lnTo>
                      <a:pt x="5728581" y="7476179"/>
                    </a:lnTo>
                    <a:lnTo>
                      <a:pt x="6398667" y="6903836"/>
                    </a:lnTo>
                    <a:lnTo>
                      <a:pt x="6717801" y="7107074"/>
                    </a:lnTo>
                    <a:lnTo>
                      <a:pt x="7019699" y="6921362"/>
                    </a:lnTo>
                    <a:lnTo>
                      <a:pt x="7378350" y="6899194"/>
                    </a:lnTo>
                    <a:lnTo>
                      <a:pt x="7559016" y="6602286"/>
                    </a:lnTo>
                    <a:lnTo>
                      <a:pt x="7398551" y="6312518"/>
                    </a:lnTo>
                    <a:lnTo>
                      <a:pt x="7034556" y="6426614"/>
                    </a:lnTo>
                    <a:lnTo>
                      <a:pt x="7091604" y="6062619"/>
                    </a:lnTo>
                    <a:lnTo>
                      <a:pt x="6915410" y="5872149"/>
                    </a:lnTo>
                    <a:lnTo>
                      <a:pt x="7351311" y="5703963"/>
                    </a:lnTo>
                    <a:lnTo>
                      <a:pt x="7502260" y="5332540"/>
                    </a:lnTo>
                    <a:lnTo>
                      <a:pt x="7697779" y="5260925"/>
                    </a:lnTo>
                    <a:lnTo>
                      <a:pt x="7949636" y="5069420"/>
                    </a:lnTo>
                    <a:lnTo>
                      <a:pt x="7794350" y="4421798"/>
                    </a:lnTo>
                    <a:lnTo>
                      <a:pt x="7573875" y="4134757"/>
                    </a:lnTo>
                    <a:lnTo>
                      <a:pt x="7826733" y="3899715"/>
                    </a:lnTo>
                    <a:lnTo>
                      <a:pt x="7514737" y="3649817"/>
                    </a:lnTo>
                    <a:lnTo>
                      <a:pt x="7442832" y="3367535"/>
                    </a:lnTo>
                    <a:lnTo>
                      <a:pt x="7700159" y="3152109"/>
                    </a:lnTo>
                    <a:lnTo>
                      <a:pt x="7868634" y="3318205"/>
                    </a:lnTo>
                    <a:lnTo>
                      <a:pt x="8242437" y="3261447"/>
                    </a:lnTo>
                    <a:lnTo>
                      <a:pt x="8366342" y="2885265"/>
                    </a:lnTo>
                    <a:lnTo>
                      <a:pt x="7643108" y="1128837"/>
                    </a:lnTo>
                    <a:lnTo>
                      <a:pt x="7148362" y="724740"/>
                    </a:lnTo>
                    <a:lnTo>
                      <a:pt x="7205411" y="417794"/>
                    </a:lnTo>
                    <a:cubicBezTo>
                      <a:pt x="7206602" y="339741"/>
                      <a:pt x="7165893" y="196050"/>
                      <a:pt x="7167084" y="117997"/>
                    </a:cubicBezTo>
                    <a:lnTo>
                      <a:pt x="6907680" y="143846"/>
                    </a:lnTo>
                    <a:lnTo>
                      <a:pt x="6693740" y="28855"/>
                    </a:lnTo>
                    <a:lnTo>
                      <a:pt x="6427496" y="0"/>
                    </a:lnTo>
                    <a:lnTo>
                      <a:pt x="6477406" y="574082"/>
                    </a:lnTo>
                    <a:lnTo>
                      <a:pt x="5985052" y="528049"/>
                    </a:lnTo>
                    <a:lnTo>
                      <a:pt x="5442181" y="502200"/>
                    </a:lnTo>
                    <a:lnTo>
                      <a:pt x="5217275" y="274449"/>
                    </a:lnTo>
                    <a:lnTo>
                      <a:pt x="4593525" y="982650"/>
                    </a:lnTo>
                    <a:lnTo>
                      <a:pt x="4546273" y="1875854"/>
                    </a:lnTo>
                    <a:lnTo>
                      <a:pt x="3649269" y="1808088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>
                  <a:defRPr/>
                </a:pPr>
                <a:endParaRPr lang="zh-CN" altLang="en-US" kern="0">
                  <a:solidFill>
                    <a:sysClr val="windowText" lastClr="000000"/>
                  </a:solidFill>
                  <a:latin typeface="Calibri"/>
                  <a:ea typeface="宋体" panose="02010600030101010101" pitchFamily="2" charset="-122"/>
                </a:endParaRPr>
              </a:p>
            </p:txBody>
          </p:sp>
          <p:sp>
            <p:nvSpPr>
              <p:cNvPr id="78" name="任意多边形 40">
                <a:extLst>
                  <a:ext uri="{FF2B5EF4-FFF2-40B4-BE49-F238E27FC236}">
                    <a16:creationId xmlns:a16="http://schemas.microsoft.com/office/drawing/2014/main" id="{4A180A01-5049-47FB-A97C-1B3C2F7E96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04963" y="3240088"/>
                <a:ext cx="307975" cy="377825"/>
              </a:xfrm>
              <a:custGeom>
                <a:avLst/>
                <a:gdLst>
                  <a:gd name="T0" fmla="*/ 11 w 3598691"/>
                  <a:gd name="T1" fmla="*/ 25 h 4419706"/>
                  <a:gd name="T2" fmla="*/ 15 w 3598691"/>
                  <a:gd name="T3" fmla="*/ 32 h 4419706"/>
                  <a:gd name="T4" fmla="*/ 24 w 3598691"/>
                  <a:gd name="T5" fmla="*/ 32 h 4419706"/>
                  <a:gd name="T6" fmla="*/ 33 w 3598691"/>
                  <a:gd name="T7" fmla="*/ 50 h 4419706"/>
                  <a:gd name="T8" fmla="*/ 25 w 3598691"/>
                  <a:gd name="T9" fmla="*/ 57 h 4419706"/>
                  <a:gd name="T10" fmla="*/ 10 w 3598691"/>
                  <a:gd name="T11" fmla="*/ 54 h 4419706"/>
                  <a:gd name="T12" fmla="*/ 0 w 3598691"/>
                  <a:gd name="T13" fmla="*/ 64 h 4419706"/>
                  <a:gd name="T14" fmla="*/ 8 w 3598691"/>
                  <a:gd name="T15" fmla="*/ 70 h 4419706"/>
                  <a:gd name="T16" fmla="*/ 24 w 3598691"/>
                  <a:gd name="T17" fmla="*/ 74 h 4419706"/>
                  <a:gd name="T18" fmla="*/ 44 w 3598691"/>
                  <a:gd name="T19" fmla="*/ 82 h 4419706"/>
                  <a:gd name="T20" fmla="*/ 45 w 3598691"/>
                  <a:gd name="T21" fmla="*/ 101 h 4419706"/>
                  <a:gd name="T22" fmla="*/ 64 w 3598691"/>
                  <a:gd name="T23" fmla="*/ 102 h 4419706"/>
                  <a:gd name="T24" fmla="*/ 73 w 3598691"/>
                  <a:gd name="T25" fmla="*/ 90 h 4419706"/>
                  <a:gd name="T26" fmla="*/ 82 w 3598691"/>
                  <a:gd name="T27" fmla="*/ 79 h 4419706"/>
                  <a:gd name="T28" fmla="*/ 83 w 3598691"/>
                  <a:gd name="T29" fmla="*/ 65 h 4419706"/>
                  <a:gd name="T30" fmla="*/ 77 w 3598691"/>
                  <a:gd name="T31" fmla="*/ 56 h 4419706"/>
                  <a:gd name="T32" fmla="*/ 68 w 3598691"/>
                  <a:gd name="T33" fmla="*/ 44 h 4419706"/>
                  <a:gd name="T34" fmla="*/ 70 w 3598691"/>
                  <a:gd name="T35" fmla="*/ 38 h 4419706"/>
                  <a:gd name="T36" fmla="*/ 69 w 3598691"/>
                  <a:gd name="T37" fmla="*/ 29 h 4419706"/>
                  <a:gd name="T38" fmla="*/ 60 w 3598691"/>
                  <a:gd name="T39" fmla="*/ 26 h 4419706"/>
                  <a:gd name="T40" fmla="*/ 52 w 3598691"/>
                  <a:gd name="T41" fmla="*/ 16 h 4419706"/>
                  <a:gd name="T42" fmla="*/ 40 w 3598691"/>
                  <a:gd name="T43" fmla="*/ 4 h 4419706"/>
                  <a:gd name="T44" fmla="*/ 31 w 3598691"/>
                  <a:gd name="T45" fmla="*/ 0 h 4419706"/>
                  <a:gd name="T46" fmla="*/ 17 w 3598691"/>
                  <a:gd name="T47" fmla="*/ 12 h 4419706"/>
                  <a:gd name="T48" fmla="*/ 11 w 3598691"/>
                  <a:gd name="T49" fmla="*/ 25 h 441970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3598691"/>
                  <a:gd name="T76" fmla="*/ 0 h 4419706"/>
                  <a:gd name="T77" fmla="*/ 3598691 w 3598691"/>
                  <a:gd name="T78" fmla="*/ 4419706 h 441970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3598691" h="4419706">
                    <a:moveTo>
                      <a:pt x="466281" y="1096112"/>
                    </a:moveTo>
                    <a:lnTo>
                      <a:pt x="636470" y="1385294"/>
                    </a:lnTo>
                    <a:lnTo>
                      <a:pt x="1037607" y="1379955"/>
                    </a:lnTo>
                    <a:lnTo>
                      <a:pt x="1433405" y="2165284"/>
                    </a:lnTo>
                    <a:lnTo>
                      <a:pt x="1089316" y="2467471"/>
                    </a:lnTo>
                    <a:lnTo>
                      <a:pt x="420753" y="2356044"/>
                    </a:lnTo>
                    <a:lnTo>
                      <a:pt x="0" y="2793744"/>
                    </a:lnTo>
                    <a:lnTo>
                      <a:pt x="342924" y="3055839"/>
                    </a:lnTo>
                    <a:lnTo>
                      <a:pt x="1042076" y="3234113"/>
                    </a:lnTo>
                    <a:lnTo>
                      <a:pt x="1913006" y="3568394"/>
                    </a:lnTo>
                    <a:lnTo>
                      <a:pt x="1945099" y="4380477"/>
                    </a:lnTo>
                    <a:lnTo>
                      <a:pt x="2771459" y="4419706"/>
                    </a:lnTo>
                    <a:lnTo>
                      <a:pt x="3167257" y="3929427"/>
                    </a:lnTo>
                    <a:lnTo>
                      <a:pt x="3563236" y="3417003"/>
                    </a:lnTo>
                    <a:lnTo>
                      <a:pt x="3598691" y="2813357"/>
                    </a:lnTo>
                    <a:lnTo>
                      <a:pt x="3331266" y="2446983"/>
                    </a:lnTo>
                    <a:lnTo>
                      <a:pt x="2930129" y="1924610"/>
                    </a:lnTo>
                    <a:lnTo>
                      <a:pt x="3020197" y="1667110"/>
                    </a:lnTo>
                    <a:lnTo>
                      <a:pt x="3002322" y="1267599"/>
                    </a:lnTo>
                    <a:lnTo>
                      <a:pt x="2601185" y="1136556"/>
                    </a:lnTo>
                    <a:lnTo>
                      <a:pt x="2269573" y="703325"/>
                    </a:lnTo>
                    <a:lnTo>
                      <a:pt x="1722245" y="158667"/>
                    </a:lnTo>
                    <a:lnTo>
                      <a:pt x="1323778" y="0"/>
                    </a:lnTo>
                    <a:lnTo>
                      <a:pt x="737218" y="519703"/>
                    </a:lnTo>
                    <a:lnTo>
                      <a:pt x="466281" y="1096112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>
                  <a:defRPr/>
                </a:pPr>
                <a:endParaRPr lang="zh-CN" altLang="en-US" kern="0">
                  <a:solidFill>
                    <a:sysClr val="windowText" lastClr="000000"/>
                  </a:solidFill>
                  <a:latin typeface="Calibri"/>
                  <a:ea typeface="宋体" panose="02010600030101010101" pitchFamily="2" charset="-122"/>
                </a:endParaRPr>
              </a:p>
            </p:txBody>
          </p:sp>
          <p:sp>
            <p:nvSpPr>
              <p:cNvPr id="79" name="任意多边形 41">
                <a:extLst>
                  <a:ext uri="{FF2B5EF4-FFF2-40B4-BE49-F238E27FC236}">
                    <a16:creationId xmlns:a16="http://schemas.microsoft.com/office/drawing/2014/main" id="{FEF599AC-83D7-42FC-9E2E-B8F97D7454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3350" y="2025651"/>
                <a:ext cx="1060450" cy="823913"/>
              </a:xfrm>
              <a:custGeom>
                <a:avLst/>
                <a:gdLst>
                  <a:gd name="T0" fmla="*/ 974637 w 12399167"/>
                  <a:gd name="T1" fmla="*/ 8580578 h 9646391"/>
                  <a:gd name="T2" fmla="*/ 1211304 w 12399167"/>
                  <a:gd name="T3" fmla="*/ 7869656 h 9646391"/>
                  <a:gd name="T4" fmla="*/ 1205965 w 12399167"/>
                  <a:gd name="T5" fmla="*/ 7029949 h 9646391"/>
                  <a:gd name="T6" fmla="*/ 581103 w 12399167"/>
                  <a:gd name="T7" fmla="*/ 6725092 h 9646391"/>
                  <a:gd name="T8" fmla="*/ 291451 w 12399167"/>
                  <a:gd name="T9" fmla="*/ 6457667 h 9646391"/>
                  <a:gd name="T10" fmla="*/ 194301 w 12399167"/>
                  <a:gd name="T11" fmla="*/ 5959379 h 9646391"/>
                  <a:gd name="T12" fmla="*/ 76664 w 12399167"/>
                  <a:gd name="T13" fmla="*/ 5441475 h 9646391"/>
                  <a:gd name="T14" fmla="*/ 749408 w 12399167"/>
                  <a:gd name="T15" fmla="*/ 5407990 h 9646391"/>
                  <a:gd name="T16" fmla="*/ 1167491 w 12399167"/>
                  <a:gd name="T17" fmla="*/ 4850855 h 9646391"/>
                  <a:gd name="T18" fmla="*/ 1845862 w 12399167"/>
                  <a:gd name="T19" fmla="*/ 4573622 h 9646391"/>
                  <a:gd name="T20" fmla="*/ 2605365 w 12399167"/>
                  <a:gd name="T21" fmla="*/ 4121645 h 9646391"/>
                  <a:gd name="T22" fmla="*/ 3204402 w 12399167"/>
                  <a:gd name="T23" fmla="*/ 3146426 h 9646391"/>
                  <a:gd name="T24" fmla="*/ 3870295 w 12399167"/>
                  <a:gd name="T25" fmla="*/ 2869193 h 9646391"/>
                  <a:gd name="T26" fmla="*/ 3971622 w 12399167"/>
                  <a:gd name="T27" fmla="*/ 2380596 h 9646391"/>
                  <a:gd name="T28" fmla="*/ 5127214 w 12399167"/>
                  <a:gd name="T29" fmla="*/ 2920898 h 9646391"/>
                  <a:gd name="T30" fmla="*/ 5811675 w 12399167"/>
                  <a:gd name="T31" fmla="*/ 2972373 h 9646391"/>
                  <a:gd name="T32" fmla="*/ 6089956 w 12399167"/>
                  <a:gd name="T33" fmla="*/ 1646451 h 9646391"/>
                  <a:gd name="T34" fmla="*/ 7129652 w 12399167"/>
                  <a:gd name="T35" fmla="*/ 1973304 h 9646391"/>
                  <a:gd name="T36" fmla="*/ 7770590 w 12399167"/>
                  <a:gd name="T37" fmla="*/ 2168823 h 9646391"/>
                  <a:gd name="T38" fmla="*/ 7945616 w 12399167"/>
                  <a:gd name="T39" fmla="*/ 1492133 h 9646391"/>
                  <a:gd name="T40" fmla="*/ 8243052 w 12399167"/>
                  <a:gd name="T41" fmla="*/ 1064941 h 9646391"/>
                  <a:gd name="T42" fmla="*/ 8507808 w 12399167"/>
                  <a:gd name="T43" fmla="*/ 478382 h 9646391"/>
                  <a:gd name="T44" fmla="*/ 9393886 w 12399167"/>
                  <a:gd name="T45" fmla="*/ 362196 h 9646391"/>
                  <a:gd name="T46" fmla="*/ 10324534 w 12399167"/>
                  <a:gd name="T47" fmla="*/ 589809 h 9646391"/>
                  <a:gd name="T48" fmla="*/ 10824560 w 12399167"/>
                  <a:gd name="T49" fmla="*/ 555100 h 9646391"/>
                  <a:gd name="T50" fmla="*/ 11232607 w 12399167"/>
                  <a:gd name="T51" fmla="*/ 1176368 h 9646391"/>
                  <a:gd name="T52" fmla="*/ 12092162 w 12399167"/>
                  <a:gd name="T53" fmla="*/ 2253674 h 9646391"/>
                  <a:gd name="T54" fmla="*/ 11207652 w 12399167"/>
                  <a:gd name="T55" fmla="*/ 2673669 h 9646391"/>
                  <a:gd name="T56" fmla="*/ 10831760 w 12399167"/>
                  <a:gd name="T57" fmla="*/ 2864140 h 9646391"/>
                  <a:gd name="T58" fmla="*/ 10507286 w 12399167"/>
                  <a:gd name="T59" fmla="*/ 3958214 h 9646391"/>
                  <a:gd name="T60" fmla="*/ 10665954 w 12399167"/>
                  <a:gd name="T61" fmla="*/ 4717717 h 9646391"/>
                  <a:gd name="T62" fmla="*/ 9690734 w 12399167"/>
                  <a:gd name="T63" fmla="*/ 5007138 h 9646391"/>
                  <a:gd name="T64" fmla="*/ 9251231 w 12399167"/>
                  <a:gd name="T65" fmla="*/ 5714176 h 9646391"/>
                  <a:gd name="T66" fmla="*/ 9856538 w 12399167"/>
                  <a:gd name="T67" fmla="*/ 6044164 h 9646391"/>
                  <a:gd name="T68" fmla="*/ 10610353 w 12399167"/>
                  <a:gd name="T69" fmla="*/ 6173000 h 9646391"/>
                  <a:gd name="T70" fmla="*/ 10976901 w 12399167"/>
                  <a:gd name="T71" fmla="*/ 7019034 h 9646391"/>
                  <a:gd name="T72" fmla="*/ 10836516 w 12399167"/>
                  <a:gd name="T73" fmla="*/ 7650803 h 9646391"/>
                  <a:gd name="T74" fmla="*/ 11853926 w 12399167"/>
                  <a:gd name="T75" fmla="*/ 6630143 h 9646391"/>
                  <a:gd name="T76" fmla="*/ 12286867 w 12399167"/>
                  <a:gd name="T77" fmla="*/ 7219661 h 9646391"/>
                  <a:gd name="T78" fmla="*/ 11890779 w 12399167"/>
                  <a:gd name="T79" fmla="*/ 7570889 h 9646391"/>
                  <a:gd name="T80" fmla="*/ 11309268 w 12399167"/>
                  <a:gd name="T81" fmla="*/ 8303635 h 9646391"/>
                  <a:gd name="T82" fmla="*/ 10757472 w 12399167"/>
                  <a:gd name="T83" fmla="*/ 8595434 h 9646391"/>
                  <a:gd name="T84" fmla="*/ 10529213 w 12399167"/>
                  <a:gd name="T85" fmla="*/ 9005973 h 9646391"/>
                  <a:gd name="T86" fmla="*/ 10163484 w 12399167"/>
                  <a:gd name="T87" fmla="*/ 8550864 h 9646391"/>
                  <a:gd name="T88" fmla="*/ 9833899 w 12399167"/>
                  <a:gd name="T89" fmla="*/ 9055651 h 9646391"/>
                  <a:gd name="T90" fmla="*/ 8886889 w 12399167"/>
                  <a:gd name="T91" fmla="*/ 9191453 h 9646391"/>
                  <a:gd name="T92" fmla="*/ 8245025 w 12399167"/>
                  <a:gd name="T93" fmla="*/ 9413785 h 9646391"/>
                  <a:gd name="T94" fmla="*/ 7234055 w 12399167"/>
                  <a:gd name="T95" fmla="*/ 9646391 h 9646391"/>
                  <a:gd name="T96" fmla="*/ 6344901 w 12399167"/>
                  <a:gd name="T97" fmla="*/ 9328183 h 9646391"/>
                  <a:gd name="T98" fmla="*/ 6158665 w 12399167"/>
                  <a:gd name="T99" fmla="*/ 8856591 h 9646391"/>
                  <a:gd name="T100" fmla="*/ 5085949 w 12399167"/>
                  <a:gd name="T101" fmla="*/ 8420984 h 9646391"/>
                  <a:gd name="T102" fmla="*/ 4951888 w 12399167"/>
                  <a:gd name="T103" fmla="*/ 8815909 h 9646391"/>
                  <a:gd name="T104" fmla="*/ 4107712 w 12399167"/>
                  <a:gd name="T105" fmla="*/ 9181994 h 9646391"/>
                  <a:gd name="T106" fmla="*/ 2964307 w 12399167"/>
                  <a:gd name="T107" fmla="*/ 9484182 h 9646391"/>
                  <a:gd name="T108" fmla="*/ 2608030 w 12399167"/>
                  <a:gd name="T109" fmla="*/ 9031045 h 9646391"/>
                  <a:gd name="T110" fmla="*/ 1571004 w 12399167"/>
                  <a:gd name="T111" fmla="*/ 8904761 h 9646391"/>
                  <a:gd name="T112" fmla="*/ 0 w 12399167"/>
                  <a:gd name="T113" fmla="*/ 0 h 9646391"/>
                  <a:gd name="T114" fmla="*/ 12399167 w 12399167"/>
                  <a:gd name="T115" fmla="*/ 9646391 h 96463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T112" t="T113" r="T114" b="T115"/>
                <a:pathLst>
                  <a:path w="12399167" h="9646391">
                    <a:moveTo>
                      <a:pt x="1004678" y="8939248"/>
                    </a:moveTo>
                    <a:lnTo>
                      <a:pt x="974637" y="8580578"/>
                    </a:lnTo>
                    <a:lnTo>
                      <a:pt x="961696" y="8120135"/>
                    </a:lnTo>
                    <a:lnTo>
                      <a:pt x="1211304" y="7869656"/>
                    </a:lnTo>
                    <a:lnTo>
                      <a:pt x="1173872" y="7456041"/>
                    </a:lnTo>
                    <a:lnTo>
                      <a:pt x="1205965" y="7029949"/>
                    </a:lnTo>
                    <a:lnTo>
                      <a:pt x="799488" y="6635950"/>
                    </a:lnTo>
                    <a:lnTo>
                      <a:pt x="581103" y="6725092"/>
                    </a:lnTo>
                    <a:lnTo>
                      <a:pt x="142879" y="6775416"/>
                    </a:lnTo>
                    <a:lnTo>
                      <a:pt x="291451" y="6457667"/>
                    </a:lnTo>
                    <a:lnTo>
                      <a:pt x="451918" y="6232143"/>
                    </a:lnTo>
                    <a:lnTo>
                      <a:pt x="194301" y="5959379"/>
                    </a:lnTo>
                    <a:lnTo>
                      <a:pt x="0" y="5919277"/>
                    </a:lnTo>
                    <a:lnTo>
                      <a:pt x="76664" y="5441475"/>
                    </a:lnTo>
                    <a:lnTo>
                      <a:pt x="137893" y="5086186"/>
                    </a:lnTo>
                    <a:lnTo>
                      <a:pt x="749408" y="5407990"/>
                    </a:lnTo>
                    <a:lnTo>
                      <a:pt x="1291396" y="5261800"/>
                    </a:lnTo>
                    <a:lnTo>
                      <a:pt x="1167491" y="4850855"/>
                    </a:lnTo>
                    <a:lnTo>
                      <a:pt x="1536536" y="4729620"/>
                    </a:lnTo>
                    <a:lnTo>
                      <a:pt x="1845862" y="4573622"/>
                    </a:lnTo>
                    <a:lnTo>
                      <a:pt x="2229658" y="4631561"/>
                    </a:lnTo>
                    <a:lnTo>
                      <a:pt x="2605365" y="4121645"/>
                    </a:lnTo>
                    <a:lnTo>
                      <a:pt x="3127738" y="3589465"/>
                    </a:lnTo>
                    <a:lnTo>
                      <a:pt x="3204402" y="3146426"/>
                    </a:lnTo>
                    <a:lnTo>
                      <a:pt x="3392493" y="3270331"/>
                    </a:lnTo>
                    <a:lnTo>
                      <a:pt x="3870295" y="2869193"/>
                    </a:lnTo>
                    <a:lnTo>
                      <a:pt x="3580585" y="2312058"/>
                    </a:lnTo>
                    <a:lnTo>
                      <a:pt x="3971622" y="2380596"/>
                    </a:lnTo>
                    <a:lnTo>
                      <a:pt x="4417040" y="2774998"/>
                    </a:lnTo>
                    <a:lnTo>
                      <a:pt x="5127214" y="2920898"/>
                    </a:lnTo>
                    <a:lnTo>
                      <a:pt x="5365152" y="3051590"/>
                    </a:lnTo>
                    <a:lnTo>
                      <a:pt x="5811675" y="2972373"/>
                    </a:lnTo>
                    <a:lnTo>
                      <a:pt x="5859673" y="1913586"/>
                    </a:lnTo>
                    <a:lnTo>
                      <a:pt x="6089956" y="1646451"/>
                    </a:lnTo>
                    <a:lnTo>
                      <a:pt x="6763448" y="1538330"/>
                    </a:lnTo>
                    <a:lnTo>
                      <a:pt x="7129652" y="1973304"/>
                    </a:lnTo>
                    <a:lnTo>
                      <a:pt x="7325172" y="2339968"/>
                    </a:lnTo>
                    <a:lnTo>
                      <a:pt x="7770590" y="2168823"/>
                    </a:lnTo>
                    <a:lnTo>
                      <a:pt x="7753063" y="1827114"/>
                    </a:lnTo>
                    <a:lnTo>
                      <a:pt x="7945616" y="1492133"/>
                    </a:lnTo>
                    <a:lnTo>
                      <a:pt x="8270387" y="1394173"/>
                    </a:lnTo>
                    <a:lnTo>
                      <a:pt x="8243052" y="1064941"/>
                    </a:lnTo>
                    <a:lnTo>
                      <a:pt x="8688761" y="785329"/>
                    </a:lnTo>
                    <a:lnTo>
                      <a:pt x="8507808" y="478382"/>
                    </a:lnTo>
                    <a:lnTo>
                      <a:pt x="8911325" y="0"/>
                    </a:lnTo>
                    <a:lnTo>
                      <a:pt x="9393886" y="362196"/>
                    </a:lnTo>
                    <a:lnTo>
                      <a:pt x="9770068" y="607335"/>
                    </a:lnTo>
                    <a:lnTo>
                      <a:pt x="10324534" y="589809"/>
                    </a:lnTo>
                    <a:lnTo>
                      <a:pt x="10476351" y="720269"/>
                    </a:lnTo>
                    <a:lnTo>
                      <a:pt x="10824560" y="555100"/>
                    </a:lnTo>
                    <a:lnTo>
                      <a:pt x="11212701" y="869131"/>
                    </a:lnTo>
                    <a:lnTo>
                      <a:pt x="11232607" y="1176368"/>
                    </a:lnTo>
                    <a:lnTo>
                      <a:pt x="11358601" y="1644071"/>
                    </a:lnTo>
                    <a:lnTo>
                      <a:pt x="12092162" y="2253674"/>
                    </a:lnTo>
                    <a:lnTo>
                      <a:pt x="11668217" y="2517671"/>
                    </a:lnTo>
                    <a:lnTo>
                      <a:pt x="11207652" y="2673669"/>
                    </a:lnTo>
                    <a:lnTo>
                      <a:pt x="10903085" y="2651094"/>
                    </a:lnTo>
                    <a:lnTo>
                      <a:pt x="10831760" y="2864140"/>
                    </a:lnTo>
                    <a:lnTo>
                      <a:pt x="10549478" y="3203180"/>
                    </a:lnTo>
                    <a:lnTo>
                      <a:pt x="10507286" y="3958214"/>
                    </a:lnTo>
                    <a:lnTo>
                      <a:pt x="11007954" y="4413440"/>
                    </a:lnTo>
                    <a:lnTo>
                      <a:pt x="10665954" y="4717717"/>
                    </a:lnTo>
                    <a:lnTo>
                      <a:pt x="10200629" y="4972665"/>
                    </a:lnTo>
                    <a:lnTo>
                      <a:pt x="9690734" y="5007138"/>
                    </a:lnTo>
                    <a:lnTo>
                      <a:pt x="9505313" y="5351227"/>
                    </a:lnTo>
                    <a:lnTo>
                      <a:pt x="9251231" y="5714176"/>
                    </a:lnTo>
                    <a:lnTo>
                      <a:pt x="9720738" y="5836167"/>
                    </a:lnTo>
                    <a:lnTo>
                      <a:pt x="9856538" y="6044164"/>
                    </a:lnTo>
                    <a:lnTo>
                      <a:pt x="10260055" y="6358539"/>
                    </a:lnTo>
                    <a:lnTo>
                      <a:pt x="10610353" y="6173000"/>
                    </a:lnTo>
                    <a:lnTo>
                      <a:pt x="10742615" y="6514247"/>
                    </a:lnTo>
                    <a:lnTo>
                      <a:pt x="10976901" y="7019034"/>
                    </a:lnTo>
                    <a:lnTo>
                      <a:pt x="10581568" y="7489466"/>
                    </a:lnTo>
                    <a:lnTo>
                      <a:pt x="10836516" y="7650803"/>
                    </a:lnTo>
                    <a:lnTo>
                      <a:pt x="11539551" y="6585862"/>
                    </a:lnTo>
                    <a:lnTo>
                      <a:pt x="11853926" y="6630143"/>
                    </a:lnTo>
                    <a:lnTo>
                      <a:pt x="12054205" y="6942429"/>
                    </a:lnTo>
                    <a:lnTo>
                      <a:pt x="12286867" y="7219661"/>
                    </a:lnTo>
                    <a:lnTo>
                      <a:pt x="12399167" y="7447565"/>
                    </a:lnTo>
                    <a:lnTo>
                      <a:pt x="11890779" y="7570889"/>
                    </a:lnTo>
                    <a:lnTo>
                      <a:pt x="11854280" y="8113577"/>
                    </a:lnTo>
                    <a:lnTo>
                      <a:pt x="11309268" y="8303635"/>
                    </a:lnTo>
                    <a:lnTo>
                      <a:pt x="10962800" y="8325630"/>
                    </a:lnTo>
                    <a:lnTo>
                      <a:pt x="10757472" y="8595434"/>
                    </a:lnTo>
                    <a:lnTo>
                      <a:pt x="10651094" y="8900002"/>
                    </a:lnTo>
                    <a:lnTo>
                      <a:pt x="10529213" y="9005973"/>
                    </a:lnTo>
                    <a:lnTo>
                      <a:pt x="10359004" y="8699433"/>
                    </a:lnTo>
                    <a:lnTo>
                      <a:pt x="10163484" y="8550864"/>
                    </a:lnTo>
                    <a:lnTo>
                      <a:pt x="9886542" y="8701813"/>
                    </a:lnTo>
                    <a:lnTo>
                      <a:pt x="9833899" y="9055651"/>
                    </a:lnTo>
                    <a:lnTo>
                      <a:pt x="9156172" y="9008759"/>
                    </a:lnTo>
                    <a:lnTo>
                      <a:pt x="8886889" y="9191453"/>
                    </a:lnTo>
                    <a:lnTo>
                      <a:pt x="8431141" y="9226564"/>
                    </a:lnTo>
                    <a:lnTo>
                      <a:pt x="8245025" y="9413785"/>
                    </a:lnTo>
                    <a:lnTo>
                      <a:pt x="7990772" y="9092852"/>
                    </a:lnTo>
                    <a:lnTo>
                      <a:pt x="7234055" y="9646391"/>
                    </a:lnTo>
                    <a:lnTo>
                      <a:pt x="7080320" y="9367705"/>
                    </a:lnTo>
                    <a:lnTo>
                      <a:pt x="6344901" y="9328183"/>
                    </a:lnTo>
                    <a:lnTo>
                      <a:pt x="6035575" y="9073236"/>
                    </a:lnTo>
                    <a:lnTo>
                      <a:pt x="6158665" y="8856591"/>
                    </a:lnTo>
                    <a:lnTo>
                      <a:pt x="5491207" y="8689625"/>
                    </a:lnTo>
                    <a:lnTo>
                      <a:pt x="5085949" y="8420984"/>
                    </a:lnTo>
                    <a:lnTo>
                      <a:pt x="4798092" y="8593287"/>
                    </a:lnTo>
                    <a:lnTo>
                      <a:pt x="4951888" y="8815909"/>
                    </a:lnTo>
                    <a:lnTo>
                      <a:pt x="4578085" y="8850382"/>
                    </a:lnTo>
                    <a:lnTo>
                      <a:pt x="4107712" y="9181994"/>
                    </a:lnTo>
                    <a:lnTo>
                      <a:pt x="4153153" y="9514188"/>
                    </a:lnTo>
                    <a:lnTo>
                      <a:pt x="2964307" y="9484182"/>
                    </a:lnTo>
                    <a:lnTo>
                      <a:pt x="2887933" y="9142472"/>
                    </a:lnTo>
                    <a:lnTo>
                      <a:pt x="2608030" y="9031045"/>
                    </a:lnTo>
                    <a:lnTo>
                      <a:pt x="1974231" y="9105330"/>
                    </a:lnTo>
                    <a:lnTo>
                      <a:pt x="1571004" y="8904761"/>
                    </a:lnTo>
                    <a:lnTo>
                      <a:pt x="1004678" y="8939248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>
                  <a:defRPr/>
                </a:pPr>
                <a:endParaRPr lang="zh-CN" altLang="en-US" kern="0">
                  <a:solidFill>
                    <a:sysClr val="windowText" lastClr="000000"/>
                  </a:solidFill>
                  <a:latin typeface="Calibri"/>
                  <a:ea typeface="宋体" panose="02010600030101010101" pitchFamily="2" charset="-122"/>
                </a:endParaRPr>
              </a:p>
            </p:txBody>
          </p:sp>
          <p:sp>
            <p:nvSpPr>
              <p:cNvPr id="80" name="任意多边形 42">
                <a:extLst>
                  <a:ext uri="{FF2B5EF4-FFF2-40B4-BE49-F238E27FC236}">
                    <a16:creationId xmlns:a16="http://schemas.microsoft.com/office/drawing/2014/main" id="{63EE03E8-4EA7-4ABF-A8AD-0A26E44388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14663" y="2420938"/>
                <a:ext cx="366712" cy="261938"/>
              </a:xfrm>
              <a:custGeom>
                <a:avLst/>
                <a:gdLst>
                  <a:gd name="T0" fmla="*/ 0 w 4285445"/>
                  <a:gd name="T1" fmla="*/ 7 h 3056708"/>
                  <a:gd name="T2" fmla="*/ 16 w 4285445"/>
                  <a:gd name="T3" fmla="*/ 23 h 3056708"/>
                  <a:gd name="T4" fmla="*/ 24 w 4285445"/>
                  <a:gd name="T5" fmla="*/ 22 h 3056708"/>
                  <a:gd name="T6" fmla="*/ 45 w 4285445"/>
                  <a:gd name="T7" fmla="*/ 36 h 3056708"/>
                  <a:gd name="T8" fmla="*/ 32 w 4285445"/>
                  <a:gd name="T9" fmla="*/ 52 h 3056708"/>
                  <a:gd name="T10" fmla="*/ 42 w 4285445"/>
                  <a:gd name="T11" fmla="*/ 67 h 3056708"/>
                  <a:gd name="T12" fmla="*/ 50 w 4285445"/>
                  <a:gd name="T13" fmla="*/ 71 h 3056708"/>
                  <a:gd name="T14" fmla="*/ 60 w 4285445"/>
                  <a:gd name="T15" fmla="*/ 60 h 3056708"/>
                  <a:gd name="T16" fmla="*/ 71 w 4285445"/>
                  <a:gd name="T17" fmla="*/ 60 h 3056708"/>
                  <a:gd name="T18" fmla="*/ 78 w 4285445"/>
                  <a:gd name="T19" fmla="*/ 65 h 3056708"/>
                  <a:gd name="T20" fmla="*/ 86 w 4285445"/>
                  <a:gd name="T21" fmla="*/ 58 h 3056708"/>
                  <a:gd name="T22" fmla="*/ 92 w 4285445"/>
                  <a:gd name="T23" fmla="*/ 61 h 3056708"/>
                  <a:gd name="T24" fmla="*/ 99 w 4285445"/>
                  <a:gd name="T25" fmla="*/ 55 h 3056708"/>
                  <a:gd name="T26" fmla="*/ 85 w 4285445"/>
                  <a:gd name="T27" fmla="*/ 34 h 3056708"/>
                  <a:gd name="T28" fmla="*/ 63 w 4285445"/>
                  <a:gd name="T29" fmla="*/ 16 h 3056708"/>
                  <a:gd name="T30" fmla="*/ 45 w 4285445"/>
                  <a:gd name="T31" fmla="*/ 11 h 3056708"/>
                  <a:gd name="T32" fmla="*/ 45 w 4285445"/>
                  <a:gd name="T33" fmla="*/ 3 h 3056708"/>
                  <a:gd name="T34" fmla="*/ 35 w 4285445"/>
                  <a:gd name="T35" fmla="*/ 2 h 3056708"/>
                  <a:gd name="T36" fmla="*/ 27 w 4285445"/>
                  <a:gd name="T37" fmla="*/ 0 h 3056708"/>
                  <a:gd name="T38" fmla="*/ 23 w 4285445"/>
                  <a:gd name="T39" fmla="*/ 8 h 3056708"/>
                  <a:gd name="T40" fmla="*/ 0 w 4285445"/>
                  <a:gd name="T41" fmla="*/ 7 h 3056708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4285445"/>
                  <a:gd name="T64" fmla="*/ 0 h 3056708"/>
                  <a:gd name="T65" fmla="*/ 4285445 w 4285445"/>
                  <a:gd name="T66" fmla="*/ 3056708 h 3056708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4285445" h="3056708">
                    <a:moveTo>
                      <a:pt x="0" y="324132"/>
                    </a:moveTo>
                    <a:lnTo>
                      <a:pt x="712176" y="996634"/>
                    </a:lnTo>
                    <a:lnTo>
                      <a:pt x="1021503" y="946724"/>
                    </a:lnTo>
                    <a:lnTo>
                      <a:pt x="1947682" y="1568046"/>
                    </a:lnTo>
                    <a:lnTo>
                      <a:pt x="1410163" y="2246417"/>
                    </a:lnTo>
                    <a:lnTo>
                      <a:pt x="1833586" y="2924787"/>
                    </a:lnTo>
                    <a:lnTo>
                      <a:pt x="2184518" y="3056708"/>
                    </a:lnTo>
                    <a:lnTo>
                      <a:pt x="2585078" y="2612791"/>
                    </a:lnTo>
                    <a:lnTo>
                      <a:pt x="3070018" y="2615461"/>
                    </a:lnTo>
                    <a:lnTo>
                      <a:pt x="3392227" y="2822820"/>
                    </a:lnTo>
                    <a:lnTo>
                      <a:pt x="3720946" y="2523785"/>
                    </a:lnTo>
                    <a:lnTo>
                      <a:pt x="4010474" y="2662702"/>
                    </a:lnTo>
                    <a:lnTo>
                      <a:pt x="4285445" y="2362835"/>
                    </a:lnTo>
                    <a:lnTo>
                      <a:pt x="3688673" y="1452151"/>
                    </a:lnTo>
                    <a:lnTo>
                      <a:pt x="2718793" y="680170"/>
                    </a:lnTo>
                    <a:lnTo>
                      <a:pt x="1963758" y="472463"/>
                    </a:lnTo>
                    <a:lnTo>
                      <a:pt x="1952210" y="117810"/>
                    </a:lnTo>
                    <a:lnTo>
                      <a:pt x="1520719" y="91812"/>
                    </a:lnTo>
                    <a:lnTo>
                      <a:pt x="1154345" y="0"/>
                    </a:lnTo>
                    <a:lnTo>
                      <a:pt x="1013494" y="346759"/>
                    </a:lnTo>
                    <a:lnTo>
                      <a:pt x="0" y="324132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>
                  <a:defRPr/>
                </a:pPr>
                <a:endParaRPr lang="zh-CN" altLang="en-US" kern="0">
                  <a:solidFill>
                    <a:sysClr val="windowText" lastClr="000000"/>
                  </a:solidFill>
                  <a:latin typeface="Calibri"/>
                  <a:ea typeface="宋体" panose="02010600030101010101" pitchFamily="2" charset="-122"/>
                </a:endParaRPr>
              </a:p>
            </p:txBody>
          </p:sp>
          <p:sp>
            <p:nvSpPr>
              <p:cNvPr id="81" name="任意多边形 43">
                <a:extLst>
                  <a:ext uri="{FF2B5EF4-FFF2-40B4-BE49-F238E27FC236}">
                    <a16:creationId xmlns:a16="http://schemas.microsoft.com/office/drawing/2014/main" id="{55C4CBF1-88FC-4C68-9406-0F75D1DA7B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16163" y="1858963"/>
                <a:ext cx="325437" cy="236538"/>
              </a:xfrm>
              <a:custGeom>
                <a:avLst/>
                <a:gdLst>
                  <a:gd name="T0" fmla="*/ 0 w 3791624"/>
                  <a:gd name="T1" fmla="*/ 24 h 2772566"/>
                  <a:gd name="T2" fmla="*/ 10 w 3791624"/>
                  <a:gd name="T3" fmla="*/ 30 h 2772566"/>
                  <a:gd name="T4" fmla="*/ 16 w 3791624"/>
                  <a:gd name="T5" fmla="*/ 29 h 2772566"/>
                  <a:gd name="T6" fmla="*/ 24 w 3791624"/>
                  <a:gd name="T7" fmla="*/ 24 h 2772566"/>
                  <a:gd name="T8" fmla="*/ 25 w 3791624"/>
                  <a:gd name="T9" fmla="*/ 39 h 2772566"/>
                  <a:gd name="T10" fmla="*/ 16 w 3791624"/>
                  <a:gd name="T11" fmla="*/ 46 h 2772566"/>
                  <a:gd name="T12" fmla="*/ 10 w 3791624"/>
                  <a:gd name="T13" fmla="*/ 52 h 2772566"/>
                  <a:gd name="T14" fmla="*/ 22 w 3791624"/>
                  <a:gd name="T15" fmla="*/ 64 h 2772566"/>
                  <a:gd name="T16" fmla="*/ 30 w 3791624"/>
                  <a:gd name="T17" fmla="*/ 52 h 2772566"/>
                  <a:gd name="T18" fmla="*/ 34 w 3791624"/>
                  <a:gd name="T19" fmla="*/ 62 h 2772566"/>
                  <a:gd name="T20" fmla="*/ 41 w 3791624"/>
                  <a:gd name="T21" fmla="*/ 60 h 2772566"/>
                  <a:gd name="T22" fmla="*/ 51 w 3791624"/>
                  <a:gd name="T23" fmla="*/ 59 h 2772566"/>
                  <a:gd name="T24" fmla="*/ 58 w 3791624"/>
                  <a:gd name="T25" fmla="*/ 59 h 2772566"/>
                  <a:gd name="T26" fmla="*/ 64 w 3791624"/>
                  <a:gd name="T27" fmla="*/ 52 h 2772566"/>
                  <a:gd name="T28" fmla="*/ 80 w 3791624"/>
                  <a:gd name="T29" fmla="*/ 47 h 2772566"/>
                  <a:gd name="T30" fmla="*/ 84 w 3791624"/>
                  <a:gd name="T31" fmla="*/ 38 h 2772566"/>
                  <a:gd name="T32" fmla="*/ 88 w 3791624"/>
                  <a:gd name="T33" fmla="*/ 24 h 2772566"/>
                  <a:gd name="T34" fmla="*/ 78 w 3791624"/>
                  <a:gd name="T35" fmla="*/ 13 h 2772566"/>
                  <a:gd name="T36" fmla="*/ 78 w 3791624"/>
                  <a:gd name="T37" fmla="*/ 2 h 2772566"/>
                  <a:gd name="T38" fmla="*/ 69 w 3791624"/>
                  <a:gd name="T39" fmla="*/ 0 h 2772566"/>
                  <a:gd name="T40" fmla="*/ 66 w 3791624"/>
                  <a:gd name="T41" fmla="*/ 8 h 2772566"/>
                  <a:gd name="T42" fmla="*/ 47 w 3791624"/>
                  <a:gd name="T43" fmla="*/ 7 h 2772566"/>
                  <a:gd name="T44" fmla="*/ 31 w 3791624"/>
                  <a:gd name="T45" fmla="*/ 10 h 2772566"/>
                  <a:gd name="T46" fmla="*/ 25 w 3791624"/>
                  <a:gd name="T47" fmla="*/ 8 h 2772566"/>
                  <a:gd name="T48" fmla="*/ 18 w 3791624"/>
                  <a:gd name="T49" fmla="*/ 11 h 2772566"/>
                  <a:gd name="T50" fmla="*/ 13 w 3791624"/>
                  <a:gd name="T51" fmla="*/ 19 h 2772566"/>
                  <a:gd name="T52" fmla="*/ 4 w 3791624"/>
                  <a:gd name="T53" fmla="*/ 16 h 2772566"/>
                  <a:gd name="T54" fmla="*/ 0 w 3791624"/>
                  <a:gd name="T55" fmla="*/ 24 h 277256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w 3791624"/>
                  <a:gd name="T85" fmla="*/ 0 h 2772566"/>
                  <a:gd name="T86" fmla="*/ 3791624 w 3791624"/>
                  <a:gd name="T87" fmla="*/ 2772566 h 277256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T84" t="T85" r="T86" b="T87"/>
                <a:pathLst>
                  <a:path w="3791624" h="2772566">
                    <a:moveTo>
                      <a:pt x="0" y="1031463"/>
                    </a:moveTo>
                    <a:lnTo>
                      <a:pt x="440517" y="1304398"/>
                    </a:lnTo>
                    <a:lnTo>
                      <a:pt x="680546" y="1262265"/>
                    </a:lnTo>
                    <a:lnTo>
                      <a:pt x="1045354" y="1064597"/>
                    </a:lnTo>
                    <a:lnTo>
                      <a:pt x="1087255" y="1715111"/>
                    </a:lnTo>
                    <a:lnTo>
                      <a:pt x="691688" y="1991008"/>
                    </a:lnTo>
                    <a:lnTo>
                      <a:pt x="431401" y="2258436"/>
                    </a:lnTo>
                    <a:lnTo>
                      <a:pt x="973158" y="2772566"/>
                    </a:lnTo>
                    <a:lnTo>
                      <a:pt x="1280426" y="2271367"/>
                    </a:lnTo>
                    <a:lnTo>
                      <a:pt x="1465005" y="2691665"/>
                    </a:lnTo>
                    <a:lnTo>
                      <a:pt x="1782806" y="2598520"/>
                    </a:lnTo>
                    <a:lnTo>
                      <a:pt x="2218706" y="2549712"/>
                    </a:lnTo>
                    <a:lnTo>
                      <a:pt x="2494603" y="2590048"/>
                    </a:lnTo>
                    <a:lnTo>
                      <a:pt x="2763593" y="2250193"/>
                    </a:lnTo>
                    <a:lnTo>
                      <a:pt x="3451791" y="2031045"/>
                    </a:lnTo>
                    <a:lnTo>
                      <a:pt x="3632959" y="1632877"/>
                    </a:lnTo>
                    <a:lnTo>
                      <a:pt x="3791624" y="1042078"/>
                    </a:lnTo>
                    <a:lnTo>
                      <a:pt x="3357803" y="572851"/>
                    </a:lnTo>
                    <a:lnTo>
                      <a:pt x="3367974" y="82237"/>
                    </a:lnTo>
                    <a:lnTo>
                      <a:pt x="2987784" y="0"/>
                    </a:lnTo>
                    <a:lnTo>
                      <a:pt x="2836198" y="357269"/>
                    </a:lnTo>
                    <a:lnTo>
                      <a:pt x="2022374" y="314897"/>
                    </a:lnTo>
                    <a:lnTo>
                      <a:pt x="1334657" y="446579"/>
                    </a:lnTo>
                    <a:lnTo>
                      <a:pt x="1102636" y="331609"/>
                    </a:lnTo>
                    <a:lnTo>
                      <a:pt x="797547" y="479369"/>
                    </a:lnTo>
                    <a:lnTo>
                      <a:pt x="552407" y="814984"/>
                    </a:lnTo>
                    <a:lnTo>
                      <a:pt x="188281" y="717347"/>
                    </a:lnTo>
                    <a:lnTo>
                      <a:pt x="0" y="1031463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>
                  <a:defRPr/>
                </a:pPr>
                <a:endParaRPr lang="zh-CN" altLang="en-US" kern="0">
                  <a:solidFill>
                    <a:sysClr val="windowText" lastClr="000000"/>
                  </a:solidFill>
                  <a:latin typeface="Calibri"/>
                  <a:ea typeface="宋体" panose="02010600030101010101" pitchFamily="2" charset="-122"/>
                </a:endParaRPr>
              </a:p>
            </p:txBody>
          </p:sp>
          <p:sp>
            <p:nvSpPr>
              <p:cNvPr id="82" name="任意多边形 44">
                <a:extLst>
                  <a:ext uri="{FF2B5EF4-FFF2-40B4-BE49-F238E27FC236}">
                    <a16:creationId xmlns:a16="http://schemas.microsoft.com/office/drawing/2014/main" id="{0D00B8C5-A2B2-4CAA-9BAB-8D45F0DAA0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82800" y="1554163"/>
                <a:ext cx="258762" cy="407988"/>
              </a:xfrm>
              <a:custGeom>
                <a:avLst/>
                <a:gdLst>
                  <a:gd name="T0" fmla="*/ 63 w 3030179"/>
                  <a:gd name="T1" fmla="*/ 106 h 4769360"/>
                  <a:gd name="T2" fmla="*/ 54 w 3030179"/>
                  <a:gd name="T3" fmla="*/ 105 h 4769360"/>
                  <a:gd name="T4" fmla="*/ 49 w 3030179"/>
                  <a:gd name="T5" fmla="*/ 110 h 4769360"/>
                  <a:gd name="T6" fmla="*/ 32 w 3030179"/>
                  <a:gd name="T7" fmla="*/ 109 h 4769360"/>
                  <a:gd name="T8" fmla="*/ 36 w 3030179"/>
                  <a:gd name="T9" fmla="*/ 90 h 4769360"/>
                  <a:gd name="T10" fmla="*/ 24 w 3030179"/>
                  <a:gd name="T11" fmla="*/ 89 h 4769360"/>
                  <a:gd name="T12" fmla="*/ 10 w 3030179"/>
                  <a:gd name="T13" fmla="*/ 81 h 4769360"/>
                  <a:gd name="T14" fmla="*/ 11 w 3030179"/>
                  <a:gd name="T15" fmla="*/ 51 h 4769360"/>
                  <a:gd name="T16" fmla="*/ 0 w 3030179"/>
                  <a:gd name="T17" fmla="*/ 19 h 4769360"/>
                  <a:gd name="T18" fmla="*/ 3 w 3030179"/>
                  <a:gd name="T19" fmla="*/ 9 h 4769360"/>
                  <a:gd name="T20" fmla="*/ 6 w 3030179"/>
                  <a:gd name="T21" fmla="*/ 1 h 4769360"/>
                  <a:gd name="T22" fmla="*/ 23 w 3030179"/>
                  <a:gd name="T23" fmla="*/ 0 h 4769360"/>
                  <a:gd name="T24" fmla="*/ 35 w 3030179"/>
                  <a:gd name="T25" fmla="*/ 10 h 4769360"/>
                  <a:gd name="T26" fmla="*/ 53 w 3030179"/>
                  <a:gd name="T27" fmla="*/ 38 h 4769360"/>
                  <a:gd name="T28" fmla="*/ 65 w 3030179"/>
                  <a:gd name="T29" fmla="*/ 43 h 4769360"/>
                  <a:gd name="T30" fmla="*/ 70 w 3030179"/>
                  <a:gd name="T31" fmla="*/ 47 h 4769360"/>
                  <a:gd name="T32" fmla="*/ 70 w 3030179"/>
                  <a:gd name="T33" fmla="*/ 54 h 4769360"/>
                  <a:gd name="T34" fmla="*/ 64 w 3030179"/>
                  <a:gd name="T35" fmla="*/ 60 h 4769360"/>
                  <a:gd name="T36" fmla="*/ 57 w 3030179"/>
                  <a:gd name="T37" fmla="*/ 60 h 4769360"/>
                  <a:gd name="T38" fmla="*/ 55 w 3030179"/>
                  <a:gd name="T39" fmla="*/ 68 h 4769360"/>
                  <a:gd name="T40" fmla="*/ 68 w 3030179"/>
                  <a:gd name="T41" fmla="*/ 78 h 4769360"/>
                  <a:gd name="T42" fmla="*/ 67 w 3030179"/>
                  <a:gd name="T43" fmla="*/ 98 h 4769360"/>
                  <a:gd name="T44" fmla="*/ 63 w 3030179"/>
                  <a:gd name="T45" fmla="*/ 106 h 4769360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3030179"/>
                  <a:gd name="T70" fmla="*/ 0 h 4769360"/>
                  <a:gd name="T71" fmla="*/ 3030179 w 3030179"/>
                  <a:gd name="T72" fmla="*/ 4769360 h 4769360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3030179" h="4769360">
                    <a:moveTo>
                      <a:pt x="2741193" y="4592941"/>
                    </a:moveTo>
                    <a:lnTo>
                      <a:pt x="2348906" y="4563220"/>
                    </a:lnTo>
                    <a:lnTo>
                      <a:pt x="2123150" y="4769360"/>
                    </a:lnTo>
                    <a:lnTo>
                      <a:pt x="1412179" y="4748195"/>
                    </a:lnTo>
                    <a:lnTo>
                      <a:pt x="1578701" y="3922958"/>
                    </a:lnTo>
                    <a:lnTo>
                      <a:pt x="1051871" y="3883726"/>
                    </a:lnTo>
                    <a:lnTo>
                      <a:pt x="439475" y="3495949"/>
                    </a:lnTo>
                    <a:lnTo>
                      <a:pt x="463536" y="2213179"/>
                    </a:lnTo>
                    <a:lnTo>
                      <a:pt x="0" y="830590"/>
                    </a:lnTo>
                    <a:lnTo>
                      <a:pt x="133478" y="404263"/>
                    </a:lnTo>
                    <a:lnTo>
                      <a:pt x="257617" y="50588"/>
                    </a:lnTo>
                    <a:lnTo>
                      <a:pt x="1015583" y="0"/>
                    </a:lnTo>
                    <a:lnTo>
                      <a:pt x="1530361" y="447791"/>
                    </a:lnTo>
                    <a:lnTo>
                      <a:pt x="2289176" y="1642670"/>
                    </a:lnTo>
                    <a:lnTo>
                      <a:pt x="2848617" y="1857397"/>
                    </a:lnTo>
                    <a:lnTo>
                      <a:pt x="3030179" y="2048277"/>
                    </a:lnTo>
                    <a:lnTo>
                      <a:pt x="3027275" y="2353366"/>
                    </a:lnTo>
                    <a:lnTo>
                      <a:pt x="2764087" y="2602743"/>
                    </a:lnTo>
                    <a:lnTo>
                      <a:pt x="2470140" y="2605644"/>
                    </a:lnTo>
                    <a:lnTo>
                      <a:pt x="2379663" y="2966448"/>
                    </a:lnTo>
                    <a:lnTo>
                      <a:pt x="2965990" y="3384534"/>
                    </a:lnTo>
                    <a:lnTo>
                      <a:pt x="2935277" y="4274123"/>
                    </a:lnTo>
                    <a:lnTo>
                      <a:pt x="2741193" y="4592941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>
                  <a:defRPr/>
                </a:pPr>
                <a:endParaRPr lang="zh-CN" altLang="en-US" kern="0">
                  <a:solidFill>
                    <a:sysClr val="windowText" lastClr="000000"/>
                  </a:solidFill>
                  <a:latin typeface="Calibri"/>
                  <a:ea typeface="宋体" panose="02010600030101010101" pitchFamily="2" charset="-122"/>
                </a:endParaRPr>
              </a:p>
            </p:txBody>
          </p:sp>
          <p:sp>
            <p:nvSpPr>
              <p:cNvPr id="83" name="任意多边形 46">
                <a:extLst>
                  <a:ext uri="{FF2B5EF4-FFF2-40B4-BE49-F238E27FC236}">
                    <a16:creationId xmlns:a16="http://schemas.microsoft.com/office/drawing/2014/main" id="{3FD7BFAF-AA3E-4D17-B81C-43E5B7FE69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4900" y="3041651"/>
                <a:ext cx="269875" cy="252413"/>
              </a:xfrm>
              <a:custGeom>
                <a:avLst/>
                <a:gdLst>
                  <a:gd name="T0" fmla="*/ 0 w 3161861"/>
                  <a:gd name="T1" fmla="*/ 14 h 2953944"/>
                  <a:gd name="T2" fmla="*/ 8 w 3161861"/>
                  <a:gd name="T3" fmla="*/ 22 h 2953944"/>
                  <a:gd name="T4" fmla="*/ 7 w 3161861"/>
                  <a:gd name="T5" fmla="*/ 30 h 2953944"/>
                  <a:gd name="T6" fmla="*/ 11 w 3161861"/>
                  <a:gd name="T7" fmla="*/ 33 h 2953944"/>
                  <a:gd name="T8" fmla="*/ 8 w 3161861"/>
                  <a:gd name="T9" fmla="*/ 39 h 2953944"/>
                  <a:gd name="T10" fmla="*/ 0 w 3161861"/>
                  <a:gd name="T11" fmla="*/ 45 h 2953944"/>
                  <a:gd name="T12" fmla="*/ 15 w 3161861"/>
                  <a:gd name="T13" fmla="*/ 58 h 2953944"/>
                  <a:gd name="T14" fmla="*/ 25 w 3161861"/>
                  <a:gd name="T15" fmla="*/ 58 h 2953944"/>
                  <a:gd name="T16" fmla="*/ 30 w 3161861"/>
                  <a:gd name="T17" fmla="*/ 57 h 2953944"/>
                  <a:gd name="T18" fmla="*/ 33 w 3161861"/>
                  <a:gd name="T19" fmla="*/ 61 h 2953944"/>
                  <a:gd name="T20" fmla="*/ 31 w 3161861"/>
                  <a:gd name="T21" fmla="*/ 65 h 2953944"/>
                  <a:gd name="T22" fmla="*/ 34 w 3161861"/>
                  <a:gd name="T23" fmla="*/ 68 h 2953944"/>
                  <a:gd name="T24" fmla="*/ 41 w 3161861"/>
                  <a:gd name="T25" fmla="*/ 60 h 2953944"/>
                  <a:gd name="T26" fmla="*/ 50 w 3161861"/>
                  <a:gd name="T27" fmla="*/ 61 h 2953944"/>
                  <a:gd name="T28" fmla="*/ 56 w 3161861"/>
                  <a:gd name="T29" fmla="*/ 56 h 2953944"/>
                  <a:gd name="T30" fmla="*/ 59 w 3161861"/>
                  <a:gd name="T31" fmla="*/ 47 h 2953944"/>
                  <a:gd name="T32" fmla="*/ 65 w 3161861"/>
                  <a:gd name="T33" fmla="*/ 46 h 2953944"/>
                  <a:gd name="T34" fmla="*/ 73 w 3161861"/>
                  <a:gd name="T35" fmla="*/ 42 h 2953944"/>
                  <a:gd name="T36" fmla="*/ 68 w 3161861"/>
                  <a:gd name="T37" fmla="*/ 36 h 2953944"/>
                  <a:gd name="T38" fmla="*/ 67 w 3161861"/>
                  <a:gd name="T39" fmla="*/ 28 h 2953944"/>
                  <a:gd name="T40" fmla="*/ 61 w 3161861"/>
                  <a:gd name="T41" fmla="*/ 28 h 2953944"/>
                  <a:gd name="T42" fmla="*/ 58 w 3161861"/>
                  <a:gd name="T43" fmla="*/ 22 h 2953944"/>
                  <a:gd name="T44" fmla="*/ 52 w 3161861"/>
                  <a:gd name="T45" fmla="*/ 4 h 2953944"/>
                  <a:gd name="T46" fmla="*/ 41 w 3161861"/>
                  <a:gd name="T47" fmla="*/ 0 h 2953944"/>
                  <a:gd name="T48" fmla="*/ 34 w 3161861"/>
                  <a:gd name="T49" fmla="*/ 6 h 2953944"/>
                  <a:gd name="T50" fmla="*/ 30 w 3161861"/>
                  <a:gd name="T51" fmla="*/ 5 h 2953944"/>
                  <a:gd name="T52" fmla="*/ 24 w 3161861"/>
                  <a:gd name="T53" fmla="*/ 12 h 2953944"/>
                  <a:gd name="T54" fmla="*/ 14 w 3161861"/>
                  <a:gd name="T55" fmla="*/ 12 h 2953944"/>
                  <a:gd name="T56" fmla="*/ 7 w 3161861"/>
                  <a:gd name="T57" fmla="*/ 7 h 2953944"/>
                  <a:gd name="T58" fmla="*/ 0 w 3161861"/>
                  <a:gd name="T59" fmla="*/ 14 h 2953944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w 3161861"/>
                  <a:gd name="T91" fmla="*/ 0 h 2953944"/>
                  <a:gd name="T92" fmla="*/ 3161861 w 3161861"/>
                  <a:gd name="T93" fmla="*/ 2953944 h 2953944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T90" t="T91" r="T92" b="T93"/>
                <a:pathLst>
                  <a:path w="3161861" h="2953944">
                    <a:moveTo>
                      <a:pt x="4502" y="607172"/>
                    </a:moveTo>
                    <a:lnTo>
                      <a:pt x="356857" y="970170"/>
                    </a:lnTo>
                    <a:lnTo>
                      <a:pt x="322094" y="1291974"/>
                    </a:lnTo>
                    <a:lnTo>
                      <a:pt x="467582" y="1445360"/>
                    </a:lnTo>
                    <a:lnTo>
                      <a:pt x="349428" y="1707678"/>
                    </a:lnTo>
                    <a:lnTo>
                      <a:pt x="0" y="1962230"/>
                    </a:lnTo>
                    <a:lnTo>
                      <a:pt x="631421" y="2499855"/>
                    </a:lnTo>
                    <a:lnTo>
                      <a:pt x="1092795" y="2510940"/>
                    </a:lnTo>
                    <a:lnTo>
                      <a:pt x="1318670" y="2477628"/>
                    </a:lnTo>
                    <a:lnTo>
                      <a:pt x="1455693" y="2635656"/>
                    </a:lnTo>
                    <a:lnTo>
                      <a:pt x="1327257" y="2844641"/>
                    </a:lnTo>
                    <a:lnTo>
                      <a:pt x="1471372" y="2953944"/>
                    </a:lnTo>
                    <a:lnTo>
                      <a:pt x="1802099" y="2626546"/>
                    </a:lnTo>
                    <a:lnTo>
                      <a:pt x="2183104" y="2653183"/>
                    </a:lnTo>
                    <a:lnTo>
                      <a:pt x="2430623" y="2415472"/>
                    </a:lnTo>
                    <a:lnTo>
                      <a:pt x="2576523" y="2041669"/>
                    </a:lnTo>
                    <a:lnTo>
                      <a:pt x="2814234" y="1994719"/>
                    </a:lnTo>
                    <a:lnTo>
                      <a:pt x="3161861" y="1839940"/>
                    </a:lnTo>
                    <a:lnTo>
                      <a:pt x="2952706" y="1564158"/>
                    </a:lnTo>
                    <a:lnTo>
                      <a:pt x="2910804" y="1227497"/>
                    </a:lnTo>
                    <a:lnTo>
                      <a:pt x="2670714" y="1222738"/>
                    </a:lnTo>
                    <a:lnTo>
                      <a:pt x="2519765" y="957983"/>
                    </a:lnTo>
                    <a:lnTo>
                      <a:pt x="2280025" y="175616"/>
                    </a:lnTo>
                    <a:lnTo>
                      <a:pt x="1767397" y="0"/>
                    </a:lnTo>
                    <a:lnTo>
                      <a:pt x="1477687" y="252568"/>
                    </a:lnTo>
                    <a:lnTo>
                      <a:pt x="1324358" y="205328"/>
                    </a:lnTo>
                    <a:lnTo>
                      <a:pt x="1027219" y="534850"/>
                    </a:lnTo>
                    <a:lnTo>
                      <a:pt x="591899" y="514944"/>
                    </a:lnTo>
                    <a:lnTo>
                      <a:pt x="299519" y="294469"/>
                    </a:lnTo>
                    <a:lnTo>
                      <a:pt x="4502" y="607172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>
                  <a:defRPr/>
                </a:pPr>
                <a:endParaRPr lang="zh-CN" altLang="en-US" kern="0">
                  <a:solidFill>
                    <a:sysClr val="windowText" lastClr="000000"/>
                  </a:solidFill>
                  <a:latin typeface="Calibri"/>
                  <a:ea typeface="宋体" panose="02010600030101010101" pitchFamily="2" charset="-122"/>
                </a:endParaRPr>
              </a:p>
            </p:txBody>
          </p:sp>
          <p:grpSp>
            <p:nvGrpSpPr>
              <p:cNvPr id="84" name="组合 1">
                <a:extLst>
                  <a:ext uri="{FF2B5EF4-FFF2-40B4-BE49-F238E27FC236}">
                    <a16:creationId xmlns:a16="http://schemas.microsoft.com/office/drawing/2014/main" id="{498D7CD6-28A0-498C-AA34-BDA0F6ABCBD2}"/>
                  </a:ext>
                </a:extLst>
              </p:cNvPr>
              <p:cNvGrpSpPr/>
              <p:nvPr/>
            </p:nvGrpSpPr>
            <p:grpSpPr>
              <a:xfrm>
                <a:off x="1831975" y="2224088"/>
                <a:ext cx="946150" cy="1052513"/>
                <a:chOff x="1831975" y="2224088"/>
                <a:chExt cx="946150" cy="1052513"/>
              </a:xfrm>
              <a:grpFill/>
            </p:grpSpPr>
            <p:sp>
              <p:nvSpPr>
                <p:cNvPr id="90" name="任意多边形 45">
                  <a:extLst>
                    <a:ext uri="{FF2B5EF4-FFF2-40B4-BE49-F238E27FC236}">
                      <a16:creationId xmlns:a16="http://schemas.microsoft.com/office/drawing/2014/main" id="{B5C647B2-8998-4404-BC4E-630515F5B2F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54213" y="2224088"/>
                  <a:ext cx="823912" cy="757238"/>
                </a:xfrm>
                <a:custGeom>
                  <a:avLst/>
                  <a:gdLst>
                    <a:gd name="T0" fmla="*/ 5573701 w 9622279"/>
                    <a:gd name="T1" fmla="*/ 7469981 h 8853487"/>
                    <a:gd name="T2" fmla="*/ 4743790 w 9622279"/>
                    <a:gd name="T3" fmla="*/ 7854184 h 8853487"/>
                    <a:gd name="T4" fmla="*/ 4189324 w 9622279"/>
                    <a:gd name="T5" fmla="*/ 8006618 h 8853487"/>
                    <a:gd name="T6" fmla="*/ 3876435 w 9622279"/>
                    <a:gd name="T7" fmla="*/ 8428265 h 8853487"/>
                    <a:gd name="T8" fmla="*/ 3466383 w 9622279"/>
                    <a:gd name="T9" fmla="*/ 8853487 h 8853487"/>
                    <a:gd name="T10" fmla="*/ 3467267 w 9622279"/>
                    <a:gd name="T11" fmla="*/ 8358751 h 8853487"/>
                    <a:gd name="T12" fmla="*/ 3469939 w 9622279"/>
                    <a:gd name="T13" fmla="*/ 7970091 h 8853487"/>
                    <a:gd name="T14" fmla="*/ 3180228 w 9622279"/>
                    <a:gd name="T15" fmla="*/ 8662275 h 8853487"/>
                    <a:gd name="T16" fmla="*/ 2801374 w 9622279"/>
                    <a:gd name="T17" fmla="*/ 7835484 h 8853487"/>
                    <a:gd name="T18" fmla="*/ 3120497 w 9622279"/>
                    <a:gd name="T19" fmla="*/ 6843331 h 8853487"/>
                    <a:gd name="T20" fmla="*/ 2439445 w 9622279"/>
                    <a:gd name="T21" fmla="*/ 6304906 h 8853487"/>
                    <a:gd name="T22" fmla="*/ 1607746 w 9622279"/>
                    <a:gd name="T23" fmla="*/ 5788754 h 8853487"/>
                    <a:gd name="T24" fmla="*/ 1605959 w 9622279"/>
                    <a:gd name="T25" fmla="*/ 5200419 h 8853487"/>
                    <a:gd name="T26" fmla="*/ 869634 w 9622279"/>
                    <a:gd name="T27" fmla="*/ 5836006 h 8853487"/>
                    <a:gd name="T28" fmla="*/ 0 w 9622279"/>
                    <a:gd name="T29" fmla="*/ 5584108 h 8853487"/>
                    <a:gd name="T30" fmla="*/ 433034 w 9622279"/>
                    <a:gd name="T31" fmla="*/ 4281888 h 8853487"/>
                    <a:gd name="T32" fmla="*/ 578148 w 9622279"/>
                    <a:gd name="T33" fmla="*/ 3372992 h 8853487"/>
                    <a:gd name="T34" fmla="*/ 1203927 w 9622279"/>
                    <a:gd name="T35" fmla="*/ 1923535 h 8853487"/>
                    <a:gd name="T36" fmla="*/ 1823474 w 9622279"/>
                    <a:gd name="T37" fmla="*/ 698695 h 8853487"/>
                    <a:gd name="T38" fmla="*/ 2753434 w 9622279"/>
                    <a:gd name="T39" fmla="*/ 0 h 8853487"/>
                    <a:gd name="T40" fmla="*/ 3764403 w 9622279"/>
                    <a:gd name="T41" fmla="*/ 551022 h 8853487"/>
                    <a:gd name="T42" fmla="*/ 4167860 w 9622279"/>
                    <a:gd name="T43" fmla="*/ 1010890 h 8853487"/>
                    <a:gd name="T44" fmla="*/ 5345798 w 9622279"/>
                    <a:gd name="T45" fmla="*/ 1402336 h 8853487"/>
                    <a:gd name="T46" fmla="*/ 6951857 w 9622279"/>
                    <a:gd name="T47" fmla="*/ 1684328 h 8853487"/>
                    <a:gd name="T48" fmla="*/ 7855171 w 9622279"/>
                    <a:gd name="T49" fmla="*/ 2545741 h 8853487"/>
                    <a:gd name="T50" fmla="*/ 8553653 w 9622279"/>
                    <a:gd name="T51" fmla="*/ 2768183 h 8853487"/>
                    <a:gd name="T52" fmla="*/ 8619723 w 9622279"/>
                    <a:gd name="T53" fmla="*/ 3649333 h 8853487"/>
                    <a:gd name="T54" fmla="*/ 8708865 w 9622279"/>
                    <a:gd name="T55" fmla="*/ 4136943 h 8853487"/>
                    <a:gd name="T56" fmla="*/ 9000955 w 9622279"/>
                    <a:gd name="T57" fmla="*/ 4406747 h 8853487"/>
                    <a:gd name="T58" fmla="*/ 9617518 w 9622279"/>
                    <a:gd name="T59" fmla="*/ 4703596 h 8853487"/>
                    <a:gd name="T60" fmla="*/ 9622279 w 9622279"/>
                    <a:gd name="T61" fmla="*/ 5542431 h 8853487"/>
                    <a:gd name="T62" fmla="*/ 9378333 w 9622279"/>
                    <a:gd name="T63" fmla="*/ 6254994 h 8853487"/>
                    <a:gd name="T64" fmla="*/ 8904989 w 9622279"/>
                    <a:gd name="T65" fmla="*/ 6165852 h 8853487"/>
                    <a:gd name="T66" fmla="*/ 8688655 w 9622279"/>
                    <a:gd name="T67" fmla="*/ 6711079 h 8853487"/>
                    <a:gd name="T68" fmla="*/ 7653430 w 9622279"/>
                    <a:gd name="T69" fmla="*/ 6639197 h 8853487"/>
                    <a:gd name="T70" fmla="*/ 6804774 w 9622279"/>
                    <a:gd name="T71" fmla="*/ 7119647 h 8853487"/>
                    <a:gd name="T72" fmla="*/ 5860518 w 9622279"/>
                    <a:gd name="T73" fmla="*/ 7945085 h 8853487"/>
                    <a:gd name="T74" fmla="*/ 0 w 9622279"/>
                    <a:gd name="T75" fmla="*/ 0 h 8853487"/>
                    <a:gd name="T76" fmla="*/ 9622279 w 9622279"/>
                    <a:gd name="T77" fmla="*/ 8853487 h 88534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T74" t="T75" r="T76" b="T77"/>
                  <a:pathLst>
                    <a:path w="9622279" h="8853487">
                      <a:moveTo>
                        <a:pt x="5860518" y="7945085"/>
                      </a:moveTo>
                      <a:lnTo>
                        <a:pt x="5573701" y="7469981"/>
                      </a:lnTo>
                      <a:lnTo>
                        <a:pt x="5029043" y="7935305"/>
                      </a:lnTo>
                      <a:lnTo>
                        <a:pt x="4743790" y="7854184"/>
                      </a:lnTo>
                      <a:lnTo>
                        <a:pt x="4448729" y="8167073"/>
                      </a:lnTo>
                      <a:lnTo>
                        <a:pt x="4189324" y="8006618"/>
                      </a:lnTo>
                      <a:lnTo>
                        <a:pt x="3975384" y="8016426"/>
                      </a:lnTo>
                      <a:lnTo>
                        <a:pt x="3876435" y="8428265"/>
                      </a:lnTo>
                      <a:lnTo>
                        <a:pt x="3706172" y="8820489"/>
                      </a:lnTo>
                      <a:lnTo>
                        <a:pt x="3466383" y="8853487"/>
                      </a:lnTo>
                      <a:lnTo>
                        <a:pt x="3323749" y="8702840"/>
                      </a:lnTo>
                      <a:lnTo>
                        <a:pt x="3467267" y="8358751"/>
                      </a:lnTo>
                      <a:lnTo>
                        <a:pt x="3682985" y="8347609"/>
                      </a:lnTo>
                      <a:lnTo>
                        <a:pt x="3469939" y="7970091"/>
                      </a:lnTo>
                      <a:lnTo>
                        <a:pt x="3415558" y="8060568"/>
                      </a:lnTo>
                      <a:lnTo>
                        <a:pt x="3180228" y="8662275"/>
                      </a:lnTo>
                      <a:lnTo>
                        <a:pt x="2898536" y="8362314"/>
                      </a:lnTo>
                      <a:lnTo>
                        <a:pt x="2801374" y="7835484"/>
                      </a:lnTo>
                      <a:lnTo>
                        <a:pt x="3122284" y="7469110"/>
                      </a:lnTo>
                      <a:cubicBezTo>
                        <a:pt x="3121688" y="7260517"/>
                        <a:pt x="3121093" y="7051924"/>
                        <a:pt x="3120497" y="6843331"/>
                      </a:cubicBezTo>
                      <a:lnTo>
                        <a:pt x="2494717" y="6160491"/>
                      </a:lnTo>
                      <a:lnTo>
                        <a:pt x="2439445" y="6304906"/>
                      </a:lnTo>
                      <a:lnTo>
                        <a:pt x="2180040" y="6624028"/>
                      </a:lnTo>
                      <a:lnTo>
                        <a:pt x="1607746" y="5788754"/>
                      </a:lnTo>
                      <a:lnTo>
                        <a:pt x="1634683" y="5477304"/>
                      </a:lnTo>
                      <a:lnTo>
                        <a:pt x="1605959" y="5200419"/>
                      </a:lnTo>
                      <a:lnTo>
                        <a:pt x="1372403" y="5336813"/>
                      </a:lnTo>
                      <a:lnTo>
                        <a:pt x="869634" y="5836006"/>
                      </a:lnTo>
                      <a:lnTo>
                        <a:pt x="148481" y="5845814"/>
                      </a:lnTo>
                      <a:lnTo>
                        <a:pt x="0" y="5584108"/>
                      </a:lnTo>
                      <a:lnTo>
                        <a:pt x="338359" y="5056005"/>
                      </a:lnTo>
                      <a:lnTo>
                        <a:pt x="433034" y="4281888"/>
                      </a:lnTo>
                      <a:lnTo>
                        <a:pt x="639653" y="3820488"/>
                      </a:lnTo>
                      <a:lnTo>
                        <a:pt x="578148" y="3372992"/>
                      </a:lnTo>
                      <a:lnTo>
                        <a:pt x="782280" y="2773062"/>
                      </a:lnTo>
                      <a:lnTo>
                        <a:pt x="1203927" y="1923535"/>
                      </a:lnTo>
                      <a:lnTo>
                        <a:pt x="1098745" y="1179190"/>
                      </a:lnTo>
                      <a:lnTo>
                        <a:pt x="1823474" y="698695"/>
                      </a:lnTo>
                      <a:lnTo>
                        <a:pt x="2336920" y="212885"/>
                      </a:lnTo>
                      <a:lnTo>
                        <a:pt x="2753434" y="0"/>
                      </a:lnTo>
                      <a:lnTo>
                        <a:pt x="3506786" y="637784"/>
                      </a:lnTo>
                      <a:lnTo>
                        <a:pt x="3764403" y="551022"/>
                      </a:lnTo>
                      <a:lnTo>
                        <a:pt x="4110872" y="746542"/>
                      </a:lnTo>
                      <a:lnTo>
                        <a:pt x="4167860" y="1010890"/>
                      </a:lnTo>
                      <a:lnTo>
                        <a:pt x="4749140" y="1340529"/>
                      </a:lnTo>
                      <a:lnTo>
                        <a:pt x="5345798" y="1402336"/>
                      </a:lnTo>
                      <a:lnTo>
                        <a:pt x="6214349" y="1744046"/>
                      </a:lnTo>
                      <a:lnTo>
                        <a:pt x="6951857" y="1684328"/>
                      </a:lnTo>
                      <a:lnTo>
                        <a:pt x="7461462" y="2429555"/>
                      </a:lnTo>
                      <a:lnTo>
                        <a:pt x="7855171" y="2545741"/>
                      </a:lnTo>
                      <a:lnTo>
                        <a:pt x="8246210" y="2488693"/>
                      </a:lnTo>
                      <a:lnTo>
                        <a:pt x="8553653" y="2768183"/>
                      </a:lnTo>
                      <a:lnTo>
                        <a:pt x="8422112" y="3602905"/>
                      </a:lnTo>
                      <a:lnTo>
                        <a:pt x="8619723" y="3649333"/>
                      </a:lnTo>
                      <a:lnTo>
                        <a:pt x="8869912" y="3919138"/>
                      </a:lnTo>
                      <a:lnTo>
                        <a:pt x="8708865" y="4136943"/>
                      </a:lnTo>
                      <a:lnTo>
                        <a:pt x="8550197" y="4456367"/>
                      </a:lnTo>
                      <a:lnTo>
                        <a:pt x="9000955" y="4406747"/>
                      </a:lnTo>
                      <a:lnTo>
                        <a:pt x="9221139" y="4314936"/>
                      </a:lnTo>
                      <a:lnTo>
                        <a:pt x="9617518" y="4703596"/>
                      </a:lnTo>
                      <a:lnTo>
                        <a:pt x="9589893" y="5131778"/>
                      </a:lnTo>
                      <a:lnTo>
                        <a:pt x="9622279" y="5542431"/>
                      </a:lnTo>
                      <a:lnTo>
                        <a:pt x="9374468" y="5794999"/>
                      </a:lnTo>
                      <a:cubicBezTo>
                        <a:pt x="9375756" y="5948331"/>
                        <a:pt x="9377045" y="6101662"/>
                        <a:pt x="9378333" y="6254994"/>
                      </a:cubicBezTo>
                      <a:lnTo>
                        <a:pt x="9118929" y="6280843"/>
                      </a:lnTo>
                      <a:lnTo>
                        <a:pt x="8904989" y="6165852"/>
                      </a:lnTo>
                      <a:lnTo>
                        <a:pt x="8638745" y="6136997"/>
                      </a:lnTo>
                      <a:lnTo>
                        <a:pt x="8688655" y="6711079"/>
                      </a:lnTo>
                      <a:lnTo>
                        <a:pt x="8196301" y="6665046"/>
                      </a:lnTo>
                      <a:lnTo>
                        <a:pt x="7653430" y="6639197"/>
                      </a:lnTo>
                      <a:lnTo>
                        <a:pt x="7428524" y="6411446"/>
                      </a:lnTo>
                      <a:lnTo>
                        <a:pt x="6804774" y="7119647"/>
                      </a:lnTo>
                      <a:lnTo>
                        <a:pt x="6757522" y="8012851"/>
                      </a:lnTo>
                      <a:lnTo>
                        <a:pt x="5860518" y="7945085"/>
                      </a:lnTo>
                      <a:close/>
                    </a:path>
                  </a:pathLst>
                </a:custGeom>
                <a:grpFill/>
                <a:ln w="6350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>
                  <a:outerShdw dist="28398" dir="6993903" algn="ctr" rotWithShape="0">
                    <a:srgbClr val="B2B2B2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 kern="0">
                    <a:solidFill>
                      <a:sysClr val="windowText" lastClr="000000"/>
                    </a:solidFill>
                    <a:latin typeface="Calibri"/>
                    <a:ea typeface="宋体" panose="02010600030101010101" pitchFamily="2" charset="-122"/>
                  </a:endParaRPr>
                </a:p>
              </p:txBody>
            </p:sp>
            <p:sp>
              <p:nvSpPr>
                <p:cNvPr id="91" name="任意多边形 48">
                  <a:extLst>
                    <a:ext uri="{FF2B5EF4-FFF2-40B4-BE49-F238E27FC236}">
                      <a16:creationId xmlns:a16="http://schemas.microsoft.com/office/drawing/2014/main" id="{0EC0CBD0-D59E-437B-80E2-B148B04D067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31975" y="2895601"/>
                  <a:ext cx="430212" cy="381000"/>
                </a:xfrm>
                <a:custGeom>
                  <a:avLst/>
                  <a:gdLst>
                    <a:gd name="T0" fmla="*/ 5 w 5034179"/>
                    <a:gd name="T1" fmla="*/ 1 h 4450003"/>
                    <a:gd name="T2" fmla="*/ 22 w 5034179"/>
                    <a:gd name="T3" fmla="*/ 3 h 4450003"/>
                    <a:gd name="T4" fmla="*/ 30 w 5034179"/>
                    <a:gd name="T5" fmla="*/ 0 h 4450003"/>
                    <a:gd name="T6" fmla="*/ 38 w 5034179"/>
                    <a:gd name="T7" fmla="*/ 5 h 4450003"/>
                    <a:gd name="T8" fmla="*/ 43 w 5034179"/>
                    <a:gd name="T9" fmla="*/ 11 h 4450003"/>
                    <a:gd name="T10" fmla="*/ 53 w 5034179"/>
                    <a:gd name="T11" fmla="*/ 20 h 4450003"/>
                    <a:gd name="T12" fmla="*/ 65 w 5034179"/>
                    <a:gd name="T13" fmla="*/ 20 h 4450003"/>
                    <a:gd name="T14" fmla="*/ 73 w 5034179"/>
                    <a:gd name="T15" fmla="*/ 17 h 4450003"/>
                    <a:gd name="T16" fmla="*/ 76 w 5034179"/>
                    <a:gd name="T17" fmla="*/ 21 h 4450003"/>
                    <a:gd name="T18" fmla="*/ 76 w 5034179"/>
                    <a:gd name="T19" fmla="*/ 30 h 4450003"/>
                    <a:gd name="T20" fmla="*/ 93 w 5034179"/>
                    <a:gd name="T21" fmla="*/ 28 h 4450003"/>
                    <a:gd name="T22" fmla="*/ 99 w 5034179"/>
                    <a:gd name="T23" fmla="*/ 26 h 4450003"/>
                    <a:gd name="T24" fmla="*/ 105 w 5034179"/>
                    <a:gd name="T25" fmla="*/ 25 h 4450003"/>
                    <a:gd name="T26" fmla="*/ 104 w 5034179"/>
                    <a:gd name="T27" fmla="*/ 32 h 4450003"/>
                    <a:gd name="T28" fmla="*/ 99 w 5034179"/>
                    <a:gd name="T29" fmla="*/ 37 h 4450003"/>
                    <a:gd name="T30" fmla="*/ 102 w 5034179"/>
                    <a:gd name="T31" fmla="*/ 41 h 4450003"/>
                    <a:gd name="T32" fmla="*/ 105 w 5034179"/>
                    <a:gd name="T33" fmla="*/ 34 h 4450003"/>
                    <a:gd name="T34" fmla="*/ 107 w 5034179"/>
                    <a:gd name="T35" fmla="*/ 27 h 4450003"/>
                    <a:gd name="T36" fmla="*/ 113 w 5034179"/>
                    <a:gd name="T37" fmla="*/ 23 h 4450003"/>
                    <a:gd name="T38" fmla="*/ 114 w 5034179"/>
                    <a:gd name="T39" fmla="*/ 33 h 4450003"/>
                    <a:gd name="T40" fmla="*/ 116 w 5034179"/>
                    <a:gd name="T41" fmla="*/ 45 h 4450003"/>
                    <a:gd name="T42" fmla="*/ 104 w 5034179"/>
                    <a:gd name="T43" fmla="*/ 57 h 4450003"/>
                    <a:gd name="T44" fmla="*/ 104 w 5034179"/>
                    <a:gd name="T45" fmla="*/ 64 h 4450003"/>
                    <a:gd name="T46" fmla="*/ 106 w 5034179"/>
                    <a:gd name="T47" fmla="*/ 70 h 4450003"/>
                    <a:gd name="T48" fmla="*/ 94 w 5034179"/>
                    <a:gd name="T49" fmla="*/ 82 h 4450003"/>
                    <a:gd name="T50" fmla="*/ 84 w 5034179"/>
                    <a:gd name="T51" fmla="*/ 88 h 4450003"/>
                    <a:gd name="T52" fmla="*/ 89 w 5034179"/>
                    <a:gd name="T53" fmla="*/ 100 h 4450003"/>
                    <a:gd name="T54" fmla="*/ 68 w 5034179"/>
                    <a:gd name="T55" fmla="*/ 103 h 4450003"/>
                    <a:gd name="T56" fmla="*/ 63 w 5034179"/>
                    <a:gd name="T57" fmla="*/ 96 h 4450003"/>
                    <a:gd name="T58" fmla="*/ 57 w 5034179"/>
                    <a:gd name="T59" fmla="*/ 88 h 4450003"/>
                    <a:gd name="T60" fmla="*/ 58 w 5034179"/>
                    <a:gd name="T61" fmla="*/ 81 h 4450003"/>
                    <a:gd name="T62" fmla="*/ 44 w 5034179"/>
                    <a:gd name="T63" fmla="*/ 85 h 4450003"/>
                    <a:gd name="T64" fmla="*/ 35 w 5034179"/>
                    <a:gd name="T65" fmla="*/ 86 h 4450003"/>
                    <a:gd name="T66" fmla="*/ 16 w 5034179"/>
                    <a:gd name="T67" fmla="*/ 79 h 4450003"/>
                    <a:gd name="T68" fmla="*/ 12 w 5034179"/>
                    <a:gd name="T69" fmla="*/ 66 h 4450003"/>
                    <a:gd name="T70" fmla="*/ 13 w 5034179"/>
                    <a:gd name="T71" fmla="*/ 51 h 4450003"/>
                    <a:gd name="T72" fmla="*/ 15 w 5034179"/>
                    <a:gd name="T73" fmla="*/ 45 h 4450003"/>
                    <a:gd name="T74" fmla="*/ 35 w 5034179"/>
                    <a:gd name="T75" fmla="*/ 38 h 4450003"/>
                    <a:gd name="T76" fmla="*/ 35 w 5034179"/>
                    <a:gd name="T77" fmla="*/ 33 h 4450003"/>
                    <a:gd name="T78" fmla="*/ 21 w 5034179"/>
                    <a:gd name="T79" fmla="*/ 25 h 4450003"/>
                    <a:gd name="T80" fmla="*/ 12 w 5034179"/>
                    <a:gd name="T81" fmla="*/ 25 h 4450003"/>
                    <a:gd name="T82" fmla="*/ 0 w 5034179"/>
                    <a:gd name="T83" fmla="*/ 17 h 4450003"/>
                    <a:gd name="T84" fmla="*/ 0 w 5034179"/>
                    <a:gd name="T85" fmla="*/ 6 h 4450003"/>
                    <a:gd name="T86" fmla="*/ 5 w 5034179"/>
                    <a:gd name="T87" fmla="*/ 1 h 4450003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5034179"/>
                    <a:gd name="T133" fmla="*/ 0 h 4450003"/>
                    <a:gd name="T134" fmla="*/ 5034179 w 5034179"/>
                    <a:gd name="T135" fmla="*/ 4450003 h 4450003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5034179" h="4450003">
                      <a:moveTo>
                        <a:pt x="228285" y="39936"/>
                      </a:moveTo>
                      <a:lnTo>
                        <a:pt x="960360" y="133713"/>
                      </a:lnTo>
                      <a:lnTo>
                        <a:pt x="1297021" y="0"/>
                      </a:lnTo>
                      <a:lnTo>
                        <a:pt x="1643489" y="237711"/>
                      </a:lnTo>
                      <a:lnTo>
                        <a:pt x="1876151" y="485230"/>
                      </a:lnTo>
                      <a:lnTo>
                        <a:pt x="2286519" y="888059"/>
                      </a:lnTo>
                      <a:lnTo>
                        <a:pt x="2823571" y="873717"/>
                      </a:lnTo>
                      <a:lnTo>
                        <a:pt x="3178226" y="736925"/>
                      </a:lnTo>
                      <a:lnTo>
                        <a:pt x="3316695" y="915209"/>
                      </a:lnTo>
                      <a:lnTo>
                        <a:pt x="3306887" y="1321105"/>
                      </a:lnTo>
                      <a:lnTo>
                        <a:pt x="4054493" y="1232256"/>
                      </a:lnTo>
                      <a:lnTo>
                        <a:pt x="4296673" y="1138065"/>
                      </a:lnTo>
                      <a:lnTo>
                        <a:pt x="4559049" y="1103592"/>
                      </a:lnTo>
                      <a:lnTo>
                        <a:pt x="4503047" y="1392549"/>
                      </a:lnTo>
                      <a:lnTo>
                        <a:pt x="4302478" y="1614070"/>
                      </a:lnTo>
                      <a:lnTo>
                        <a:pt x="4448668" y="1770068"/>
                      </a:lnTo>
                      <a:lnTo>
                        <a:pt x="4581047" y="1479021"/>
                      </a:lnTo>
                      <a:lnTo>
                        <a:pt x="4659045" y="1179503"/>
                      </a:lnTo>
                      <a:lnTo>
                        <a:pt x="4918805" y="986826"/>
                      </a:lnTo>
                      <a:lnTo>
                        <a:pt x="4954845" y="1453021"/>
                      </a:lnTo>
                      <a:lnTo>
                        <a:pt x="5034179" y="1943010"/>
                      </a:lnTo>
                      <a:lnTo>
                        <a:pt x="4523994" y="2470141"/>
                      </a:lnTo>
                      <a:cubicBezTo>
                        <a:pt x="4524884" y="2571567"/>
                        <a:pt x="4525773" y="2672992"/>
                        <a:pt x="4526663" y="2774418"/>
                      </a:cubicBezTo>
                      <a:lnTo>
                        <a:pt x="4625905" y="3054321"/>
                      </a:lnTo>
                      <a:lnTo>
                        <a:pt x="4073819" y="3568975"/>
                      </a:lnTo>
                      <a:lnTo>
                        <a:pt x="3657825" y="3806396"/>
                      </a:lnTo>
                      <a:lnTo>
                        <a:pt x="3855314" y="4351982"/>
                      </a:lnTo>
                      <a:lnTo>
                        <a:pt x="2955079" y="4450003"/>
                      </a:lnTo>
                      <a:lnTo>
                        <a:pt x="2730962" y="4156135"/>
                      </a:lnTo>
                      <a:lnTo>
                        <a:pt x="2479950" y="3821250"/>
                      </a:lnTo>
                      <a:lnTo>
                        <a:pt x="2504905" y="3524111"/>
                      </a:lnTo>
                      <a:lnTo>
                        <a:pt x="1915676" y="3687538"/>
                      </a:lnTo>
                      <a:lnTo>
                        <a:pt x="1510070" y="3737158"/>
                      </a:lnTo>
                      <a:lnTo>
                        <a:pt x="693228" y="3435552"/>
                      </a:lnTo>
                      <a:lnTo>
                        <a:pt x="524752" y="2866229"/>
                      </a:lnTo>
                      <a:lnTo>
                        <a:pt x="559515" y="2222622"/>
                      </a:lnTo>
                      <a:lnTo>
                        <a:pt x="633220" y="1965295"/>
                      </a:lnTo>
                      <a:lnTo>
                        <a:pt x="1509780" y="1643491"/>
                      </a:lnTo>
                      <a:lnTo>
                        <a:pt x="1539493" y="1435494"/>
                      </a:lnTo>
                      <a:lnTo>
                        <a:pt x="906274" y="1079218"/>
                      </a:lnTo>
                      <a:lnTo>
                        <a:pt x="516517" y="1066740"/>
                      </a:lnTo>
                      <a:lnTo>
                        <a:pt x="0" y="753235"/>
                      </a:lnTo>
                      <a:lnTo>
                        <a:pt x="15148" y="262956"/>
                      </a:lnTo>
                      <a:lnTo>
                        <a:pt x="228285" y="39936"/>
                      </a:lnTo>
                      <a:close/>
                    </a:path>
                  </a:pathLst>
                </a:custGeom>
                <a:grpFill/>
                <a:ln w="6350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>
                  <a:outerShdw dist="28398" dir="6993903" algn="ctr" rotWithShape="0">
                    <a:srgbClr val="B2B2B2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 kern="0">
                    <a:solidFill>
                      <a:sysClr val="windowText" lastClr="000000"/>
                    </a:solidFill>
                    <a:latin typeface="Calibri"/>
                    <a:ea typeface="宋体" panose="02010600030101010101" pitchFamily="2" charset="-122"/>
                  </a:endParaRPr>
                </a:p>
              </p:txBody>
            </p:sp>
          </p:grpSp>
          <p:sp>
            <p:nvSpPr>
              <p:cNvPr id="85" name="任意多边形 49">
                <a:extLst>
                  <a:ext uri="{FF2B5EF4-FFF2-40B4-BE49-F238E27FC236}">
                    <a16:creationId xmlns:a16="http://schemas.microsoft.com/office/drawing/2014/main" id="{C45010B9-F552-4235-883E-5A9C691F77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51025" y="2668588"/>
                <a:ext cx="419100" cy="377825"/>
              </a:xfrm>
              <a:custGeom>
                <a:avLst/>
                <a:gdLst>
                  <a:gd name="T0" fmla="*/ 28 w 4895856"/>
                  <a:gd name="T1" fmla="*/ 9 h 4433078"/>
                  <a:gd name="T2" fmla="*/ 15 w 4895856"/>
                  <a:gd name="T3" fmla="*/ 24 h 4433078"/>
                  <a:gd name="T4" fmla="*/ 10 w 4895856"/>
                  <a:gd name="T5" fmla="*/ 42 h 4433078"/>
                  <a:gd name="T6" fmla="*/ 6 w 4895856"/>
                  <a:gd name="T7" fmla="*/ 56 h 4433078"/>
                  <a:gd name="T8" fmla="*/ 0 w 4895856"/>
                  <a:gd name="T9" fmla="*/ 62 h 4433078"/>
                  <a:gd name="T10" fmla="*/ 16 w 4895856"/>
                  <a:gd name="T11" fmla="*/ 64 h 4433078"/>
                  <a:gd name="T12" fmla="*/ 24 w 4895856"/>
                  <a:gd name="T13" fmla="*/ 61 h 4433078"/>
                  <a:gd name="T14" fmla="*/ 32 w 4895856"/>
                  <a:gd name="T15" fmla="*/ 66 h 4433078"/>
                  <a:gd name="T16" fmla="*/ 47 w 4895856"/>
                  <a:gd name="T17" fmla="*/ 82 h 4433078"/>
                  <a:gd name="T18" fmla="*/ 59 w 4895856"/>
                  <a:gd name="T19" fmla="*/ 81 h 4433078"/>
                  <a:gd name="T20" fmla="*/ 68 w 4895856"/>
                  <a:gd name="T21" fmla="*/ 78 h 4433078"/>
                  <a:gd name="T22" fmla="*/ 71 w 4895856"/>
                  <a:gd name="T23" fmla="*/ 82 h 4433078"/>
                  <a:gd name="T24" fmla="*/ 71 w 4895856"/>
                  <a:gd name="T25" fmla="*/ 92 h 4433078"/>
                  <a:gd name="T26" fmla="*/ 89 w 4895856"/>
                  <a:gd name="T27" fmla="*/ 89 h 4433078"/>
                  <a:gd name="T28" fmla="*/ 95 w 4895856"/>
                  <a:gd name="T29" fmla="*/ 87 h 4433078"/>
                  <a:gd name="T30" fmla="*/ 99 w 4895856"/>
                  <a:gd name="T31" fmla="*/ 87 h 4433078"/>
                  <a:gd name="T32" fmla="*/ 98 w 4895856"/>
                  <a:gd name="T33" fmla="*/ 93 h 4433078"/>
                  <a:gd name="T34" fmla="*/ 94 w 4895856"/>
                  <a:gd name="T35" fmla="*/ 98 h 4433078"/>
                  <a:gd name="T36" fmla="*/ 97 w 4895856"/>
                  <a:gd name="T37" fmla="*/ 102 h 4433078"/>
                  <a:gd name="T38" fmla="*/ 100 w 4895856"/>
                  <a:gd name="T39" fmla="*/ 95 h 4433078"/>
                  <a:gd name="T40" fmla="*/ 102 w 4895856"/>
                  <a:gd name="T41" fmla="*/ 88 h 4433078"/>
                  <a:gd name="T42" fmla="*/ 108 w 4895856"/>
                  <a:gd name="T43" fmla="*/ 84 h 4433078"/>
                  <a:gd name="T44" fmla="*/ 105 w 4895856"/>
                  <a:gd name="T45" fmla="*/ 80 h 4433078"/>
                  <a:gd name="T46" fmla="*/ 108 w 4895856"/>
                  <a:gd name="T47" fmla="*/ 73 h 4433078"/>
                  <a:gd name="T48" fmla="*/ 113 w 4895856"/>
                  <a:gd name="T49" fmla="*/ 72 h 4433078"/>
                  <a:gd name="T50" fmla="*/ 108 w 4895856"/>
                  <a:gd name="T51" fmla="*/ 64 h 4433078"/>
                  <a:gd name="T52" fmla="*/ 107 w 4895856"/>
                  <a:gd name="T53" fmla="*/ 66 h 4433078"/>
                  <a:gd name="T54" fmla="*/ 101 w 4895856"/>
                  <a:gd name="T55" fmla="*/ 79 h 4433078"/>
                  <a:gd name="T56" fmla="*/ 95 w 4895856"/>
                  <a:gd name="T57" fmla="*/ 73 h 4433078"/>
                  <a:gd name="T58" fmla="*/ 93 w 4895856"/>
                  <a:gd name="T59" fmla="*/ 60 h 4433078"/>
                  <a:gd name="T60" fmla="*/ 100 w 4895856"/>
                  <a:gd name="T61" fmla="*/ 52 h 4433078"/>
                  <a:gd name="T62" fmla="*/ 100 w 4895856"/>
                  <a:gd name="T63" fmla="*/ 38 h 4433078"/>
                  <a:gd name="T64" fmla="*/ 85 w 4895856"/>
                  <a:gd name="T65" fmla="*/ 22 h 4433078"/>
                  <a:gd name="T66" fmla="*/ 84 w 4895856"/>
                  <a:gd name="T67" fmla="*/ 25 h 4433078"/>
                  <a:gd name="T68" fmla="*/ 78 w 4895856"/>
                  <a:gd name="T69" fmla="*/ 33 h 4433078"/>
                  <a:gd name="T70" fmla="*/ 65 w 4895856"/>
                  <a:gd name="T71" fmla="*/ 14 h 4433078"/>
                  <a:gd name="T72" fmla="*/ 66 w 4895856"/>
                  <a:gd name="T73" fmla="*/ 6 h 4433078"/>
                  <a:gd name="T74" fmla="*/ 65 w 4895856"/>
                  <a:gd name="T75" fmla="*/ 0 h 4433078"/>
                  <a:gd name="T76" fmla="*/ 59 w 4895856"/>
                  <a:gd name="T77" fmla="*/ 3 h 4433078"/>
                  <a:gd name="T78" fmla="*/ 48 w 4895856"/>
                  <a:gd name="T79" fmla="*/ 15 h 4433078"/>
                  <a:gd name="T80" fmla="*/ 31 w 4895856"/>
                  <a:gd name="T81" fmla="*/ 15 h 4433078"/>
                  <a:gd name="T82" fmla="*/ 28 w 4895856"/>
                  <a:gd name="T83" fmla="*/ 9 h 4433078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4895856"/>
                  <a:gd name="T127" fmla="*/ 0 h 4433078"/>
                  <a:gd name="T128" fmla="*/ 4895856 w 4895856"/>
                  <a:gd name="T129" fmla="*/ 4433078 h 4433078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4895856" h="4433078">
                    <a:moveTo>
                      <a:pt x="1201751" y="389063"/>
                    </a:moveTo>
                    <a:lnTo>
                      <a:pt x="650285" y="1060218"/>
                    </a:lnTo>
                    <a:lnTo>
                      <a:pt x="444365" y="1846452"/>
                    </a:lnTo>
                    <a:lnTo>
                      <a:pt x="266082" y="2434787"/>
                    </a:lnTo>
                    <a:lnTo>
                      <a:pt x="0" y="2701909"/>
                    </a:lnTo>
                    <a:lnTo>
                      <a:pt x="703470" y="2804446"/>
                    </a:lnTo>
                    <a:lnTo>
                      <a:pt x="1047787" y="2667643"/>
                    </a:lnTo>
                    <a:lnTo>
                      <a:pt x="1391359" y="2890918"/>
                    </a:lnTo>
                    <a:lnTo>
                      <a:pt x="2042104" y="3552052"/>
                    </a:lnTo>
                    <a:lnTo>
                      <a:pt x="2564477" y="3536905"/>
                    </a:lnTo>
                    <a:lnTo>
                      <a:pt x="2950757" y="3410621"/>
                    </a:lnTo>
                    <a:lnTo>
                      <a:pt x="3069323" y="3568996"/>
                    </a:lnTo>
                    <a:lnTo>
                      <a:pt x="3086269" y="3997470"/>
                    </a:lnTo>
                    <a:lnTo>
                      <a:pt x="3841413" y="3897648"/>
                    </a:lnTo>
                    <a:lnTo>
                      <a:pt x="4116157" y="3786801"/>
                    </a:lnTo>
                    <a:lnTo>
                      <a:pt x="4314346" y="3776703"/>
                    </a:lnTo>
                    <a:lnTo>
                      <a:pt x="4258107" y="4063744"/>
                    </a:lnTo>
                    <a:lnTo>
                      <a:pt x="4068916" y="4279460"/>
                    </a:lnTo>
                    <a:lnTo>
                      <a:pt x="4210058" y="4433078"/>
                    </a:lnTo>
                    <a:lnTo>
                      <a:pt x="4351198" y="4125841"/>
                    </a:lnTo>
                    <a:lnTo>
                      <a:pt x="4427863" y="3848608"/>
                    </a:lnTo>
                    <a:lnTo>
                      <a:pt x="4678498" y="3647169"/>
                    </a:lnTo>
                    <a:lnTo>
                      <a:pt x="4544046" y="3504809"/>
                    </a:lnTo>
                    <a:lnTo>
                      <a:pt x="4675379" y="3170528"/>
                    </a:lnTo>
                    <a:lnTo>
                      <a:pt x="4895856" y="3150622"/>
                    </a:lnTo>
                    <a:lnTo>
                      <a:pt x="4677758" y="2772060"/>
                    </a:lnTo>
                    <a:lnTo>
                      <a:pt x="4630808" y="2871010"/>
                    </a:lnTo>
                    <a:lnTo>
                      <a:pt x="4388338" y="3457859"/>
                    </a:lnTo>
                    <a:lnTo>
                      <a:pt x="4106059" y="3165769"/>
                    </a:lnTo>
                    <a:lnTo>
                      <a:pt x="4019297" y="2633589"/>
                    </a:lnTo>
                    <a:lnTo>
                      <a:pt x="4341390" y="2267504"/>
                    </a:lnTo>
                    <a:lnTo>
                      <a:pt x="4331873" y="1641133"/>
                    </a:lnTo>
                    <a:lnTo>
                      <a:pt x="3705212" y="972861"/>
                    </a:lnTo>
                    <a:lnTo>
                      <a:pt x="3653212" y="1108953"/>
                    </a:lnTo>
                    <a:lnTo>
                      <a:pt x="3398665" y="1430698"/>
                    </a:lnTo>
                    <a:lnTo>
                      <a:pt x="2824183" y="596968"/>
                    </a:lnTo>
                    <a:lnTo>
                      <a:pt x="2846469" y="282593"/>
                    </a:lnTo>
                    <a:lnTo>
                      <a:pt x="2818809" y="0"/>
                    </a:lnTo>
                    <a:lnTo>
                      <a:pt x="2571905" y="143832"/>
                    </a:lnTo>
                    <a:lnTo>
                      <a:pt x="2081387" y="637302"/>
                    </a:lnTo>
                    <a:lnTo>
                      <a:pt x="1364024" y="656396"/>
                    </a:lnTo>
                    <a:lnTo>
                      <a:pt x="1201751" y="389063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>
                  <a:defRPr/>
                </a:pPr>
                <a:endParaRPr lang="zh-CN" altLang="en-US" kern="0">
                  <a:solidFill>
                    <a:sysClr val="windowText" lastClr="000000"/>
                  </a:solidFill>
                  <a:latin typeface="Calibri"/>
                  <a:ea typeface="宋体" panose="02010600030101010101" pitchFamily="2" charset="-122"/>
                </a:endParaRPr>
              </a:p>
            </p:txBody>
          </p:sp>
          <p:sp>
            <p:nvSpPr>
              <p:cNvPr id="86" name="任意多边形 62">
                <a:extLst>
                  <a:ext uri="{FF2B5EF4-FFF2-40B4-BE49-F238E27FC236}">
                    <a16:creationId xmlns:a16="http://schemas.microsoft.com/office/drawing/2014/main" id="{9B2919DC-12D1-424E-B30E-4A4B9ED5C1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89263" y="3203576"/>
                <a:ext cx="403225" cy="377825"/>
              </a:xfrm>
              <a:custGeom>
                <a:avLst/>
                <a:gdLst>
                  <a:gd name="T0" fmla="*/ 33 w 4707922"/>
                  <a:gd name="T1" fmla="*/ 25 h 4433063"/>
                  <a:gd name="T2" fmla="*/ 22 w 4707922"/>
                  <a:gd name="T3" fmla="*/ 18 h 4433063"/>
                  <a:gd name="T4" fmla="*/ 16 w 4707922"/>
                  <a:gd name="T5" fmla="*/ 27 h 4433063"/>
                  <a:gd name="T6" fmla="*/ 17 w 4707922"/>
                  <a:gd name="T7" fmla="*/ 36 h 4433063"/>
                  <a:gd name="T8" fmla="*/ 18 w 4707922"/>
                  <a:gd name="T9" fmla="*/ 48 h 4433063"/>
                  <a:gd name="T10" fmla="*/ 16 w 4707922"/>
                  <a:gd name="T11" fmla="*/ 59 h 4433063"/>
                  <a:gd name="T12" fmla="*/ 8 w 4707922"/>
                  <a:gd name="T13" fmla="*/ 62 h 4433063"/>
                  <a:gd name="T14" fmla="*/ 0 w 4707922"/>
                  <a:gd name="T15" fmla="*/ 72 h 4433063"/>
                  <a:gd name="T16" fmla="*/ 11 w 4707922"/>
                  <a:gd name="T17" fmla="*/ 80 h 4433063"/>
                  <a:gd name="T18" fmla="*/ 27 w 4707922"/>
                  <a:gd name="T19" fmla="*/ 92 h 4433063"/>
                  <a:gd name="T20" fmla="*/ 46 w 4707922"/>
                  <a:gd name="T21" fmla="*/ 94 h 4433063"/>
                  <a:gd name="T22" fmla="*/ 64 w 4707922"/>
                  <a:gd name="T23" fmla="*/ 101 h 4433063"/>
                  <a:gd name="T24" fmla="*/ 82 w 4707922"/>
                  <a:gd name="T25" fmla="*/ 102 h 4433063"/>
                  <a:gd name="T26" fmla="*/ 71 w 4707922"/>
                  <a:gd name="T27" fmla="*/ 79 h 4433063"/>
                  <a:gd name="T28" fmla="*/ 85 w 4707922"/>
                  <a:gd name="T29" fmla="*/ 73 h 4433063"/>
                  <a:gd name="T30" fmla="*/ 92 w 4707922"/>
                  <a:gd name="T31" fmla="*/ 65 h 4433063"/>
                  <a:gd name="T32" fmla="*/ 93 w 4707922"/>
                  <a:gd name="T33" fmla="*/ 59 h 4433063"/>
                  <a:gd name="T34" fmla="*/ 99 w 4707922"/>
                  <a:gd name="T35" fmla="*/ 54 h 4433063"/>
                  <a:gd name="T36" fmla="*/ 109 w 4707922"/>
                  <a:gd name="T37" fmla="*/ 53 h 4433063"/>
                  <a:gd name="T38" fmla="*/ 102 w 4707922"/>
                  <a:gd name="T39" fmla="*/ 46 h 4433063"/>
                  <a:gd name="T40" fmla="*/ 88 w 4707922"/>
                  <a:gd name="T41" fmla="*/ 42 h 4433063"/>
                  <a:gd name="T42" fmla="*/ 85 w 4707922"/>
                  <a:gd name="T43" fmla="*/ 32 h 4433063"/>
                  <a:gd name="T44" fmla="*/ 81 w 4707922"/>
                  <a:gd name="T45" fmla="*/ 21 h 4433063"/>
                  <a:gd name="T46" fmla="*/ 84 w 4707922"/>
                  <a:gd name="T47" fmla="*/ 8 h 4433063"/>
                  <a:gd name="T48" fmla="*/ 76 w 4707922"/>
                  <a:gd name="T49" fmla="*/ 0 h 4433063"/>
                  <a:gd name="T50" fmla="*/ 63 w 4707922"/>
                  <a:gd name="T51" fmla="*/ 8 h 4433063"/>
                  <a:gd name="T52" fmla="*/ 56 w 4707922"/>
                  <a:gd name="T53" fmla="*/ 7 h 4433063"/>
                  <a:gd name="T54" fmla="*/ 48 w 4707922"/>
                  <a:gd name="T55" fmla="*/ 2 h 4433063"/>
                  <a:gd name="T56" fmla="*/ 37 w 4707922"/>
                  <a:gd name="T57" fmla="*/ 3 h 4433063"/>
                  <a:gd name="T58" fmla="*/ 41 w 4707922"/>
                  <a:gd name="T59" fmla="*/ 19 h 4433063"/>
                  <a:gd name="T60" fmla="*/ 33 w 4707922"/>
                  <a:gd name="T61" fmla="*/ 25 h 4433063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4707922"/>
                  <a:gd name="T94" fmla="*/ 0 h 4433063"/>
                  <a:gd name="T95" fmla="*/ 4707922 w 4707922"/>
                  <a:gd name="T96" fmla="*/ 4433063 h 4433063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4707922" h="4433063">
                    <a:moveTo>
                      <a:pt x="1410399" y="1076789"/>
                    </a:moveTo>
                    <a:lnTo>
                      <a:pt x="937555" y="779758"/>
                    </a:lnTo>
                    <a:lnTo>
                      <a:pt x="700889" y="1155940"/>
                    </a:lnTo>
                    <a:lnTo>
                      <a:pt x="734085" y="1580699"/>
                    </a:lnTo>
                    <a:lnTo>
                      <a:pt x="796704" y="2111546"/>
                    </a:lnTo>
                    <a:lnTo>
                      <a:pt x="701991" y="2553251"/>
                    </a:lnTo>
                    <a:lnTo>
                      <a:pt x="355462" y="2716151"/>
                    </a:lnTo>
                    <a:lnTo>
                      <a:pt x="0" y="3117525"/>
                    </a:lnTo>
                    <a:lnTo>
                      <a:pt x="460743" y="3493473"/>
                    </a:lnTo>
                    <a:lnTo>
                      <a:pt x="1173291" y="4014634"/>
                    </a:lnTo>
                    <a:lnTo>
                      <a:pt x="1979630" y="4116594"/>
                    </a:lnTo>
                    <a:lnTo>
                      <a:pt x="2776800" y="4404971"/>
                    </a:lnTo>
                    <a:lnTo>
                      <a:pt x="3564967" y="4433063"/>
                    </a:lnTo>
                    <a:lnTo>
                      <a:pt x="3086356" y="3446464"/>
                    </a:lnTo>
                    <a:lnTo>
                      <a:pt x="3701875" y="3180141"/>
                    </a:lnTo>
                    <a:lnTo>
                      <a:pt x="4001394" y="2851431"/>
                    </a:lnTo>
                    <a:lnTo>
                      <a:pt x="4054439" y="2576053"/>
                    </a:lnTo>
                    <a:lnTo>
                      <a:pt x="4292672" y="2347109"/>
                    </a:lnTo>
                    <a:lnTo>
                      <a:pt x="4707922" y="2295887"/>
                    </a:lnTo>
                    <a:lnTo>
                      <a:pt x="4405435" y="1994545"/>
                    </a:lnTo>
                    <a:lnTo>
                      <a:pt x="3798155" y="1809124"/>
                    </a:lnTo>
                    <a:lnTo>
                      <a:pt x="3679590" y="1375893"/>
                    </a:lnTo>
                    <a:lnTo>
                      <a:pt x="3495736" y="904998"/>
                    </a:lnTo>
                    <a:lnTo>
                      <a:pt x="3648830" y="368581"/>
                    </a:lnTo>
                    <a:lnTo>
                      <a:pt x="3274802" y="0"/>
                    </a:lnTo>
                    <a:lnTo>
                      <a:pt x="2727990" y="348968"/>
                    </a:lnTo>
                    <a:lnTo>
                      <a:pt x="2421333" y="321109"/>
                    </a:lnTo>
                    <a:lnTo>
                      <a:pt x="2102433" y="87111"/>
                    </a:lnTo>
                    <a:lnTo>
                      <a:pt x="1610820" y="116537"/>
                    </a:lnTo>
                    <a:lnTo>
                      <a:pt x="1780397" y="847721"/>
                    </a:lnTo>
                    <a:lnTo>
                      <a:pt x="1410399" y="1076789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>
                  <a:defRPr/>
                </a:pPr>
                <a:endParaRPr lang="zh-CN" altLang="en-US" kern="0">
                  <a:solidFill>
                    <a:sysClr val="windowText" lastClr="000000"/>
                  </a:solidFill>
                  <a:latin typeface="Calibri"/>
                  <a:ea typeface="宋体" panose="02010600030101010101" pitchFamily="2" charset="-122"/>
                </a:endParaRPr>
              </a:p>
            </p:txBody>
          </p:sp>
          <p:sp>
            <p:nvSpPr>
              <p:cNvPr id="87" name="任意多边形 52">
                <a:extLst>
                  <a:ext uri="{FF2B5EF4-FFF2-40B4-BE49-F238E27FC236}">
                    <a16:creationId xmlns:a16="http://schemas.microsoft.com/office/drawing/2014/main" id="{529CE801-7FEE-492A-B7F2-6CBC00A3E0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4900" y="5770563"/>
                <a:ext cx="87312" cy="63500"/>
              </a:xfrm>
              <a:custGeom>
                <a:avLst/>
                <a:gdLst>
                  <a:gd name="T0" fmla="*/ 0 w 276"/>
                  <a:gd name="T1" fmla="*/ 1145 h 204"/>
                  <a:gd name="T2" fmla="*/ 16808 w 276"/>
                  <a:gd name="T3" fmla="*/ 56310 h 204"/>
                  <a:gd name="T4" fmla="*/ 72609 w 276"/>
                  <a:gd name="T5" fmla="*/ 52135 h 204"/>
                  <a:gd name="T6" fmla="*/ 50014 w 276"/>
                  <a:gd name="T7" fmla="*/ 0 h 204"/>
                  <a:gd name="T8" fmla="*/ 0 w 276"/>
                  <a:gd name="T9" fmla="*/ 1145 h 20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76"/>
                  <a:gd name="T16" fmla="*/ 0 h 204"/>
                  <a:gd name="T17" fmla="*/ 276 w 276"/>
                  <a:gd name="T18" fmla="*/ 204 h 20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76" h="204">
                    <a:moveTo>
                      <a:pt x="47" y="4"/>
                    </a:moveTo>
                    <a:lnTo>
                      <a:pt x="72" y="96"/>
                    </a:lnTo>
                    <a:lnTo>
                      <a:pt x="0" y="156"/>
                    </a:lnTo>
                    <a:lnTo>
                      <a:pt x="30" y="204"/>
                    </a:lnTo>
                    <a:lnTo>
                      <a:pt x="100" y="181"/>
                    </a:lnTo>
                    <a:lnTo>
                      <a:pt x="150" y="138"/>
                    </a:lnTo>
                    <a:lnTo>
                      <a:pt x="204" y="186"/>
                    </a:lnTo>
                    <a:lnTo>
                      <a:pt x="276" y="168"/>
                    </a:lnTo>
                    <a:lnTo>
                      <a:pt x="205" y="0"/>
                    </a:lnTo>
                    <a:lnTo>
                      <a:pt x="47" y="4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>
                  <a:defRPr/>
                </a:pPr>
                <a:endParaRPr lang="zh-CN" altLang="en-US" kern="0">
                  <a:solidFill>
                    <a:sysClr val="windowText" lastClr="000000"/>
                  </a:solidFill>
                  <a:latin typeface="Calibri"/>
                  <a:ea typeface="宋体" panose="02010600030101010101" pitchFamily="2" charset="-122"/>
                </a:endParaRPr>
              </a:p>
            </p:txBody>
          </p:sp>
          <p:sp>
            <p:nvSpPr>
              <p:cNvPr id="88" name="任意多边形 5">
                <a:extLst>
                  <a:ext uri="{FF2B5EF4-FFF2-40B4-BE49-F238E27FC236}">
                    <a16:creationId xmlns:a16="http://schemas.microsoft.com/office/drawing/2014/main" id="{9159CED7-E31E-4590-B3F8-2C41FCE615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1975" y="5876926"/>
                <a:ext cx="73025" cy="58738"/>
              </a:xfrm>
              <a:custGeom>
                <a:avLst/>
                <a:gdLst>
                  <a:gd name="T0" fmla="*/ 70982 w 227"/>
                  <a:gd name="T1" fmla="*/ 95265 h 184"/>
                  <a:gd name="T2" fmla="*/ 0 w 227"/>
                  <a:gd name="T3" fmla="*/ 432242 h 184"/>
                  <a:gd name="T4" fmla="*/ 554384 w 227"/>
                  <a:gd name="T5" fmla="*/ 447960 h 184"/>
                  <a:gd name="T6" fmla="*/ 237593 w 227"/>
                  <a:gd name="T7" fmla="*/ 0 h 184"/>
                  <a:gd name="T8" fmla="*/ 70982 w 227"/>
                  <a:gd name="T9" fmla="*/ 95265 h 18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27"/>
                  <a:gd name="T16" fmla="*/ 0 h 184"/>
                  <a:gd name="T17" fmla="*/ 227 w 227"/>
                  <a:gd name="T18" fmla="*/ 184 h 18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27" h="184">
                    <a:moveTo>
                      <a:pt x="130" y="0"/>
                    </a:moveTo>
                    <a:lnTo>
                      <a:pt x="0" y="48"/>
                    </a:lnTo>
                    <a:lnTo>
                      <a:pt x="80" y="184"/>
                    </a:lnTo>
                    <a:lnTo>
                      <a:pt x="227" y="132"/>
                    </a:lnTo>
                    <a:lnTo>
                      <a:pt x="130" y="0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>
                  <a:defRPr/>
                </a:pPr>
                <a:endParaRPr lang="zh-CN" altLang="en-US" kern="0">
                  <a:solidFill>
                    <a:sysClr val="windowText" lastClr="000000"/>
                  </a:solidFill>
                  <a:latin typeface="Calibri"/>
                  <a:ea typeface="宋体" panose="02010600030101010101" pitchFamily="2" charset="-122"/>
                </a:endParaRPr>
              </a:p>
            </p:txBody>
          </p:sp>
          <p:sp>
            <p:nvSpPr>
              <p:cNvPr id="89" name="任意多边形 52">
                <a:extLst>
                  <a:ext uri="{FF2B5EF4-FFF2-40B4-BE49-F238E27FC236}">
                    <a16:creationId xmlns:a16="http://schemas.microsoft.com/office/drawing/2014/main" id="{57F37CC8-4525-4BC8-BBCC-D2E568EF55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4900" y="5768976"/>
                <a:ext cx="87312" cy="65088"/>
              </a:xfrm>
              <a:custGeom>
                <a:avLst/>
                <a:gdLst>
                  <a:gd name="T0" fmla="*/ 0 w 276"/>
                  <a:gd name="T1" fmla="*/ 1173 h 204"/>
                  <a:gd name="T2" fmla="*/ 16808 w 276"/>
                  <a:gd name="T3" fmla="*/ 57718 h 204"/>
                  <a:gd name="T4" fmla="*/ 72609 w 276"/>
                  <a:gd name="T5" fmla="*/ 53438 h 204"/>
                  <a:gd name="T6" fmla="*/ 50014 w 276"/>
                  <a:gd name="T7" fmla="*/ 0 h 204"/>
                  <a:gd name="T8" fmla="*/ 0 w 276"/>
                  <a:gd name="T9" fmla="*/ 1173 h 20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76"/>
                  <a:gd name="T16" fmla="*/ 0 h 204"/>
                  <a:gd name="T17" fmla="*/ 276 w 276"/>
                  <a:gd name="T18" fmla="*/ 204 h 20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76" h="204">
                    <a:moveTo>
                      <a:pt x="47" y="4"/>
                    </a:moveTo>
                    <a:lnTo>
                      <a:pt x="72" y="96"/>
                    </a:lnTo>
                    <a:lnTo>
                      <a:pt x="0" y="156"/>
                    </a:lnTo>
                    <a:lnTo>
                      <a:pt x="30" y="204"/>
                    </a:lnTo>
                    <a:lnTo>
                      <a:pt x="100" y="181"/>
                    </a:lnTo>
                    <a:lnTo>
                      <a:pt x="150" y="138"/>
                    </a:lnTo>
                    <a:lnTo>
                      <a:pt x="204" y="186"/>
                    </a:lnTo>
                    <a:lnTo>
                      <a:pt x="276" y="168"/>
                    </a:lnTo>
                    <a:lnTo>
                      <a:pt x="205" y="0"/>
                    </a:lnTo>
                    <a:lnTo>
                      <a:pt x="47" y="4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>
                  <a:defRPr/>
                </a:pPr>
                <a:endParaRPr lang="zh-CN" altLang="en-US" kern="0">
                  <a:solidFill>
                    <a:sysClr val="windowText" lastClr="000000"/>
                  </a:solidFill>
                  <a:latin typeface="Calibri"/>
                  <a:ea typeface="宋体" panose="02010600030101010101" pitchFamily="2" charset="-122"/>
                </a:endParaRPr>
              </a:p>
            </p:txBody>
          </p:sp>
        </p:grpSp>
        <p:sp>
          <p:nvSpPr>
            <p:cNvPr id="11" name="Textfeld 15">
              <a:extLst>
                <a:ext uri="{FF2B5EF4-FFF2-40B4-BE49-F238E27FC236}">
                  <a16:creationId xmlns:a16="http://schemas.microsoft.com/office/drawing/2014/main" id="{B06E324C-4C89-4141-A508-3D0C60904CCC}"/>
                </a:ext>
              </a:extLst>
            </p:cNvPr>
            <p:cNvSpPr txBox="1"/>
            <p:nvPr/>
          </p:nvSpPr>
          <p:spPr bwMode="gray">
            <a:xfrm>
              <a:off x="6577237" y="3311253"/>
              <a:ext cx="468000" cy="172800"/>
            </a:xfrm>
            <a:prstGeom prst="rect">
              <a:avLst/>
            </a:prstGeom>
            <a:solidFill>
              <a:srgbClr val="000099"/>
            </a:solidFill>
            <a:ln w="19050">
              <a:noFill/>
            </a:ln>
          </p:spPr>
          <p:txBody>
            <a:bodyPr wrap="square" lIns="0" tIns="0" rIns="0" bIns="0" rtlCol="0" anchor="ctr">
              <a:sp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685595">
                <a:buClr>
                  <a:srgbClr val="FF9900"/>
                </a:buClr>
                <a:buSzPct val="140000"/>
                <a:defRPr/>
              </a:pPr>
              <a:r>
                <a:rPr lang="de-DE" sz="1100">
                  <a:solidFill>
                    <a:srgbClr val="FFFFFF"/>
                  </a:solidFill>
                  <a:latin typeface="+mj-lt"/>
                  <a:ea typeface="DIN-Regular" panose="020B0500010101010101" pitchFamily="34" charset="0"/>
                </a:rPr>
                <a:t> Tamm </a:t>
              </a:r>
            </a:p>
          </p:txBody>
        </p:sp>
        <p:sp>
          <p:nvSpPr>
            <p:cNvPr id="12" name="Textfeld 15">
              <a:extLst>
                <a:ext uri="{FF2B5EF4-FFF2-40B4-BE49-F238E27FC236}">
                  <a16:creationId xmlns:a16="http://schemas.microsoft.com/office/drawing/2014/main" id="{0080C0BF-56A7-4374-A4CB-12D2CFDF4400}"/>
                </a:ext>
              </a:extLst>
            </p:cNvPr>
            <p:cNvSpPr txBox="1"/>
            <p:nvPr/>
          </p:nvSpPr>
          <p:spPr bwMode="gray">
            <a:xfrm>
              <a:off x="5074349" y="2549150"/>
              <a:ext cx="900000" cy="171316"/>
            </a:xfrm>
            <a:prstGeom prst="rect">
              <a:avLst/>
            </a:prstGeom>
            <a:solidFill>
              <a:srgbClr val="FF9900"/>
            </a:solidFill>
            <a:ln w="19050">
              <a:noFill/>
            </a:ln>
          </p:spPr>
          <p:txBody>
            <a:bodyPr wrap="square" lIns="0" tIns="0" rIns="0" bIns="0" rtlCol="0" anchor="ctr">
              <a:sp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685595">
                <a:buClr>
                  <a:srgbClr val="FF9900"/>
                </a:buClr>
                <a:buSzPct val="140000"/>
                <a:defRPr/>
              </a:pPr>
              <a:r>
                <a:rPr lang="de-DE" sz="1100">
                  <a:solidFill>
                    <a:srgbClr val="FFFFFF"/>
                  </a:solidFill>
                  <a:latin typeface="+mj-lt"/>
                  <a:ea typeface="DIN-Regular" panose="020B0500010101010101" pitchFamily="34" charset="0"/>
                </a:rPr>
                <a:t>Dossenheim </a:t>
              </a:r>
            </a:p>
          </p:txBody>
        </p:sp>
        <p:sp>
          <p:nvSpPr>
            <p:cNvPr id="13" name="Textfeld 15">
              <a:extLst>
                <a:ext uri="{FF2B5EF4-FFF2-40B4-BE49-F238E27FC236}">
                  <a16:creationId xmlns:a16="http://schemas.microsoft.com/office/drawing/2014/main" id="{3F70AEBF-182E-41D7-BEC0-AA9D1E956D5A}"/>
                </a:ext>
              </a:extLst>
            </p:cNvPr>
            <p:cNvSpPr txBox="1"/>
            <p:nvPr/>
          </p:nvSpPr>
          <p:spPr bwMode="gray">
            <a:xfrm>
              <a:off x="5894791" y="4442504"/>
              <a:ext cx="936000" cy="172800"/>
            </a:xfrm>
            <a:prstGeom prst="rect">
              <a:avLst/>
            </a:prstGeom>
            <a:solidFill>
              <a:srgbClr val="00A0E3"/>
            </a:solidFill>
            <a:ln w="19050">
              <a:noFill/>
            </a:ln>
          </p:spPr>
          <p:txBody>
            <a:bodyPr wrap="square" lIns="0" tIns="0" rIns="0" bIns="0" rtlCol="0" anchor="ctr">
              <a:sp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685595">
                <a:buClr>
                  <a:srgbClr val="FF9900"/>
                </a:buClr>
                <a:buSzPct val="140000"/>
                <a:defRPr/>
              </a:pPr>
              <a:r>
                <a:rPr lang="de-DE" sz="1100">
                  <a:solidFill>
                    <a:srgbClr val="FFFFFF"/>
                  </a:solidFill>
                  <a:latin typeface="+mj-lt"/>
                  <a:ea typeface="DIN-Regular" panose="020B0500010101010101" pitchFamily="34" charset="0"/>
                </a:rPr>
                <a:t>Kusterdingen </a:t>
              </a:r>
            </a:p>
          </p:txBody>
        </p:sp>
        <p:sp>
          <p:nvSpPr>
            <p:cNvPr id="14" name="Textfeld 15">
              <a:extLst>
                <a:ext uri="{FF2B5EF4-FFF2-40B4-BE49-F238E27FC236}">
                  <a16:creationId xmlns:a16="http://schemas.microsoft.com/office/drawing/2014/main" id="{8118059E-9583-4725-A080-F054B415BEB3}"/>
                </a:ext>
              </a:extLst>
            </p:cNvPr>
            <p:cNvSpPr txBox="1"/>
            <p:nvPr/>
          </p:nvSpPr>
          <p:spPr bwMode="gray">
            <a:xfrm>
              <a:off x="4362059" y="4238129"/>
              <a:ext cx="720000" cy="172800"/>
            </a:xfrm>
            <a:prstGeom prst="rect">
              <a:avLst/>
            </a:prstGeom>
            <a:solidFill>
              <a:srgbClr val="FF9900"/>
            </a:solidFill>
            <a:ln w="19050">
              <a:noFill/>
            </a:ln>
          </p:spPr>
          <p:txBody>
            <a:bodyPr wrap="square" lIns="0" tIns="0" rIns="0" bIns="0" rtlCol="0" anchor="ctr">
              <a:sp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685595">
                <a:buClr>
                  <a:srgbClr val="FF9900"/>
                </a:buClr>
                <a:buSzPct val="140000"/>
                <a:defRPr/>
              </a:pPr>
              <a:r>
                <a:rPr lang="de-DE" sz="1100">
                  <a:solidFill>
                    <a:srgbClr val="FFFFFF"/>
                  </a:solidFill>
                  <a:latin typeface="+mj-lt"/>
                  <a:ea typeface="DIN-Regular" panose="020B0500010101010101" pitchFamily="34" charset="0"/>
                </a:rPr>
                <a:t>Ettenheim </a:t>
              </a:r>
            </a:p>
          </p:txBody>
        </p:sp>
        <p:sp>
          <p:nvSpPr>
            <p:cNvPr id="15" name="Textfeld 15">
              <a:extLst>
                <a:ext uri="{FF2B5EF4-FFF2-40B4-BE49-F238E27FC236}">
                  <a16:creationId xmlns:a16="http://schemas.microsoft.com/office/drawing/2014/main" id="{93C2FB58-8E6B-4146-9EF9-F821FD8776F5}"/>
                </a:ext>
              </a:extLst>
            </p:cNvPr>
            <p:cNvSpPr txBox="1"/>
            <p:nvPr/>
          </p:nvSpPr>
          <p:spPr bwMode="gray">
            <a:xfrm>
              <a:off x="6667717" y="3728662"/>
              <a:ext cx="720000" cy="172800"/>
            </a:xfrm>
            <a:prstGeom prst="rect">
              <a:avLst/>
            </a:prstGeom>
            <a:solidFill>
              <a:srgbClr val="3B3B3B"/>
            </a:solidFill>
            <a:ln w="19050">
              <a:noFill/>
            </a:ln>
          </p:spPr>
          <p:txBody>
            <a:bodyPr wrap="square" lIns="0" tIns="0" rIns="0" bIns="0" rtlCol="0" anchor="ctr">
              <a:sp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685595">
                <a:buClr>
                  <a:srgbClr val="FF9900"/>
                </a:buClr>
                <a:buSzPct val="140000"/>
                <a:defRPr/>
              </a:pPr>
              <a:r>
                <a:rPr lang="de-DE" sz="1100">
                  <a:solidFill>
                    <a:srgbClr val="FFFFFF"/>
                  </a:solidFill>
                  <a:latin typeface="+mj-lt"/>
                  <a:ea typeface="DIN-Regular" panose="020B0500010101010101" pitchFamily="34" charset="0"/>
                </a:rPr>
                <a:t>Ostfildern</a:t>
              </a:r>
            </a:p>
          </p:txBody>
        </p:sp>
        <p:sp>
          <p:nvSpPr>
            <p:cNvPr id="16" name="Textfeld 15">
              <a:extLst>
                <a:ext uri="{FF2B5EF4-FFF2-40B4-BE49-F238E27FC236}">
                  <a16:creationId xmlns:a16="http://schemas.microsoft.com/office/drawing/2014/main" id="{DC952E44-5040-48F1-99C4-EE887B479A7C}"/>
                </a:ext>
              </a:extLst>
            </p:cNvPr>
            <p:cNvSpPr txBox="1"/>
            <p:nvPr/>
          </p:nvSpPr>
          <p:spPr bwMode="gray">
            <a:xfrm>
              <a:off x="3982603" y="5018344"/>
              <a:ext cx="756000" cy="172800"/>
            </a:xfrm>
            <a:prstGeom prst="rect">
              <a:avLst/>
            </a:prstGeom>
            <a:solidFill>
              <a:srgbClr val="FF9900"/>
            </a:solidFill>
            <a:ln w="19050">
              <a:noFill/>
            </a:ln>
          </p:spPr>
          <p:txBody>
            <a:bodyPr wrap="square" lIns="0" tIns="0" rIns="0" bIns="0" rtlCol="0" anchor="ctr">
              <a:sp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685800">
                <a:buClr>
                  <a:srgbClr val="FF9900"/>
                </a:buClr>
                <a:buSzPct val="140000"/>
                <a:defRPr/>
              </a:pPr>
              <a:r>
                <a:rPr lang="de-DE" sz="1100">
                  <a:solidFill>
                    <a:srgbClr val="FFFFFF"/>
                  </a:solidFill>
                  <a:latin typeface="+mj-lt"/>
                  <a:ea typeface="DIN-Regular" panose="020B0500010101010101" pitchFamily="34" charset="0"/>
                </a:rPr>
                <a:t>Ringsheim </a:t>
              </a:r>
            </a:p>
          </p:txBody>
        </p:sp>
        <p:sp>
          <p:nvSpPr>
            <p:cNvPr id="17" name="Textfeld 15">
              <a:extLst>
                <a:ext uri="{FF2B5EF4-FFF2-40B4-BE49-F238E27FC236}">
                  <a16:creationId xmlns:a16="http://schemas.microsoft.com/office/drawing/2014/main" id="{A20D7F73-F14E-4666-B0FA-7FCA872C0430}"/>
                </a:ext>
              </a:extLst>
            </p:cNvPr>
            <p:cNvSpPr txBox="1"/>
            <p:nvPr/>
          </p:nvSpPr>
          <p:spPr bwMode="gray">
            <a:xfrm>
              <a:off x="6898013" y="5414656"/>
              <a:ext cx="612000" cy="172800"/>
            </a:xfrm>
            <a:prstGeom prst="rect">
              <a:avLst/>
            </a:prstGeom>
            <a:solidFill>
              <a:srgbClr val="FF9900"/>
            </a:solidFill>
            <a:ln w="19050">
              <a:noFill/>
            </a:ln>
          </p:spPr>
          <p:txBody>
            <a:bodyPr wrap="square" lIns="0" tIns="0" rIns="0" bIns="0" rtlCol="0" anchor="ctr">
              <a:sp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685595">
                <a:buClr>
                  <a:srgbClr val="FF9900"/>
                </a:buClr>
                <a:buSzPct val="140000"/>
                <a:defRPr/>
              </a:pPr>
              <a:r>
                <a:rPr lang="de-DE" sz="1100">
                  <a:solidFill>
                    <a:srgbClr val="FFFFFF"/>
                  </a:solidFill>
                  <a:latin typeface="+mj-lt"/>
                  <a:ea typeface="DIN-Regular" panose="020B0500010101010101" pitchFamily="34" charset="0"/>
                </a:rPr>
                <a:t> Wangen </a:t>
              </a:r>
            </a:p>
          </p:txBody>
        </p:sp>
        <p:sp>
          <p:nvSpPr>
            <p:cNvPr id="18" name="Textfeld 15">
              <a:extLst>
                <a:ext uri="{FF2B5EF4-FFF2-40B4-BE49-F238E27FC236}">
                  <a16:creationId xmlns:a16="http://schemas.microsoft.com/office/drawing/2014/main" id="{BFDE9098-33AB-42FE-B7B4-B2C8BF277CAE}"/>
                </a:ext>
              </a:extLst>
            </p:cNvPr>
            <p:cNvSpPr txBox="1"/>
            <p:nvPr/>
          </p:nvSpPr>
          <p:spPr bwMode="gray">
            <a:xfrm>
              <a:off x="6701054" y="2356162"/>
              <a:ext cx="791286" cy="172800"/>
            </a:xfrm>
            <a:prstGeom prst="rect">
              <a:avLst/>
            </a:prstGeom>
            <a:solidFill>
              <a:srgbClr val="FF9900"/>
            </a:solidFill>
            <a:ln w="19050">
              <a:noFill/>
            </a:ln>
          </p:spPr>
          <p:txBody>
            <a:bodyPr wrap="square" lIns="0" tIns="0" rIns="0" bIns="0" rtlCol="0" anchor="ctr">
              <a:sp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685595">
                <a:buClr>
                  <a:srgbClr val="FF9900"/>
                </a:buClr>
                <a:buSzPct val="140000"/>
                <a:defRPr/>
              </a:pPr>
              <a:r>
                <a:rPr lang="de-DE" sz="1100">
                  <a:solidFill>
                    <a:srgbClr val="FFFFFF"/>
                  </a:solidFill>
                  <a:latin typeface="+mj-lt"/>
                  <a:ea typeface="DIN-Regular" panose="020B0500010101010101" pitchFamily="34" charset="0"/>
                </a:rPr>
                <a:t>Künzelsau</a:t>
              </a:r>
            </a:p>
          </p:txBody>
        </p:sp>
        <p:grpSp>
          <p:nvGrpSpPr>
            <p:cNvPr id="19" name="Gruppieren 18">
              <a:extLst>
                <a:ext uri="{FF2B5EF4-FFF2-40B4-BE49-F238E27FC236}">
                  <a16:creationId xmlns:a16="http://schemas.microsoft.com/office/drawing/2014/main" id="{FA96F832-41B8-4B58-92FB-E8DAE2B2BCCB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441775" y="2066350"/>
              <a:ext cx="503413" cy="503413"/>
              <a:chOff x="4735083" y="4480029"/>
              <a:chExt cx="1356764" cy="1356764"/>
            </a:xfrm>
          </p:grpSpPr>
          <p:pic>
            <p:nvPicPr>
              <p:cNvPr id="41" name="Grafik 40" descr="Markierung mit einfarbiger Füllung">
                <a:extLst>
                  <a:ext uri="{FF2B5EF4-FFF2-40B4-BE49-F238E27FC236}">
                    <a16:creationId xmlns:a16="http://schemas.microsoft.com/office/drawing/2014/main" id="{57953230-7FD3-4095-83D6-BC760DA2A9C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4735083" y="4480029"/>
                <a:ext cx="1356764" cy="1356764"/>
              </a:xfrm>
              <a:prstGeom prst="rect">
                <a:avLst/>
              </a:prstGeom>
            </p:spPr>
          </p:pic>
          <p:sp>
            <p:nvSpPr>
              <p:cNvPr id="42" name="Ellipse 41">
                <a:extLst>
                  <a:ext uri="{FF2B5EF4-FFF2-40B4-BE49-F238E27FC236}">
                    <a16:creationId xmlns:a16="http://schemas.microsoft.com/office/drawing/2014/main" id="{85D80DF8-88D1-42CB-A682-5D4999ABD067}"/>
                  </a:ext>
                </a:extLst>
              </p:cNvPr>
              <p:cNvSpPr/>
              <p:nvPr/>
            </p:nvSpPr>
            <p:spPr>
              <a:xfrm>
                <a:off x="5270447" y="4838004"/>
                <a:ext cx="282646" cy="282646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  <a:effectLst>
                <a:glow>
                  <a:srgbClr val="4686C1">
                    <a:alpha val="43000"/>
                  </a:srgbClr>
                </a:glo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grpSp>
          <p:nvGrpSpPr>
            <p:cNvPr id="20" name="Gruppieren 19">
              <a:extLst>
                <a:ext uri="{FF2B5EF4-FFF2-40B4-BE49-F238E27FC236}">
                  <a16:creationId xmlns:a16="http://schemas.microsoft.com/office/drawing/2014/main" id="{BC6B2BF5-67C2-4B7A-B274-2911F61E8434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780556" y="2475312"/>
              <a:ext cx="503413" cy="503413"/>
              <a:chOff x="4735083" y="4480029"/>
              <a:chExt cx="1356764" cy="1356764"/>
            </a:xfrm>
          </p:grpSpPr>
          <p:pic>
            <p:nvPicPr>
              <p:cNvPr id="39" name="Grafik 38" descr="Markierung mit einfarbiger Füllung">
                <a:extLst>
                  <a:ext uri="{FF2B5EF4-FFF2-40B4-BE49-F238E27FC236}">
                    <a16:creationId xmlns:a16="http://schemas.microsoft.com/office/drawing/2014/main" id="{E34F619C-B3C5-4503-BF30-1DB74372AD6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4735083" y="4480029"/>
                <a:ext cx="1356764" cy="1356764"/>
              </a:xfrm>
              <a:prstGeom prst="rect">
                <a:avLst/>
              </a:prstGeom>
            </p:spPr>
          </p:pic>
          <p:sp>
            <p:nvSpPr>
              <p:cNvPr id="40" name="Ellipse 39">
                <a:extLst>
                  <a:ext uri="{FF2B5EF4-FFF2-40B4-BE49-F238E27FC236}">
                    <a16:creationId xmlns:a16="http://schemas.microsoft.com/office/drawing/2014/main" id="{1C9A8C82-23B0-4503-ACDA-C87B77C12338}"/>
                  </a:ext>
                </a:extLst>
              </p:cNvPr>
              <p:cNvSpPr/>
              <p:nvPr/>
            </p:nvSpPr>
            <p:spPr>
              <a:xfrm>
                <a:off x="5270447" y="4838004"/>
                <a:ext cx="282646" cy="282646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  <a:effectLst>
                <a:glow>
                  <a:srgbClr val="4686C1">
                    <a:alpha val="43000"/>
                  </a:srgbClr>
                </a:glo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grpSp>
          <p:nvGrpSpPr>
            <p:cNvPr id="21" name="Gruppieren 20">
              <a:extLst>
                <a:ext uri="{FF2B5EF4-FFF2-40B4-BE49-F238E27FC236}">
                  <a16:creationId xmlns:a16="http://schemas.microsoft.com/office/drawing/2014/main" id="{A347E035-1A4B-4B7C-B9B6-4B6EAF6D91D2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337405" y="4367618"/>
              <a:ext cx="503413" cy="503413"/>
              <a:chOff x="4735083" y="4480029"/>
              <a:chExt cx="1356764" cy="1356764"/>
            </a:xfrm>
          </p:grpSpPr>
          <p:pic>
            <p:nvPicPr>
              <p:cNvPr id="37" name="Grafik 36" descr="Markierung mit einfarbiger Füllung">
                <a:extLst>
                  <a:ext uri="{FF2B5EF4-FFF2-40B4-BE49-F238E27FC236}">
                    <a16:creationId xmlns:a16="http://schemas.microsoft.com/office/drawing/2014/main" id="{D2ED36CF-92D9-44A4-B915-D3899F41D61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4735083" y="4480029"/>
                <a:ext cx="1356764" cy="1356764"/>
              </a:xfrm>
              <a:prstGeom prst="rect">
                <a:avLst/>
              </a:prstGeom>
            </p:spPr>
          </p:pic>
          <p:sp>
            <p:nvSpPr>
              <p:cNvPr id="38" name="Ellipse 37">
                <a:extLst>
                  <a:ext uri="{FF2B5EF4-FFF2-40B4-BE49-F238E27FC236}">
                    <a16:creationId xmlns:a16="http://schemas.microsoft.com/office/drawing/2014/main" id="{E66E9578-85D9-4BB0-A33E-0DCE7D00420B}"/>
                  </a:ext>
                </a:extLst>
              </p:cNvPr>
              <p:cNvSpPr/>
              <p:nvPr/>
            </p:nvSpPr>
            <p:spPr>
              <a:xfrm>
                <a:off x="5270447" y="4838004"/>
                <a:ext cx="282646" cy="282646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  <a:effectLst>
                <a:glow>
                  <a:srgbClr val="4686C1">
                    <a:alpha val="43000"/>
                  </a:srgbClr>
                </a:glo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grpSp>
          <p:nvGrpSpPr>
            <p:cNvPr id="22" name="Gruppieren 21">
              <a:extLst>
                <a:ext uri="{FF2B5EF4-FFF2-40B4-BE49-F238E27FC236}">
                  <a16:creationId xmlns:a16="http://schemas.microsoft.com/office/drawing/2014/main" id="{259C951B-043A-4C0C-9527-66ACB3E723F0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149871" y="4557117"/>
              <a:ext cx="503413" cy="503413"/>
              <a:chOff x="4735083" y="4480029"/>
              <a:chExt cx="1356764" cy="1356764"/>
            </a:xfrm>
          </p:grpSpPr>
          <p:pic>
            <p:nvPicPr>
              <p:cNvPr id="35" name="Grafik 34" descr="Markierung mit einfarbiger Füllung">
                <a:extLst>
                  <a:ext uri="{FF2B5EF4-FFF2-40B4-BE49-F238E27FC236}">
                    <a16:creationId xmlns:a16="http://schemas.microsoft.com/office/drawing/2014/main" id="{570D9646-6805-4817-868F-505B62361DA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4735083" y="4480029"/>
                <a:ext cx="1356764" cy="1356764"/>
              </a:xfrm>
              <a:prstGeom prst="rect">
                <a:avLst/>
              </a:prstGeom>
            </p:spPr>
          </p:pic>
          <p:sp>
            <p:nvSpPr>
              <p:cNvPr id="36" name="Ellipse 35">
                <a:extLst>
                  <a:ext uri="{FF2B5EF4-FFF2-40B4-BE49-F238E27FC236}">
                    <a16:creationId xmlns:a16="http://schemas.microsoft.com/office/drawing/2014/main" id="{DC3E7618-852F-4DE9-AA19-C848B6545997}"/>
                  </a:ext>
                </a:extLst>
              </p:cNvPr>
              <p:cNvSpPr/>
              <p:nvPr/>
            </p:nvSpPr>
            <p:spPr>
              <a:xfrm>
                <a:off x="5270447" y="4838004"/>
                <a:ext cx="282646" cy="282646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  <a:effectLst>
                <a:glow>
                  <a:srgbClr val="4686C1">
                    <a:alpha val="43000"/>
                  </a:srgbClr>
                </a:glo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C24424B0-7E10-4B65-ACFF-6CB01419A827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910769" y="5558998"/>
              <a:ext cx="503413" cy="503413"/>
              <a:chOff x="4735083" y="4480029"/>
              <a:chExt cx="1356764" cy="1356764"/>
            </a:xfrm>
          </p:grpSpPr>
          <p:pic>
            <p:nvPicPr>
              <p:cNvPr id="33" name="Grafik 32" descr="Markierung mit einfarbiger Füllung">
                <a:extLst>
                  <a:ext uri="{FF2B5EF4-FFF2-40B4-BE49-F238E27FC236}">
                    <a16:creationId xmlns:a16="http://schemas.microsoft.com/office/drawing/2014/main" id="{1D059870-4504-46E8-9B72-91FF1CF5E24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4735083" y="4480029"/>
                <a:ext cx="1356764" cy="1356764"/>
              </a:xfrm>
              <a:prstGeom prst="rect">
                <a:avLst/>
              </a:prstGeom>
            </p:spPr>
          </p:pic>
          <p:sp>
            <p:nvSpPr>
              <p:cNvPr id="34" name="Ellipse 33">
                <a:extLst>
                  <a:ext uri="{FF2B5EF4-FFF2-40B4-BE49-F238E27FC236}">
                    <a16:creationId xmlns:a16="http://schemas.microsoft.com/office/drawing/2014/main" id="{4F821D49-E388-4670-84FF-0B3B553C4A92}"/>
                  </a:ext>
                </a:extLst>
              </p:cNvPr>
              <p:cNvSpPr/>
              <p:nvPr/>
            </p:nvSpPr>
            <p:spPr>
              <a:xfrm>
                <a:off x="5270447" y="4838004"/>
                <a:ext cx="282646" cy="282646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  <a:effectLst>
                <a:glow>
                  <a:srgbClr val="4686C1">
                    <a:alpha val="43000"/>
                  </a:srgbClr>
                </a:glo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grpSp>
          <p:nvGrpSpPr>
            <p:cNvPr id="24" name="Gruppieren 23">
              <a:extLst>
                <a:ext uri="{FF2B5EF4-FFF2-40B4-BE49-F238E27FC236}">
                  <a16:creationId xmlns:a16="http://schemas.microsoft.com/office/drawing/2014/main" id="{DB0F359F-3214-4DE8-9E97-C98C89D5B99C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192170" y="3235651"/>
              <a:ext cx="503413" cy="503413"/>
              <a:chOff x="4735083" y="4480029"/>
              <a:chExt cx="1356764" cy="1356764"/>
            </a:xfrm>
          </p:grpSpPr>
          <p:pic>
            <p:nvPicPr>
              <p:cNvPr id="31" name="Grafik 30" descr="Markierung mit einfarbiger Füllung">
                <a:extLst>
                  <a:ext uri="{FF2B5EF4-FFF2-40B4-BE49-F238E27FC236}">
                    <a16:creationId xmlns:a16="http://schemas.microsoft.com/office/drawing/2014/main" id="{9832656B-4CC1-4FA3-B651-97AACB99EEF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4735083" y="4480029"/>
                <a:ext cx="1356764" cy="1356764"/>
              </a:xfrm>
              <a:prstGeom prst="rect">
                <a:avLst/>
              </a:prstGeom>
            </p:spPr>
          </p:pic>
          <p:sp>
            <p:nvSpPr>
              <p:cNvPr id="32" name="Ellipse 31">
                <a:extLst>
                  <a:ext uri="{FF2B5EF4-FFF2-40B4-BE49-F238E27FC236}">
                    <a16:creationId xmlns:a16="http://schemas.microsoft.com/office/drawing/2014/main" id="{2D15AF93-1636-4992-A37F-0E19A6761747}"/>
                  </a:ext>
                </a:extLst>
              </p:cNvPr>
              <p:cNvSpPr/>
              <p:nvPr/>
            </p:nvSpPr>
            <p:spPr>
              <a:xfrm>
                <a:off x="5270447" y="4838004"/>
                <a:ext cx="282646" cy="282646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  <a:effectLst>
                <a:glow>
                  <a:srgbClr val="4686C1">
                    <a:alpha val="43000"/>
                  </a:srgbClr>
                </a:glo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grpSp>
          <p:nvGrpSpPr>
            <p:cNvPr id="25" name="Gruppieren 24">
              <a:extLst>
                <a:ext uri="{FF2B5EF4-FFF2-40B4-BE49-F238E27FC236}">
                  <a16:creationId xmlns:a16="http://schemas.microsoft.com/office/drawing/2014/main" id="{516BFE7E-58F1-46E4-AB7B-A4FE37E357D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968580" y="3951228"/>
              <a:ext cx="503413" cy="503413"/>
              <a:chOff x="4735083" y="4480029"/>
              <a:chExt cx="1356764" cy="1356764"/>
            </a:xfrm>
          </p:grpSpPr>
          <p:pic>
            <p:nvPicPr>
              <p:cNvPr id="29" name="Grafik 28" descr="Markierung mit einfarbiger Füllung">
                <a:extLst>
                  <a:ext uri="{FF2B5EF4-FFF2-40B4-BE49-F238E27FC236}">
                    <a16:creationId xmlns:a16="http://schemas.microsoft.com/office/drawing/2014/main" id="{7DDBB208-CBD2-45E8-9C22-ACDB504F132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4735083" y="4480029"/>
                <a:ext cx="1356764" cy="1356764"/>
              </a:xfrm>
              <a:prstGeom prst="rect">
                <a:avLst/>
              </a:prstGeom>
            </p:spPr>
          </p:pic>
          <p:sp>
            <p:nvSpPr>
              <p:cNvPr id="30" name="Ellipse 29">
                <a:extLst>
                  <a:ext uri="{FF2B5EF4-FFF2-40B4-BE49-F238E27FC236}">
                    <a16:creationId xmlns:a16="http://schemas.microsoft.com/office/drawing/2014/main" id="{09131CDD-884E-49C2-869E-0A34019210F4}"/>
                  </a:ext>
                </a:extLst>
              </p:cNvPr>
              <p:cNvSpPr/>
              <p:nvPr/>
            </p:nvSpPr>
            <p:spPr>
              <a:xfrm>
                <a:off x="5270447" y="4830302"/>
                <a:ext cx="282646" cy="282646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  <a:effectLst>
                <a:glow>
                  <a:srgbClr val="4686C1">
                    <a:alpha val="43000"/>
                  </a:srgbClr>
                </a:glo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grpSp>
          <p:nvGrpSpPr>
            <p:cNvPr id="26" name="Gruppieren 25">
              <a:extLst>
                <a:ext uri="{FF2B5EF4-FFF2-40B4-BE49-F238E27FC236}">
                  <a16:creationId xmlns:a16="http://schemas.microsoft.com/office/drawing/2014/main" id="{B45034B4-AE06-48B7-B6DE-14EB99E6D438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284319" y="3635127"/>
              <a:ext cx="503413" cy="503413"/>
              <a:chOff x="4735083" y="4480029"/>
              <a:chExt cx="1356764" cy="1356764"/>
            </a:xfrm>
          </p:grpSpPr>
          <p:pic>
            <p:nvPicPr>
              <p:cNvPr id="27" name="Grafik 26" descr="Markierung mit einfarbiger Füllung">
                <a:extLst>
                  <a:ext uri="{FF2B5EF4-FFF2-40B4-BE49-F238E27FC236}">
                    <a16:creationId xmlns:a16="http://schemas.microsoft.com/office/drawing/2014/main" id="{DA53C07B-53FA-47B0-932C-DC50A59DC39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>
                <a:off x="4735083" y="4480029"/>
                <a:ext cx="1356764" cy="1356764"/>
              </a:xfrm>
              <a:prstGeom prst="rect">
                <a:avLst/>
              </a:prstGeom>
            </p:spPr>
          </p:pic>
          <p:sp>
            <p:nvSpPr>
              <p:cNvPr id="28" name="Ellipse 27">
                <a:extLst>
                  <a:ext uri="{FF2B5EF4-FFF2-40B4-BE49-F238E27FC236}">
                    <a16:creationId xmlns:a16="http://schemas.microsoft.com/office/drawing/2014/main" id="{350E2E55-2020-40F3-B1C9-E8BD52A334C8}"/>
                  </a:ext>
                </a:extLst>
              </p:cNvPr>
              <p:cNvSpPr/>
              <p:nvPr/>
            </p:nvSpPr>
            <p:spPr>
              <a:xfrm>
                <a:off x="5270447" y="4838004"/>
                <a:ext cx="282646" cy="282646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  <a:effectLst>
                <a:glow>
                  <a:srgbClr val="4686C1">
                    <a:alpha val="43000"/>
                  </a:srgbClr>
                </a:glo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</p:grpSp>
      <p:pic>
        <p:nvPicPr>
          <p:cNvPr id="92" name="Grafik 91" descr="Ein Bild, das draußen, Himmel, Gras enthält.&#10;&#10;Automatisch generierte Beschreibung">
            <a:extLst>
              <a:ext uri="{FF2B5EF4-FFF2-40B4-BE49-F238E27FC236}">
                <a16:creationId xmlns:a16="http://schemas.microsoft.com/office/drawing/2014/main" id="{2B25C9E0-A980-4CAB-B43B-F2105ACF5F29}"/>
              </a:ext>
            </a:extLst>
          </p:cNvPr>
          <p:cNvPicPr>
            <a:picLocks noChangeAspect="1"/>
          </p:cNvPicPr>
          <p:nvPr/>
        </p:nvPicPr>
        <p:blipFill rotWithShape="1"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13056" y="4310688"/>
            <a:ext cx="2111999" cy="1188000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93" name="Textfeld 92">
            <a:extLst>
              <a:ext uri="{FF2B5EF4-FFF2-40B4-BE49-F238E27FC236}">
                <a16:creationId xmlns:a16="http://schemas.microsoft.com/office/drawing/2014/main" id="{FAD46960-91C7-4F9D-A6D3-AD92F14F75BB}"/>
              </a:ext>
            </a:extLst>
          </p:cNvPr>
          <p:cNvSpPr txBox="1"/>
          <p:nvPr/>
        </p:nvSpPr>
        <p:spPr>
          <a:xfrm>
            <a:off x="9697805" y="5572600"/>
            <a:ext cx="2127249" cy="292388"/>
          </a:xfrm>
          <a:prstGeom prst="rect">
            <a:avLst/>
          </a:prstGeom>
          <a:solidFill>
            <a:srgbClr val="00A0E3"/>
          </a:solidFill>
        </p:spPr>
        <p:txBody>
          <a:bodyPr wrap="square" rtlCol="0" anchor="ctr">
            <a:spAutoFit/>
          </a:bodyPr>
          <a:lstStyle>
            <a:defPPr>
              <a:defRPr lang="de-DE"/>
            </a:defPPr>
            <a:lvl1pPr algn="ctr">
              <a:defRPr sz="1100" b="1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nBW DIN Pro"/>
                <a:ea typeface="+mn-ea"/>
                <a:cs typeface="+mn-cs"/>
              </a:rPr>
              <a:t>E-Mobility-Chaussee</a:t>
            </a:r>
          </a:p>
        </p:txBody>
      </p:sp>
      <p:pic>
        <p:nvPicPr>
          <p:cNvPr id="94" name="Grafik 93" descr="Ein Bild, das draußen, Himmel, Auto, geparkt enthält.&#10;&#10;Automatisch generierte Beschreibung">
            <a:extLst>
              <a:ext uri="{FF2B5EF4-FFF2-40B4-BE49-F238E27FC236}">
                <a16:creationId xmlns:a16="http://schemas.microsoft.com/office/drawing/2014/main" id="{286E0C2F-4CC7-496C-BDAE-E452C768D9F8}"/>
              </a:ext>
            </a:extLst>
          </p:cNvPr>
          <p:cNvPicPr>
            <a:picLocks noChangeAspect="1"/>
          </p:cNvPicPr>
          <p:nvPr/>
        </p:nvPicPr>
        <p:blipFill rotWithShape="1"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13160" y="4226974"/>
            <a:ext cx="2111999" cy="1188000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95" name="Textfeld 94">
            <a:extLst>
              <a:ext uri="{FF2B5EF4-FFF2-40B4-BE49-F238E27FC236}">
                <a16:creationId xmlns:a16="http://schemas.microsoft.com/office/drawing/2014/main" id="{731746E5-3F24-4A87-AD56-00D87D8D8CFE}"/>
              </a:ext>
            </a:extLst>
          </p:cNvPr>
          <p:cNvSpPr txBox="1"/>
          <p:nvPr/>
        </p:nvSpPr>
        <p:spPr>
          <a:xfrm>
            <a:off x="3544051" y="5502040"/>
            <a:ext cx="2124000" cy="292388"/>
          </a:xfrm>
          <a:prstGeom prst="rect">
            <a:avLst/>
          </a:prstGeom>
          <a:solidFill>
            <a:schemeClr val="tx1"/>
          </a:solidFill>
        </p:spPr>
        <p:txBody>
          <a:bodyPr wrap="square" rtlCol="0" anchor="ctr">
            <a:spAutoFit/>
          </a:bodyPr>
          <a:lstStyle>
            <a:defPPr>
              <a:defRPr lang="de-DE"/>
            </a:defPPr>
            <a:lvl1pPr algn="ctr">
              <a:defRPr sz="1100" b="1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nBW DIN Pro"/>
                <a:ea typeface="+mn-ea"/>
                <a:cs typeface="+mn-cs"/>
              </a:rPr>
              <a:t>E-Mobility-Allee</a:t>
            </a:r>
          </a:p>
        </p:txBody>
      </p:sp>
      <p:pic>
        <p:nvPicPr>
          <p:cNvPr id="96" name="Grafik 95">
            <a:extLst>
              <a:ext uri="{FF2B5EF4-FFF2-40B4-BE49-F238E27FC236}">
                <a16:creationId xmlns:a16="http://schemas.microsoft.com/office/drawing/2014/main" id="{F009BECA-D139-4EBB-A983-607FA7549788}"/>
              </a:ext>
            </a:extLst>
          </p:cNvPr>
          <p:cNvPicPr>
            <a:picLocks noChangeAspect="1"/>
          </p:cNvPicPr>
          <p:nvPr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41538" y="1948048"/>
            <a:ext cx="2111999" cy="1188000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7" name="Grafik 96" descr="Ein Bild, das geparkt, blau, Lieferwagen, Auto enthält.&#10;&#10;Automatisch generierte Beschreibung">
            <a:extLst>
              <a:ext uri="{FF2B5EF4-FFF2-40B4-BE49-F238E27FC236}">
                <a16:creationId xmlns:a16="http://schemas.microsoft.com/office/drawing/2014/main" id="{4D84B8A0-B74F-49A3-8120-3005778A837E}"/>
              </a:ext>
            </a:extLst>
          </p:cNvPr>
          <p:cNvPicPr>
            <a:picLocks noChangeAspect="1"/>
          </p:cNvPicPr>
          <p:nvPr/>
        </p:nvPicPr>
        <p:blipFill rotWithShape="1"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32056" y="1677347"/>
            <a:ext cx="2112000" cy="1188000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98" name="Textfeld 97">
            <a:extLst>
              <a:ext uri="{FF2B5EF4-FFF2-40B4-BE49-F238E27FC236}">
                <a16:creationId xmlns:a16="http://schemas.microsoft.com/office/drawing/2014/main" id="{5A151E4F-7683-4449-B928-49176AC76825}"/>
              </a:ext>
            </a:extLst>
          </p:cNvPr>
          <p:cNvSpPr txBox="1"/>
          <p:nvPr/>
        </p:nvSpPr>
        <p:spPr>
          <a:xfrm>
            <a:off x="4573824" y="3373850"/>
            <a:ext cx="2196018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3B3B3B"/>
                </a:solidFill>
                <a:effectLst/>
                <a:uLnTx/>
                <a:uFillTx/>
                <a:latin typeface="EnBW DIN Pro"/>
                <a:ea typeface="+mn-ea"/>
                <a:cs typeface="+mn-cs"/>
              </a:rPr>
              <a:t>FOKUS: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B3B3B"/>
                </a:solidFill>
                <a:effectLst/>
                <a:uLnTx/>
                <a:uFillTx/>
                <a:latin typeface="EnBW DIN Pro"/>
                <a:ea typeface="+mn-ea"/>
                <a:cs typeface="+mn-cs"/>
              </a:rPr>
              <a:t> Lademanagement mit intelligentem Messsystem</a:t>
            </a:r>
          </a:p>
        </p:txBody>
      </p:sp>
      <p:sp>
        <p:nvSpPr>
          <p:cNvPr id="99" name="Textfeld 98">
            <a:extLst>
              <a:ext uri="{FF2B5EF4-FFF2-40B4-BE49-F238E27FC236}">
                <a16:creationId xmlns:a16="http://schemas.microsoft.com/office/drawing/2014/main" id="{480A9D66-A54B-4DD8-8D84-50DEC00B3AB1}"/>
              </a:ext>
            </a:extLst>
          </p:cNvPr>
          <p:cNvSpPr txBox="1"/>
          <p:nvPr/>
        </p:nvSpPr>
        <p:spPr>
          <a:xfrm>
            <a:off x="3507974" y="5837431"/>
            <a:ext cx="2160077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3B3B3B"/>
                </a:solidFill>
                <a:effectLst/>
                <a:uLnTx/>
                <a:uFillTx/>
                <a:latin typeface="EnBW DIN Pro"/>
                <a:ea typeface="+mn-ea"/>
                <a:cs typeface="+mn-cs"/>
              </a:rPr>
              <a:t>FOKUS: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B3B3B"/>
                </a:solidFill>
                <a:effectLst/>
                <a:uLnTx/>
                <a:uFillTx/>
                <a:latin typeface="EnBW DIN Pro"/>
                <a:ea typeface="+mn-ea"/>
                <a:cs typeface="+mn-cs"/>
              </a:rPr>
              <a:t> Einfamilienhäuser im vorstädtischen Gebiet</a:t>
            </a:r>
          </a:p>
        </p:txBody>
      </p:sp>
      <p:sp>
        <p:nvSpPr>
          <p:cNvPr id="100" name="Textfeld 99">
            <a:extLst>
              <a:ext uri="{FF2B5EF4-FFF2-40B4-BE49-F238E27FC236}">
                <a16:creationId xmlns:a16="http://schemas.microsoft.com/office/drawing/2014/main" id="{90E9E772-7E1F-4FAD-80B9-7B566FD60EAE}"/>
              </a:ext>
            </a:extLst>
          </p:cNvPr>
          <p:cNvSpPr txBox="1"/>
          <p:nvPr/>
        </p:nvSpPr>
        <p:spPr>
          <a:xfrm>
            <a:off x="9608235" y="3530458"/>
            <a:ext cx="2124000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3B3B3B"/>
                </a:solidFill>
                <a:effectLst/>
                <a:uLnTx/>
                <a:uFillTx/>
                <a:latin typeface="EnBW DIN Pro"/>
                <a:ea typeface="+mn-ea"/>
                <a:cs typeface="+mn-cs"/>
              </a:rPr>
              <a:t>FOKUS: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B3B3B"/>
                </a:solidFill>
                <a:effectLst/>
                <a:uLnTx/>
                <a:uFillTx/>
                <a:latin typeface="EnBW DIN Pro"/>
                <a:ea typeface="+mn-ea"/>
                <a:cs typeface="+mn-cs"/>
              </a:rPr>
              <a:t> Mehrfamilienhäuser im Bestand</a:t>
            </a:r>
          </a:p>
        </p:txBody>
      </p:sp>
      <p:sp>
        <p:nvSpPr>
          <p:cNvPr id="101" name="Textfeld 100">
            <a:extLst>
              <a:ext uri="{FF2B5EF4-FFF2-40B4-BE49-F238E27FC236}">
                <a16:creationId xmlns:a16="http://schemas.microsoft.com/office/drawing/2014/main" id="{1DB4FD29-0765-47C0-8542-2352CAEAC1B1}"/>
              </a:ext>
            </a:extLst>
          </p:cNvPr>
          <p:cNvSpPr txBox="1"/>
          <p:nvPr/>
        </p:nvSpPr>
        <p:spPr>
          <a:xfrm>
            <a:off x="9615852" y="5977157"/>
            <a:ext cx="2124000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3B3B3B"/>
                </a:solidFill>
                <a:effectLst/>
                <a:uLnTx/>
                <a:uFillTx/>
                <a:latin typeface="EnBW DIN Pro"/>
                <a:ea typeface="+mn-ea"/>
                <a:cs typeface="+mn-cs"/>
              </a:rPr>
              <a:t>FOKUS: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B3B3B"/>
                </a:solidFill>
                <a:effectLst/>
                <a:uLnTx/>
                <a:uFillTx/>
                <a:latin typeface="EnBW DIN Pro"/>
                <a:ea typeface="+mn-ea"/>
                <a:cs typeface="+mn-cs"/>
              </a:rPr>
              <a:t> Einfamilienhäuser im ländlichen Raum</a:t>
            </a:r>
          </a:p>
        </p:txBody>
      </p:sp>
      <p:sp>
        <p:nvSpPr>
          <p:cNvPr id="102" name="Textfeld 101">
            <a:extLst>
              <a:ext uri="{FF2B5EF4-FFF2-40B4-BE49-F238E27FC236}">
                <a16:creationId xmlns:a16="http://schemas.microsoft.com/office/drawing/2014/main" id="{F178BAD7-5B6E-4EAF-AF74-BEE41F91CECE}"/>
              </a:ext>
            </a:extLst>
          </p:cNvPr>
          <p:cNvSpPr txBox="1"/>
          <p:nvPr/>
        </p:nvSpPr>
        <p:spPr>
          <a:xfrm>
            <a:off x="4641852" y="2933208"/>
            <a:ext cx="2112715" cy="292388"/>
          </a:xfrm>
          <a:prstGeom prst="rect">
            <a:avLst/>
          </a:prstGeom>
          <a:solidFill>
            <a:schemeClr val="accent6"/>
          </a:solidFill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nBW DIN Pro"/>
                <a:ea typeface="+mn-ea"/>
                <a:cs typeface="+mn-cs"/>
              </a:rPr>
              <a:t>Intelligentes Heimladen</a:t>
            </a:r>
          </a:p>
        </p:txBody>
      </p:sp>
      <p:sp>
        <p:nvSpPr>
          <p:cNvPr id="103" name="Textfeld 102">
            <a:extLst>
              <a:ext uri="{FF2B5EF4-FFF2-40B4-BE49-F238E27FC236}">
                <a16:creationId xmlns:a16="http://schemas.microsoft.com/office/drawing/2014/main" id="{16CF6985-AB36-41B3-9D7D-FF6F25B6CE28}"/>
              </a:ext>
            </a:extLst>
          </p:cNvPr>
          <p:cNvSpPr txBox="1"/>
          <p:nvPr/>
        </p:nvSpPr>
        <p:spPr>
          <a:xfrm>
            <a:off x="9640822" y="3215856"/>
            <a:ext cx="2112715" cy="292388"/>
          </a:xfrm>
          <a:prstGeom prst="rect">
            <a:avLst/>
          </a:prstGeom>
          <a:solidFill>
            <a:schemeClr val="tx2"/>
          </a:solidFill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nBW DIN Pro"/>
                <a:ea typeface="+mn-ea"/>
                <a:cs typeface="+mn-cs"/>
              </a:rPr>
              <a:t>E-Mobility-Carré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39846929-FC5E-4246-B315-6683FE53D43B}"/>
              </a:ext>
            </a:extLst>
          </p:cNvPr>
          <p:cNvSpPr/>
          <p:nvPr/>
        </p:nvSpPr>
        <p:spPr bwMode="gray">
          <a:xfrm>
            <a:off x="454647" y="1789503"/>
            <a:ext cx="2702527" cy="2970020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txBody>
          <a:bodyPr vert="horz" wrap="square" lIns="35982" tIns="72000" rIns="36000" bIns="36000" numCol="1" anchor="ctr" anchorCtr="0" compatLnSpc="1">
            <a:prstTxWarp prst="textNoShape">
              <a:avLst/>
            </a:prstTxWarp>
          </a:bodyPr>
          <a:lstStyle/>
          <a:p>
            <a:pPr marL="430213" indent="-254000" eaLnBrk="0" hangingPunct="0">
              <a:spcBef>
                <a:spcPts val="600"/>
              </a:spcBef>
              <a:buClr>
                <a:schemeClr val="accent6"/>
              </a:buClr>
              <a:buFont typeface="EnBW DIN Pro" panose="020B0504020101020102" pitchFamily="34" charset="0"/>
              <a:buChar char="›"/>
            </a:pPr>
            <a:r>
              <a:rPr lang="de-DE" sz="1200" dirty="0">
                <a:solidFill>
                  <a:srgbClr val="3B3B3B"/>
                </a:solidFill>
                <a:ea typeface="DIN-Regular" panose="020B0500010101010101" pitchFamily="34" charset="0"/>
              </a:rPr>
              <a:t>Das </a:t>
            </a:r>
            <a:r>
              <a:rPr lang="de-DE" sz="1200" b="1" dirty="0">
                <a:solidFill>
                  <a:srgbClr val="3B3B3B"/>
                </a:solidFill>
                <a:ea typeface="DIN-Regular" panose="020B0500010101010101" pitchFamily="34" charset="0"/>
              </a:rPr>
              <a:t>Ladeverhalten ändert sich mit zunehmender Zeit </a:t>
            </a:r>
            <a:r>
              <a:rPr lang="de-DE" sz="1200" dirty="0">
                <a:solidFill>
                  <a:srgbClr val="3B3B3B"/>
                </a:solidFill>
                <a:ea typeface="DIN-Regular" panose="020B0500010101010101" pitchFamily="34" charset="0"/>
              </a:rPr>
              <a:t>– Reichweitenangst sinkt</a:t>
            </a:r>
          </a:p>
          <a:p>
            <a:pPr marL="430213" indent="-254000" eaLnBrk="0" hangingPunct="0">
              <a:spcBef>
                <a:spcPts val="600"/>
              </a:spcBef>
              <a:buClr>
                <a:schemeClr val="accent6"/>
              </a:buClr>
              <a:buFont typeface="EnBW DIN Pro" panose="020B0504020101020102" pitchFamily="34" charset="0"/>
              <a:buChar char="›"/>
            </a:pPr>
            <a:r>
              <a:rPr lang="de-DE" sz="1200" dirty="0">
                <a:solidFill>
                  <a:srgbClr val="3B3B3B"/>
                </a:solidFill>
              </a:rPr>
              <a:t>Die </a:t>
            </a:r>
            <a:r>
              <a:rPr lang="de-DE" sz="1200" b="1" dirty="0">
                <a:solidFill>
                  <a:srgbClr val="3B3B3B"/>
                </a:solidFill>
              </a:rPr>
              <a:t>maximale Gleichzeitigkeit </a:t>
            </a:r>
            <a:r>
              <a:rPr lang="de-DE" sz="1200" dirty="0">
                <a:solidFill>
                  <a:srgbClr val="3B3B3B"/>
                </a:solidFill>
              </a:rPr>
              <a:t>der Ladevorgänge liegt zwischen 22% und 75%</a:t>
            </a:r>
          </a:p>
          <a:p>
            <a:pPr marL="430213" indent="-254000" eaLnBrk="0" hangingPunct="0">
              <a:spcBef>
                <a:spcPts val="600"/>
              </a:spcBef>
              <a:buClr>
                <a:schemeClr val="accent6"/>
              </a:buClr>
              <a:buFont typeface="EnBW DIN Pro" panose="020B0504020101020102" pitchFamily="34" charset="0"/>
              <a:buChar char="›"/>
            </a:pPr>
            <a:r>
              <a:rPr lang="de-DE" sz="1200" dirty="0">
                <a:solidFill>
                  <a:srgbClr val="3B3B3B"/>
                </a:solidFill>
                <a:ea typeface="DIN-Regular" panose="020B0500010101010101" pitchFamily="34" charset="0"/>
              </a:rPr>
              <a:t>Die </a:t>
            </a:r>
            <a:r>
              <a:rPr lang="de-DE" sz="1200" b="1" dirty="0">
                <a:solidFill>
                  <a:srgbClr val="3B3B3B"/>
                </a:solidFill>
                <a:ea typeface="DIN-Regular" panose="020B0500010101010101" pitchFamily="34" charset="0"/>
              </a:rPr>
              <a:t>Relevanz netzdienlicher Steuerbarkeit </a:t>
            </a:r>
            <a:r>
              <a:rPr lang="de-DE" sz="1200" dirty="0">
                <a:solidFill>
                  <a:srgbClr val="3B3B3B"/>
                </a:solidFill>
                <a:ea typeface="DIN-Regular" panose="020B0500010101010101" pitchFamily="34" charset="0"/>
              </a:rPr>
              <a:t>ist hoch </a:t>
            </a:r>
          </a:p>
          <a:p>
            <a:pPr marL="430213" indent="-254000" eaLnBrk="0" hangingPunct="0">
              <a:spcBef>
                <a:spcPts val="600"/>
              </a:spcBef>
              <a:buClr>
                <a:schemeClr val="accent6"/>
              </a:buClr>
              <a:buFont typeface="EnBW DIN Pro" panose="020B0504020101020102" pitchFamily="34" charset="0"/>
              <a:buChar char="›"/>
            </a:pPr>
            <a:r>
              <a:rPr lang="de-DE" sz="1200" b="1" dirty="0">
                <a:solidFill>
                  <a:srgbClr val="3B3B3B"/>
                </a:solidFill>
                <a:ea typeface="DIN-Regular" panose="020B0500010101010101" pitchFamily="34" charset="0"/>
              </a:rPr>
              <a:t>Lademanagement </a:t>
            </a:r>
            <a:r>
              <a:rPr lang="de-DE" sz="1200" dirty="0">
                <a:solidFill>
                  <a:srgbClr val="3B3B3B"/>
                </a:solidFill>
                <a:ea typeface="DIN-Regular" panose="020B0500010101010101" pitchFamily="34" charset="0"/>
              </a:rPr>
              <a:t>ist ein </a:t>
            </a:r>
            <a:r>
              <a:rPr lang="de-DE" sz="1200" b="1" dirty="0">
                <a:solidFill>
                  <a:srgbClr val="3B3B3B"/>
                </a:solidFill>
                <a:ea typeface="DIN-Regular" panose="020B0500010101010101" pitchFamily="34" charset="0"/>
              </a:rPr>
              <a:t>wirksames Mittel</a:t>
            </a:r>
            <a:r>
              <a:rPr lang="de-DE" sz="1200" dirty="0">
                <a:solidFill>
                  <a:srgbClr val="3B3B3B"/>
                </a:solidFill>
                <a:ea typeface="DIN-Regular" panose="020B0500010101010101" pitchFamily="34" charset="0"/>
              </a:rPr>
              <a:t>, um Lastspitzen zu glätten</a:t>
            </a:r>
          </a:p>
        </p:txBody>
      </p:sp>
      <p:sp>
        <p:nvSpPr>
          <p:cNvPr id="105" name="Textfeld 104">
            <a:extLst>
              <a:ext uri="{FF2B5EF4-FFF2-40B4-BE49-F238E27FC236}">
                <a16:creationId xmlns:a16="http://schemas.microsoft.com/office/drawing/2014/main" id="{950F7669-0460-4371-AE48-AC95BFB61021}"/>
              </a:ext>
            </a:extLst>
          </p:cNvPr>
          <p:cNvSpPr txBox="1"/>
          <p:nvPr/>
        </p:nvSpPr>
        <p:spPr bwMode="gray">
          <a:xfrm>
            <a:off x="557084" y="1618236"/>
            <a:ext cx="1398202" cy="3189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72000" tIns="36000" rIns="72000" bIns="36000" rtlCol="0">
            <a:spAutoFit/>
          </a:bodyPr>
          <a:lstStyle/>
          <a:p>
            <a:pPr marL="0" indent="0">
              <a:spcBef>
                <a:spcPts val="0"/>
              </a:spcBef>
              <a:buClr>
                <a:schemeClr val="accent6"/>
              </a:buClr>
              <a:buSzPct val="140000"/>
              <a:buNone/>
            </a:pPr>
            <a:r>
              <a:rPr lang="de-DE" sz="1600" dirty="0">
                <a:solidFill>
                  <a:schemeClr val="tx2"/>
                </a:solidFill>
                <a:latin typeface="+mn-lt"/>
                <a:ea typeface="DIN-Regular" panose="020B0500010101010101" pitchFamily="34" charset="0"/>
              </a:rPr>
              <a:t>Erkenntnisse</a:t>
            </a:r>
          </a:p>
        </p:txBody>
      </p:sp>
    </p:spTree>
    <p:extLst>
      <p:ext uri="{BB962C8B-B14F-4D97-AF65-F5344CB8AC3E}">
        <p14:creationId xmlns:p14="http://schemas.microsoft.com/office/powerpoint/2010/main" val="1043850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DB0768B8-BB1E-4E22-B2DE-3D7706B7FB3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4" name="think-cell Folie" r:id="rId5" imgW="592" imgH="591" progId="TCLayout.ActiveDocument.1">
                  <p:embed/>
                </p:oleObj>
              </mc:Choice>
              <mc:Fallback>
                <p:oleObj name="think-cell Folie" r:id="rId5" imgW="592" imgH="591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DB0768B8-BB1E-4E22-B2DE-3D7706B7FB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25844DC1-15FE-42F9-8107-3DA7D9B471D0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Aft>
                <a:spcPct val="0"/>
              </a:spcAft>
            </a:pPr>
            <a:endParaRPr kumimoji="0" lang="de-DE" sz="22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EnBW DIN Pro" panose="020B0504020101020102" pitchFamily="34" charset="0"/>
              <a:cs typeface="+mj-cs"/>
              <a:sym typeface="EnBW DIN Pro" panose="020B0504020101020102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F4236CE-924A-4BC7-AFF1-EB8F8D5ED8F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3D4A45-F672-4474-BA28-E624C64DA635}" type="slidenum">
              <a:rPr lang="de-DE" smtClean="0"/>
              <a:t>5</a:t>
            </a:fld>
            <a:endParaRPr lang="de-DE"/>
          </a:p>
        </p:txBody>
      </p:sp>
      <p:sp>
        <p:nvSpPr>
          <p:cNvPr id="13" name="Titel 12">
            <a:extLst>
              <a:ext uri="{FF2B5EF4-FFF2-40B4-BE49-F238E27FC236}">
                <a16:creationId xmlns:a16="http://schemas.microsoft.com/office/drawing/2014/main" id="{41DF6BBB-9A37-4BF2-8EB0-5E918B5D4A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777" y="502224"/>
            <a:ext cx="9443167" cy="615553"/>
          </a:xfrm>
        </p:spPr>
        <p:txBody>
          <a:bodyPr/>
          <a:lstStyle/>
          <a:p>
            <a:r>
              <a:rPr kumimoji="0" lang="de-DE" sz="2200" b="0" i="0" u="none" strike="noStrike" kern="0" cap="none" spc="0" normalizeH="0" baseline="0" noProof="0" dirty="0" err="1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EnBW DIN Pro"/>
                <a:cs typeface="+mj-cs"/>
              </a:rPr>
              <a:t>NETZlabor</a:t>
            </a:r>
            <a:r>
              <a:rPr kumimoji="0" lang="de-DE" sz="2200" b="0" i="0" u="none" strike="noStrike" kern="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EnBW DIN Pro"/>
                <a:cs typeface="+mj-cs"/>
              </a:rPr>
              <a:t> Intelligentes Heimladen</a:t>
            </a:r>
            <a:br>
              <a:rPr kumimoji="0" lang="de-DE" sz="2200" b="0" i="0" u="none" strike="noStrike" kern="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EnBW DIN Pro"/>
                <a:cs typeface="+mj-cs"/>
              </a:rPr>
            </a:b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99"/>
                </a:solidFill>
                <a:effectLst/>
                <a:uLnTx/>
                <a:uFillTx/>
                <a:latin typeface="EnBW DIN Pro"/>
                <a:ea typeface="+mj-ea"/>
                <a:cs typeface="+mj-cs"/>
              </a:rPr>
              <a:t>Lademanagement nach Zeitplan in der Praxis</a:t>
            </a:r>
            <a:endParaRPr lang="de-DE" sz="1800" kern="1200" dirty="0">
              <a:solidFill>
                <a:schemeClr val="tx2"/>
              </a:solidFill>
              <a:cs typeface="EnBW DIN Pro Medium" panose="020B0604020101020102" pitchFamily="34" charset="0"/>
            </a:endParaRP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9AD1B827-8165-4683-9C1A-0C9783E62D86}"/>
              </a:ext>
            </a:extLst>
          </p:cNvPr>
          <p:cNvSpPr/>
          <p:nvPr/>
        </p:nvSpPr>
        <p:spPr bwMode="auto">
          <a:xfrm>
            <a:off x="7775700" y="1720603"/>
            <a:ext cx="3909118" cy="4196141"/>
          </a:xfrm>
          <a:prstGeom prst="rect">
            <a:avLst/>
          </a:prstGeom>
          <a:gradFill flip="none" rotWithShape="1">
            <a:gsLst>
              <a:gs pos="0">
                <a:srgbClr val="374A9A"/>
              </a:gs>
              <a:gs pos="100000">
                <a:srgbClr val="061671"/>
              </a:gs>
            </a:gsLst>
            <a:lin ang="30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215888" tIns="215888" rIns="107944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ts val="600"/>
              </a:spcBef>
              <a:buClr>
                <a:schemeClr val="accent6"/>
              </a:buClr>
              <a:buSzPct val="100000"/>
            </a:pPr>
            <a:endParaRPr lang="de-DE" sz="1400" b="1" dirty="0">
              <a:solidFill>
                <a:schemeClr val="tx2"/>
              </a:solidFill>
              <a:latin typeface="EnBW DIN Pro"/>
              <a:cs typeface="EnBW DIN Pro"/>
            </a:endParaRPr>
          </a:p>
        </p:txBody>
      </p:sp>
      <p:pic>
        <p:nvPicPr>
          <p:cNvPr id="30" name="Grafik 29" descr="Ein Bild, das Schild enthält.&#10;&#10;Automatisch generierte Beschreibung">
            <a:extLst>
              <a:ext uri="{FF2B5EF4-FFF2-40B4-BE49-F238E27FC236}">
                <a16:creationId xmlns:a16="http://schemas.microsoft.com/office/drawing/2014/main" id="{62011464-5EF7-4810-B51A-BECB6C7516AD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5700" y="1944147"/>
            <a:ext cx="523220" cy="523220"/>
          </a:xfrm>
          <a:prstGeom prst="rect">
            <a:avLst/>
          </a:prstGeom>
        </p:spPr>
      </p:pic>
      <p:graphicFrame>
        <p:nvGraphicFramePr>
          <p:cNvPr id="31" name="Diagramm 30">
            <a:extLst>
              <a:ext uri="{FF2B5EF4-FFF2-40B4-BE49-F238E27FC236}">
                <a16:creationId xmlns:a16="http://schemas.microsoft.com/office/drawing/2014/main" id="{DDFB59EA-99B3-4F46-BAA6-C7406B24996A}"/>
              </a:ext>
            </a:extLst>
          </p:cNvPr>
          <p:cNvGraphicFramePr>
            <a:graphicFrameLocks/>
          </p:cNvGraphicFramePr>
          <p:nvPr/>
        </p:nvGraphicFramePr>
        <p:xfrm>
          <a:off x="458906" y="1973429"/>
          <a:ext cx="6814349" cy="39433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32" name="Textfeld 31">
            <a:extLst>
              <a:ext uri="{FF2B5EF4-FFF2-40B4-BE49-F238E27FC236}">
                <a16:creationId xmlns:a16="http://schemas.microsoft.com/office/drawing/2014/main" id="{0B556553-030F-42A2-8E26-7660C91F9111}"/>
              </a:ext>
            </a:extLst>
          </p:cNvPr>
          <p:cNvSpPr txBox="1"/>
          <p:nvPr/>
        </p:nvSpPr>
        <p:spPr bwMode="gray">
          <a:xfrm>
            <a:off x="8325815" y="2041303"/>
            <a:ext cx="3147335" cy="4924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6"/>
              </a:buClr>
              <a:buSzPct val="140000"/>
            </a:pPr>
            <a:r>
              <a:rPr lang="de-DE" sz="1600" dirty="0">
                <a:solidFill>
                  <a:schemeClr val="bg1"/>
                </a:solidFill>
                <a:ea typeface="DIN-Regular" panose="020B0500010101010101" pitchFamily="34" charset="0"/>
              </a:rPr>
              <a:t>Großteil der Ladevorgänge findet  in den Abendstunden statt</a:t>
            </a:r>
            <a:endParaRPr lang="de-DE" sz="1600" b="1" dirty="0">
              <a:solidFill>
                <a:schemeClr val="bg1"/>
              </a:solidFill>
              <a:ea typeface="DIN-Regular" panose="020B0500010101010101" pitchFamily="34" charset="0"/>
            </a:endParaRP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D1BC2582-F585-4858-B49E-225BB638FC64}"/>
              </a:ext>
            </a:extLst>
          </p:cNvPr>
          <p:cNvSpPr txBox="1"/>
          <p:nvPr/>
        </p:nvSpPr>
        <p:spPr bwMode="gray">
          <a:xfrm>
            <a:off x="8325815" y="2784029"/>
            <a:ext cx="3147335" cy="73866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6"/>
              </a:buClr>
              <a:buSzPct val="140000"/>
            </a:pPr>
            <a:r>
              <a:rPr lang="de-DE" sz="1600" dirty="0">
                <a:solidFill>
                  <a:schemeClr val="bg1"/>
                </a:solidFill>
                <a:ea typeface="DIN-Regular" panose="020B0500010101010101" pitchFamily="34" charset="0"/>
              </a:rPr>
              <a:t>Zusätzliche Belastung des Stromnetzes durch E-Mobilität in den Abendstunden</a:t>
            </a:r>
            <a:endParaRPr lang="de-DE" sz="1600" b="1" dirty="0">
              <a:solidFill>
                <a:schemeClr val="bg1"/>
              </a:solidFill>
              <a:ea typeface="DIN-Regular" panose="020B0500010101010101" pitchFamily="34" charset="0"/>
            </a:endParaRP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07371C49-1C70-4902-B701-3E975910144F}"/>
              </a:ext>
            </a:extLst>
          </p:cNvPr>
          <p:cNvSpPr txBox="1"/>
          <p:nvPr/>
        </p:nvSpPr>
        <p:spPr bwMode="gray">
          <a:xfrm>
            <a:off x="8325814" y="3778728"/>
            <a:ext cx="3147335" cy="73866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6"/>
              </a:buClr>
              <a:buSzPct val="140000"/>
            </a:pPr>
            <a:r>
              <a:rPr lang="de-DE" sz="1600" dirty="0">
                <a:solidFill>
                  <a:schemeClr val="bg1"/>
                </a:solidFill>
                <a:ea typeface="DIN-Regular" panose="020B0500010101010101" pitchFamily="34" charset="0"/>
              </a:rPr>
              <a:t>Reduktion der maximalen Ladeleistung in Zeiten hoher Belastung auf 50% </a:t>
            </a: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5868165D-4C7F-4756-8B16-59C05672FAE1}"/>
              </a:ext>
            </a:extLst>
          </p:cNvPr>
          <p:cNvSpPr txBox="1"/>
          <p:nvPr/>
        </p:nvSpPr>
        <p:spPr bwMode="gray">
          <a:xfrm>
            <a:off x="8325813" y="4833540"/>
            <a:ext cx="3147335" cy="4924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6"/>
              </a:buClr>
              <a:buSzPct val="140000"/>
            </a:pPr>
            <a:r>
              <a:rPr lang="de-DE" sz="1600" dirty="0">
                <a:solidFill>
                  <a:schemeClr val="bg1"/>
                </a:solidFill>
                <a:ea typeface="DIN-Regular" panose="020B0500010101010101" pitchFamily="34" charset="0"/>
              </a:rPr>
              <a:t>Entlastung des Stromnetzes durch Lademanagement</a:t>
            </a:r>
          </a:p>
        </p:txBody>
      </p:sp>
      <p:pic>
        <p:nvPicPr>
          <p:cNvPr id="36" name="Grafik 35" descr="Ein Bild, das Schild enthält.&#10;&#10;Automatisch generierte Beschreibung">
            <a:extLst>
              <a:ext uri="{FF2B5EF4-FFF2-40B4-BE49-F238E27FC236}">
                <a16:creationId xmlns:a16="http://schemas.microsoft.com/office/drawing/2014/main" id="{E2C62CF9-E0BD-4BDF-9663-7FBCEF694970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96475" y="2654425"/>
            <a:ext cx="523220" cy="523220"/>
          </a:xfrm>
          <a:prstGeom prst="rect">
            <a:avLst/>
          </a:prstGeom>
        </p:spPr>
      </p:pic>
      <p:pic>
        <p:nvPicPr>
          <p:cNvPr id="37" name="Grafik 36" descr="Ein Bild, das Schild enthält.&#10;&#10;Automatisch generierte Beschreibung">
            <a:extLst>
              <a:ext uri="{FF2B5EF4-FFF2-40B4-BE49-F238E27FC236}">
                <a16:creationId xmlns:a16="http://schemas.microsoft.com/office/drawing/2014/main" id="{B6347CD6-CA56-4372-9C59-E5D6F74EAE49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22517" y="3668624"/>
            <a:ext cx="523220" cy="523220"/>
          </a:xfrm>
          <a:prstGeom prst="rect">
            <a:avLst/>
          </a:prstGeom>
        </p:spPr>
      </p:pic>
      <p:pic>
        <p:nvPicPr>
          <p:cNvPr id="38" name="Grafik 37" descr="Ein Bild, das Schild enthält.&#10;&#10;Automatisch generierte Beschreibung">
            <a:extLst>
              <a:ext uri="{FF2B5EF4-FFF2-40B4-BE49-F238E27FC236}">
                <a16:creationId xmlns:a16="http://schemas.microsoft.com/office/drawing/2014/main" id="{244D57A7-8527-4946-9D52-F0A9BFC10030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36787" y="4700487"/>
            <a:ext cx="523220" cy="523220"/>
          </a:xfrm>
          <a:prstGeom prst="rect">
            <a:avLst/>
          </a:prstGeom>
        </p:spPr>
      </p:pic>
      <p:pic>
        <p:nvPicPr>
          <p:cNvPr id="39" name="Grafik 38">
            <a:extLst>
              <a:ext uri="{FF2B5EF4-FFF2-40B4-BE49-F238E27FC236}">
                <a16:creationId xmlns:a16="http://schemas.microsoft.com/office/drawing/2014/main" id="{A57553EE-0608-4DC3-A6B4-74FC0AA4C2D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754321" y="2762091"/>
            <a:ext cx="3159424" cy="152120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224565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Grafik 32">
            <a:extLst>
              <a:ext uri="{FF2B5EF4-FFF2-40B4-BE49-F238E27FC236}">
                <a16:creationId xmlns:a16="http://schemas.microsoft.com/office/drawing/2014/main" id="{D24ACDB3-3F1E-4E48-B678-F7F8790246E9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72054" y="3821259"/>
            <a:ext cx="4912763" cy="209674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1" name="Grafik 30">
            <a:extLst>
              <a:ext uri="{FF2B5EF4-FFF2-40B4-BE49-F238E27FC236}">
                <a16:creationId xmlns:a16="http://schemas.microsoft.com/office/drawing/2014/main" id="{BDD411AF-F866-4549-9020-CA9492EB858D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72055" y="1561176"/>
            <a:ext cx="4912763" cy="186842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9EDCBD80-57D7-4018-8D79-DC89B5C52B9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403496" y="1561177"/>
            <a:ext cx="2725556" cy="3365845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F40A9293-BDB3-4266-BAEC-DDC626A3B36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67917" y="1545601"/>
            <a:ext cx="2725556" cy="3387352"/>
          </a:xfrm>
          <a:prstGeom prst="rect">
            <a:avLst/>
          </a:prstGeom>
        </p:spPr>
      </p:pic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DB0768B8-BB1E-4E22-B2DE-3D7706B7FB3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18" name="think-cell Folie" r:id="rId10" imgW="592" imgH="591" progId="TCLayout.ActiveDocument.1">
                  <p:embed/>
                </p:oleObj>
              </mc:Choice>
              <mc:Fallback>
                <p:oleObj name="think-cell Folie" r:id="rId10" imgW="592" imgH="591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DB0768B8-BB1E-4E22-B2DE-3D7706B7FB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25844DC1-15FE-42F9-8107-3DA7D9B471D0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Aft>
                <a:spcPct val="0"/>
              </a:spcAft>
            </a:pPr>
            <a:endParaRPr kumimoji="0" lang="de-DE" sz="22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EnBW DIN Pro" panose="020B0504020101020102" pitchFamily="34" charset="0"/>
              <a:cs typeface="+mj-cs"/>
              <a:sym typeface="EnBW DIN Pro" panose="020B0504020101020102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F4236CE-924A-4BC7-AFF1-EB8F8D5ED8F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3D4A45-F672-4474-BA28-E624C64DA635}" type="slidenum">
              <a:rPr lang="de-DE" smtClean="0"/>
              <a:t>6</a:t>
            </a:fld>
            <a:endParaRPr lang="de-DE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55769E16-2ABF-44F8-B7E9-4D233AF00046}"/>
              </a:ext>
            </a:extLst>
          </p:cNvPr>
          <p:cNvSpPr txBox="1"/>
          <p:nvPr/>
        </p:nvSpPr>
        <p:spPr bwMode="gray">
          <a:xfrm>
            <a:off x="7191656" y="1707965"/>
            <a:ext cx="1189962" cy="2154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buClr>
                <a:srgbClr val="FF9900"/>
              </a:buClr>
              <a:buSzPct val="140000"/>
              <a:defRPr/>
            </a:pPr>
            <a:r>
              <a:rPr lang="de-DE" sz="1400" dirty="0">
                <a:solidFill>
                  <a:srgbClr val="000099"/>
                </a:solidFill>
                <a:ea typeface="DIN-Regular" panose="020B0500010101010101" pitchFamily="34" charset="0"/>
              </a:rPr>
              <a:t>Elektroautos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D711DEFE-1D3D-43FF-ABD1-B481C1640F7E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8237835" y="1594922"/>
            <a:ext cx="461023" cy="461023"/>
          </a:xfrm>
          <a:prstGeom prst="rect">
            <a:avLst/>
          </a:prstGeom>
        </p:spPr>
      </p:pic>
      <p:sp>
        <p:nvSpPr>
          <p:cNvPr id="13" name="Titel 12">
            <a:extLst>
              <a:ext uri="{FF2B5EF4-FFF2-40B4-BE49-F238E27FC236}">
                <a16:creationId xmlns:a16="http://schemas.microsoft.com/office/drawing/2014/main" id="{41DF6BBB-9A37-4BF2-8EB0-5E918B5D4A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777" y="502224"/>
            <a:ext cx="9443167" cy="615553"/>
          </a:xfrm>
        </p:spPr>
        <p:txBody>
          <a:bodyPr/>
          <a:lstStyle/>
          <a:p>
            <a:r>
              <a:rPr lang="de-DE" kern="1200" dirty="0"/>
              <a:t>Energiewende – Was bringt die Zukunft?</a:t>
            </a:r>
            <a:br>
              <a:rPr lang="de-DE" kern="1200" dirty="0"/>
            </a:br>
            <a:r>
              <a:rPr lang="de-DE" sz="1800" kern="1200" dirty="0">
                <a:solidFill>
                  <a:schemeClr val="tx2"/>
                </a:solidFill>
                <a:cs typeface="EnBW DIN Pro Medium" panose="020B0604020101020102" pitchFamily="34" charset="0"/>
              </a:rPr>
              <a:t>Mögliche Entwicklung in Bad Wurzach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ED56392A-47ED-4BA5-B280-1145724D7F33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67916" y="5314711"/>
            <a:ext cx="867661" cy="514875"/>
          </a:xfrm>
          <a:prstGeom prst="rect">
            <a:avLst/>
          </a:prstGeom>
        </p:spPr>
      </p:pic>
      <p:sp>
        <p:nvSpPr>
          <p:cNvPr id="15" name="Textfeld 14">
            <a:extLst>
              <a:ext uri="{FF2B5EF4-FFF2-40B4-BE49-F238E27FC236}">
                <a16:creationId xmlns:a16="http://schemas.microsoft.com/office/drawing/2014/main" id="{9C283B05-712E-4C29-BFCE-0A634DF8CF3F}"/>
              </a:ext>
            </a:extLst>
          </p:cNvPr>
          <p:cNvSpPr txBox="1"/>
          <p:nvPr/>
        </p:nvSpPr>
        <p:spPr bwMode="gray">
          <a:xfrm>
            <a:off x="1463077" y="5266402"/>
            <a:ext cx="3698262" cy="646331"/>
          </a:xfrm>
          <a:prstGeom prst="rect">
            <a:avLst/>
          </a:prstGeom>
          <a:noFill/>
          <a:ln w="19050">
            <a:noFill/>
          </a:ln>
        </p:spPr>
        <p:txBody>
          <a:bodyPr wrap="square" lIns="0" tIns="0" rIns="0" bIns="0" rtlCol="0">
            <a:spAutoFit/>
          </a:bodyPr>
          <a:lstStyle/>
          <a:p>
            <a:pPr marL="285750" lvl="1" indent="-285750" defTabSz="914126" fontAlgn="base">
              <a:spcBef>
                <a:spcPts val="600"/>
              </a:spcBef>
              <a:buClr>
                <a:srgbClr val="FF9900"/>
              </a:buClr>
              <a:buSzPct val="140000"/>
              <a:buFont typeface="DIN-Regular" panose="020B0500010101010101" pitchFamily="34" charset="0"/>
              <a:buChar char="›"/>
              <a:defRPr/>
            </a:pPr>
            <a:r>
              <a:rPr lang="de-DE" sz="1400" kern="0" dirty="0">
                <a:ea typeface="DIN-Regular" panose="020B0500010101010101" pitchFamily="34" charset="0"/>
              </a:rPr>
              <a:t>Energiekonzept des Landes: Treibhausgasminderung um 65% bis 2030, Treibhausgasneutralität  bis 2040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F2CA43A9-2D25-4382-BD05-825BBE62DC69}"/>
              </a:ext>
            </a:extLst>
          </p:cNvPr>
          <p:cNvSpPr txBox="1"/>
          <p:nvPr/>
        </p:nvSpPr>
        <p:spPr bwMode="gray">
          <a:xfrm>
            <a:off x="7191656" y="3869007"/>
            <a:ext cx="1578918" cy="2154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buClr>
                <a:srgbClr val="FF9900"/>
              </a:buClr>
              <a:buSzPct val="140000"/>
              <a:defRPr/>
            </a:pPr>
            <a:r>
              <a:rPr lang="de-DE" sz="1400" dirty="0">
                <a:solidFill>
                  <a:srgbClr val="000099"/>
                </a:solidFill>
                <a:ea typeface="DIN-Regular" panose="020B0500010101010101" pitchFamily="34" charset="0"/>
              </a:rPr>
              <a:t>Mengenbilanz 2042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6ED982BF-06D7-4E36-B464-4667BC8E6D77}"/>
              </a:ext>
            </a:extLst>
          </p:cNvPr>
          <p:cNvSpPr txBox="1"/>
          <p:nvPr/>
        </p:nvSpPr>
        <p:spPr bwMode="gray">
          <a:xfrm>
            <a:off x="4766274" y="1590587"/>
            <a:ext cx="526621" cy="215444"/>
          </a:xfrm>
          <a:prstGeom prst="rect">
            <a:avLst/>
          </a:prstGeom>
          <a:solidFill>
            <a:schemeClr val="tx2"/>
          </a:solidFill>
          <a:ln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lIns="0" tIns="0" rIns="0" bIns="0" rtlCol="0">
            <a:spAutoFit/>
          </a:bodyPr>
          <a:lstStyle/>
          <a:p>
            <a:pPr algn="ctr">
              <a:buClr>
                <a:srgbClr val="FF9900"/>
              </a:buClr>
              <a:buSzPct val="140000"/>
              <a:defRPr/>
            </a:pPr>
            <a:r>
              <a:rPr lang="de-DE" sz="1400" b="1" dirty="0">
                <a:solidFill>
                  <a:schemeClr val="bg1"/>
                </a:solidFill>
                <a:latin typeface="DIN-Regular" panose="020B0500010101010101" pitchFamily="34" charset="0"/>
                <a:ea typeface="DIN-Regular" panose="020B0500010101010101" pitchFamily="34" charset="0"/>
              </a:rPr>
              <a:t>2042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F0A768AD-FDF0-4119-95ED-3E8FCD0E5255}"/>
              </a:ext>
            </a:extLst>
          </p:cNvPr>
          <p:cNvSpPr txBox="1"/>
          <p:nvPr/>
        </p:nvSpPr>
        <p:spPr bwMode="gray">
          <a:xfrm>
            <a:off x="4853627" y="2130100"/>
            <a:ext cx="1166960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buClr>
                <a:srgbClr val="FF9900"/>
              </a:buClr>
              <a:buSzPct val="140000"/>
              <a:defRPr/>
            </a:pPr>
            <a:r>
              <a:rPr lang="de-DE" sz="1200" b="1" dirty="0">
                <a:latin typeface="DIN-Regular" panose="020B0500010101010101" pitchFamily="34" charset="0"/>
                <a:ea typeface="DIN-Regular" panose="020B0500010101010101" pitchFamily="34" charset="0"/>
              </a:rPr>
              <a:t>2.404 Fahrzeuge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CDAFAE71-E29A-448F-BD0B-7AA54659717D}"/>
              </a:ext>
            </a:extLst>
          </p:cNvPr>
          <p:cNvSpPr txBox="1"/>
          <p:nvPr/>
        </p:nvSpPr>
        <p:spPr bwMode="gray">
          <a:xfrm>
            <a:off x="2026512" y="2130100"/>
            <a:ext cx="1166960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buClr>
                <a:srgbClr val="FF9900"/>
              </a:buClr>
              <a:buSzPct val="140000"/>
              <a:defRPr/>
            </a:pPr>
            <a:r>
              <a:rPr lang="de-DE" sz="1200" b="1" dirty="0">
                <a:latin typeface="DIN-Regular" panose="020B0500010101010101" pitchFamily="34" charset="0"/>
                <a:ea typeface="DIN-Regular" panose="020B0500010101010101" pitchFamily="34" charset="0"/>
              </a:rPr>
              <a:t>29 Fahrzeuge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87C111A6-CC1C-4322-B624-35ACE8D7CE21}"/>
              </a:ext>
            </a:extLst>
          </p:cNvPr>
          <p:cNvSpPr txBox="1"/>
          <p:nvPr/>
        </p:nvSpPr>
        <p:spPr bwMode="gray">
          <a:xfrm>
            <a:off x="1830695" y="1582039"/>
            <a:ext cx="526621" cy="215444"/>
          </a:xfrm>
          <a:prstGeom prst="rect">
            <a:avLst/>
          </a:prstGeom>
          <a:solidFill>
            <a:schemeClr val="tx2"/>
          </a:solidFill>
          <a:ln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lIns="0" tIns="0" rIns="0" bIns="0" rtlCol="0">
            <a:spAutoFit/>
          </a:bodyPr>
          <a:lstStyle/>
          <a:p>
            <a:pPr algn="ctr">
              <a:buClr>
                <a:srgbClr val="FF9900"/>
              </a:buClr>
              <a:buSzPct val="140000"/>
              <a:defRPr/>
            </a:pPr>
            <a:r>
              <a:rPr lang="de-DE" sz="1400" b="1" dirty="0">
                <a:solidFill>
                  <a:schemeClr val="bg1"/>
                </a:solidFill>
                <a:latin typeface="DIN-Regular" panose="020B0500010101010101" pitchFamily="34" charset="0"/>
                <a:ea typeface="DIN-Regular" panose="020B0500010101010101" pitchFamily="34" charset="0"/>
              </a:rPr>
              <a:t>2023</a:t>
            </a:r>
          </a:p>
        </p:txBody>
      </p:sp>
    </p:spTree>
    <p:extLst>
      <p:ext uri="{BB962C8B-B14F-4D97-AF65-F5344CB8AC3E}">
        <p14:creationId xmlns:p14="http://schemas.microsoft.com/office/powerpoint/2010/main" val="3126563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5DF5AE5-D4E6-416E-AF03-29EDBECE544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3D4A45-F672-4474-BA28-E624C64DA635}" type="slidenum">
              <a:rPr lang="de-DE" smtClean="0"/>
              <a:t>7</a:t>
            </a:fld>
            <a:endParaRPr lang="de-DE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E205520E-F2F5-41DA-82CC-4D80EF1EF89B}"/>
              </a:ext>
            </a:extLst>
          </p:cNvPr>
          <p:cNvSpPr txBox="1">
            <a:spLocks/>
          </p:cNvSpPr>
          <p:nvPr/>
        </p:nvSpPr>
        <p:spPr bwMode="auto">
          <a:xfrm>
            <a:off x="469781" y="541010"/>
            <a:ext cx="9443165" cy="615553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650" baseline="0">
                <a:solidFill>
                  <a:schemeClr val="accent6"/>
                </a:solidFill>
                <a:latin typeface="+mn-lt"/>
                <a:ea typeface="EnBW DIN Pro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5pPr>
            <a:lvl6pPr marL="342809"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6pPr>
            <a:lvl7pPr marL="685617"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7pPr>
            <a:lvl8pPr marL="1028426"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8pPr>
            <a:lvl9pPr marL="1371234"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9pPr>
          </a:lstStyle>
          <a:p>
            <a:r>
              <a:rPr lang="de-DE" sz="2200" dirty="0"/>
              <a:t>Stromverbrauch und Erneuerbare Energien Bad Wurzach</a:t>
            </a:r>
          </a:p>
          <a:p>
            <a:r>
              <a:rPr lang="de-DE" sz="1800" dirty="0">
                <a:solidFill>
                  <a:schemeClr val="tx2"/>
                </a:solidFill>
                <a:cs typeface="EnBW DIN Pro"/>
              </a:rPr>
              <a:t>Entwicklung 2018 - 2020</a:t>
            </a:r>
            <a:endParaRPr lang="de-DE" sz="1800" kern="0" dirty="0">
              <a:solidFill>
                <a:schemeClr val="tx2"/>
              </a:solidFill>
              <a:cs typeface="EnBW DIN Pro Medium" panose="020B0604020101020102" pitchFamily="34" charset="0"/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73419ECB-3125-4B1B-A568-B14D02A2D018}"/>
              </a:ext>
            </a:extLst>
          </p:cNvPr>
          <p:cNvSpPr/>
          <p:nvPr/>
        </p:nvSpPr>
        <p:spPr>
          <a:xfrm>
            <a:off x="1132742" y="1481832"/>
            <a:ext cx="3603645" cy="4467448"/>
          </a:xfrm>
          <a:prstGeom prst="rect">
            <a:avLst/>
          </a:prstGeom>
          <a:solidFill>
            <a:srgbClr val="FFFFFF">
              <a:lumMod val="9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74777ECB-EA1E-4205-A755-CC770846C6DC}"/>
              </a:ext>
            </a:extLst>
          </p:cNvPr>
          <p:cNvSpPr/>
          <p:nvPr/>
        </p:nvSpPr>
        <p:spPr>
          <a:xfrm>
            <a:off x="4736387" y="1481832"/>
            <a:ext cx="3524035" cy="4467448"/>
          </a:xfrm>
          <a:prstGeom prst="rect">
            <a:avLst/>
          </a:prstGeom>
          <a:solidFill>
            <a:srgbClr val="979797">
              <a:lumMod val="20000"/>
              <a:lumOff val="8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A636DAF2-42EA-414D-A75C-B764BFF78DD0}"/>
              </a:ext>
            </a:extLst>
          </p:cNvPr>
          <p:cNvSpPr/>
          <p:nvPr/>
        </p:nvSpPr>
        <p:spPr>
          <a:xfrm>
            <a:off x="8260422" y="1481832"/>
            <a:ext cx="3770616" cy="4467448"/>
          </a:xfrm>
          <a:prstGeom prst="rect">
            <a:avLst/>
          </a:prstGeom>
          <a:solidFill>
            <a:srgbClr val="686868">
              <a:lumMod val="20000"/>
              <a:lumOff val="8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Inhaltsplatzhalter 1">
            <a:extLst>
              <a:ext uri="{FF2B5EF4-FFF2-40B4-BE49-F238E27FC236}">
                <a16:creationId xmlns:a16="http://schemas.microsoft.com/office/drawing/2014/main" id="{6279D726-DEF4-427E-8755-1CBFE774B515}"/>
              </a:ext>
            </a:extLst>
          </p:cNvPr>
          <p:cNvSpPr txBox="1">
            <a:spLocks/>
          </p:cNvSpPr>
          <p:nvPr/>
        </p:nvSpPr>
        <p:spPr>
          <a:xfrm>
            <a:off x="1190505" y="6575870"/>
            <a:ext cx="1033575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SzPct val="100000"/>
              <a:buFontTx/>
              <a:buNone/>
              <a:defRPr sz="1600" b="1" baseline="0">
                <a:solidFill>
                  <a:schemeClr val="tx2"/>
                </a:solidFill>
                <a:latin typeface="EnBW DIN Pro"/>
                <a:ea typeface="EnBW DIN Pro"/>
                <a:cs typeface="EnBW DIN Pro"/>
                <a:sym typeface="EnBW DIN Pro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SzPct val="140000"/>
              <a:buFont typeface="DIN-Medium" panose="020B0600010101020104" pitchFamily="34" charset="0"/>
              <a:buNone/>
              <a:defRPr sz="1600">
                <a:solidFill>
                  <a:schemeClr val="tx1"/>
                </a:solidFill>
                <a:latin typeface="+mn-lt"/>
                <a:ea typeface="EnBW DIN Pro"/>
              </a:defRPr>
            </a:lvl2pPr>
            <a:lvl3pPr marL="162000" indent="-16200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  <a:defRPr sz="1600">
                <a:solidFill>
                  <a:schemeClr val="tx1"/>
                </a:solidFill>
                <a:latin typeface="+mn-lt"/>
                <a:ea typeface="EnBW DIN Pro"/>
              </a:defRPr>
            </a:lvl3pPr>
            <a:lvl4pPr marL="324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lang="de-DE" sz="1400" dirty="0" smtClean="0">
                <a:solidFill>
                  <a:schemeClr val="tx1"/>
                </a:solidFill>
                <a:latin typeface="+mn-lt"/>
                <a:ea typeface="EnBW DIN Pro"/>
              </a:defRPr>
            </a:lvl4pPr>
            <a:lvl5pPr marL="486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+mn-lt"/>
                <a:ea typeface="EnBW DIN Pro"/>
              </a:defRPr>
            </a:lvl5pPr>
            <a:lvl6pPr marL="648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25257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7pPr>
            <a:lvl8pPr marL="29829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8pPr>
            <a:lvl9pPr marL="34401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9900"/>
              </a:buClr>
              <a:buSzPct val="100000"/>
              <a:buFontTx/>
              <a:buNone/>
              <a:tabLst/>
              <a:defRPr/>
            </a:pP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000099"/>
                </a:solidFill>
                <a:effectLst/>
                <a:uLnTx/>
                <a:uFillTx/>
                <a:latin typeface="EnBW DIN Pro"/>
                <a:cs typeface="EnBW DIN Pro"/>
                <a:sym typeface="EnBW DIN Pro"/>
              </a:rPr>
              <a:t>(1 MWh = 1.000 kWh = ca. ein Singlehaushalt)</a:t>
            </a:r>
          </a:p>
        </p:txBody>
      </p:sp>
      <p:graphicFrame>
        <p:nvGraphicFramePr>
          <p:cNvPr id="16" name="Diagramm 15">
            <a:extLst>
              <a:ext uri="{FF2B5EF4-FFF2-40B4-BE49-F238E27FC236}">
                <a16:creationId xmlns:a16="http://schemas.microsoft.com/office/drawing/2014/main" id="{09DAA854-476F-47E0-950C-2C6354CC216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67929390"/>
              </p:ext>
            </p:extLst>
          </p:nvPr>
        </p:nvGraphicFramePr>
        <p:xfrm>
          <a:off x="35933" y="1481831"/>
          <a:ext cx="11995105" cy="5055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Textfeld 16">
            <a:extLst>
              <a:ext uri="{FF2B5EF4-FFF2-40B4-BE49-F238E27FC236}">
                <a16:creationId xmlns:a16="http://schemas.microsoft.com/office/drawing/2014/main" id="{4EF7DC97-8EFE-42DA-83A7-0D31C1CE428C}"/>
              </a:ext>
            </a:extLst>
          </p:cNvPr>
          <p:cNvSpPr txBox="1"/>
          <p:nvPr/>
        </p:nvSpPr>
        <p:spPr>
          <a:xfrm>
            <a:off x="7999776" y="3407038"/>
            <a:ext cx="227598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000" dirty="0">
                <a:solidFill>
                  <a:srgbClr val="3B3B3B"/>
                </a:solidFill>
              </a:rPr>
              <a:t>70.316 MWh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537FB6DD-E781-47B1-9D34-3111ADA0BB38}"/>
              </a:ext>
            </a:extLst>
          </p:cNvPr>
          <p:cNvSpPr txBox="1"/>
          <p:nvPr/>
        </p:nvSpPr>
        <p:spPr>
          <a:xfrm>
            <a:off x="9937850" y="1563788"/>
            <a:ext cx="207377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000" dirty="0">
                <a:solidFill>
                  <a:srgbClr val="3B3B3B"/>
                </a:solidFill>
              </a:rPr>
              <a:t>165.689 MWh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40DAA3EE-1982-4FCE-A926-CDCD3A25B604}"/>
              </a:ext>
            </a:extLst>
          </p:cNvPr>
          <p:cNvSpPr txBox="1"/>
          <p:nvPr/>
        </p:nvSpPr>
        <p:spPr>
          <a:xfrm>
            <a:off x="2800657" y="1693238"/>
            <a:ext cx="207377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600" dirty="0">
                <a:solidFill>
                  <a:srgbClr val="3B3B3B"/>
                </a:solidFill>
              </a:rPr>
              <a:t>159.151 MWh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47C1A500-326E-4025-86CE-73C0C8C852E6}"/>
              </a:ext>
            </a:extLst>
          </p:cNvPr>
          <p:cNvSpPr txBox="1"/>
          <p:nvPr/>
        </p:nvSpPr>
        <p:spPr>
          <a:xfrm>
            <a:off x="6324692" y="1625344"/>
            <a:ext cx="207377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600" dirty="0">
                <a:solidFill>
                  <a:srgbClr val="3B3B3B"/>
                </a:solidFill>
              </a:rPr>
              <a:t>164.154 MWh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5E15B34-7E11-493C-8F09-AACA089689B8}"/>
              </a:ext>
            </a:extLst>
          </p:cNvPr>
          <p:cNvSpPr txBox="1"/>
          <p:nvPr/>
        </p:nvSpPr>
        <p:spPr>
          <a:xfrm>
            <a:off x="4577136" y="3436752"/>
            <a:ext cx="207377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600" dirty="0">
                <a:solidFill>
                  <a:srgbClr val="3B3B3B"/>
                </a:solidFill>
              </a:rPr>
              <a:t>67.890 MWh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402506B8-96F6-48B9-A530-8DAE56AC65AD}"/>
              </a:ext>
            </a:extLst>
          </p:cNvPr>
          <p:cNvSpPr txBox="1"/>
          <p:nvPr/>
        </p:nvSpPr>
        <p:spPr>
          <a:xfrm>
            <a:off x="1059119" y="3468594"/>
            <a:ext cx="207377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600" dirty="0">
                <a:solidFill>
                  <a:srgbClr val="3B3B3B"/>
                </a:solidFill>
                <a:cs typeface="Narkisim" panose="020B0604020202020204" pitchFamily="34" charset="-79"/>
              </a:rPr>
              <a:t>69.358 MWh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B1938638-9FE1-41EF-9043-3A589DA3EE49}"/>
              </a:ext>
            </a:extLst>
          </p:cNvPr>
          <p:cNvSpPr txBox="1"/>
          <p:nvPr/>
        </p:nvSpPr>
        <p:spPr>
          <a:xfrm>
            <a:off x="9342060" y="4022675"/>
            <a:ext cx="137222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000" dirty="0">
                <a:solidFill>
                  <a:srgbClr val="3B3B3B"/>
                </a:solidFill>
                <a:latin typeface="Calibri"/>
              </a:rPr>
              <a:t>42 %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99996C17-AED7-4E68-9B2B-41F1FB241761}"/>
              </a:ext>
            </a:extLst>
          </p:cNvPr>
          <p:cNvCxnSpPr>
            <a:cxnSpLocks/>
          </p:cNvCxnSpPr>
          <p:nvPr/>
        </p:nvCxnSpPr>
        <p:spPr>
          <a:xfrm>
            <a:off x="9529683" y="3950532"/>
            <a:ext cx="2491730" cy="0"/>
          </a:xfrm>
          <a:prstGeom prst="line">
            <a:avLst/>
          </a:prstGeom>
          <a:noFill/>
          <a:ln w="38100" cap="flat" cmpd="sng" algn="ctr">
            <a:solidFill>
              <a:srgbClr val="00B050"/>
            </a:solidFill>
            <a:prstDash val="sysDash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2047137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DB0768B8-BB1E-4E22-B2DE-3D7706B7FB3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2" name="think-cell Folie" r:id="rId5" imgW="592" imgH="591" progId="TCLayout.ActiveDocument.1">
                  <p:embed/>
                </p:oleObj>
              </mc:Choice>
              <mc:Fallback>
                <p:oleObj name="think-cell Folie" r:id="rId5" imgW="592" imgH="591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DB0768B8-BB1E-4E22-B2DE-3D7706B7FB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25844DC1-15FE-42F9-8107-3DA7D9B471D0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Aft>
                <a:spcPct val="0"/>
              </a:spcAft>
            </a:pPr>
            <a:endParaRPr kumimoji="0" lang="de-DE" sz="22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EnBW DIN Pro" panose="020B0504020101020102" pitchFamily="34" charset="0"/>
              <a:cs typeface="+mj-cs"/>
              <a:sym typeface="EnBW DIN Pro" panose="020B0504020101020102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F4236CE-924A-4BC7-AFF1-EB8F8D5ED8F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3D4A45-F672-4474-BA28-E624C64DA635}" type="slidenum">
              <a:rPr lang="de-DE" smtClean="0"/>
              <a:t>8</a:t>
            </a:fld>
            <a:endParaRPr lang="de-DE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9ABE98CE-1E9B-42CC-B4F8-0E253FE89E22}"/>
              </a:ext>
            </a:extLst>
          </p:cNvPr>
          <p:cNvSpPr txBox="1">
            <a:spLocks/>
          </p:cNvSpPr>
          <p:nvPr/>
        </p:nvSpPr>
        <p:spPr bwMode="auto">
          <a:xfrm>
            <a:off x="471247" y="541763"/>
            <a:ext cx="9440706" cy="615393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650" baseline="0">
                <a:solidFill>
                  <a:schemeClr val="accent6"/>
                </a:solidFill>
                <a:latin typeface="+mn-lt"/>
                <a:ea typeface="EnBW DIN Pro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5pPr>
            <a:lvl6pPr marL="342809"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6pPr>
            <a:lvl7pPr marL="685617"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7pPr>
            <a:lvl8pPr marL="1028426"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8pPr>
            <a:lvl9pPr marL="1371234"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9pPr>
          </a:lstStyle>
          <a:p>
            <a:r>
              <a:rPr lang="de-DE" sz="2199" dirty="0"/>
              <a:t>Entwicklung Erneuerbare Energien in Bad Wurzach</a:t>
            </a:r>
            <a:br>
              <a:rPr lang="de-DE" sz="2199" dirty="0"/>
            </a:br>
            <a:r>
              <a:rPr lang="de-DE" sz="1800" dirty="0">
                <a:solidFill>
                  <a:schemeClr val="tx2"/>
                </a:solidFill>
                <a:cs typeface="EnBW DIN Pro Medium" panose="020B0604020101020102" pitchFamily="34" charset="0"/>
              </a:rPr>
              <a:t>Anzahl und installierte Leistung 2020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8218CD76-F6AD-4CC6-B717-343119D41CE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900004" y="1848471"/>
            <a:ext cx="799688" cy="693705"/>
          </a:xfrm>
          <a:prstGeom prst="rect">
            <a:avLst/>
          </a:prstGeom>
        </p:spPr>
      </p:pic>
      <p:pic>
        <p:nvPicPr>
          <p:cNvPr id="16" name="Grafik 15" descr="Ein Bild, das Schaltkreis enthält.&#10;&#10;Automatisch generierte Beschreibung">
            <a:extLst>
              <a:ext uri="{FF2B5EF4-FFF2-40B4-BE49-F238E27FC236}">
                <a16:creationId xmlns:a16="http://schemas.microsoft.com/office/drawing/2014/main" id="{036E0052-9CFF-433F-8559-A08231D8AF28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20260" y="1615354"/>
            <a:ext cx="3225970" cy="214080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aphicFrame>
        <p:nvGraphicFramePr>
          <p:cNvPr id="17" name="Tabelle 16">
            <a:extLst>
              <a:ext uri="{FF2B5EF4-FFF2-40B4-BE49-F238E27FC236}">
                <a16:creationId xmlns:a16="http://schemas.microsoft.com/office/drawing/2014/main" id="{542DED1B-2A20-46EE-AE8D-77178926E45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8193132"/>
              </p:ext>
            </p:extLst>
          </p:nvPr>
        </p:nvGraphicFramePr>
        <p:xfrm>
          <a:off x="6024996" y="4172243"/>
          <a:ext cx="5521234" cy="2202628"/>
        </p:xfrm>
        <a:graphic>
          <a:graphicData uri="http://schemas.openxmlformats.org/drawingml/2006/table">
            <a:tbl>
              <a:tblPr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tblPr>
              <a:tblGrid>
                <a:gridCol w="1605495">
                  <a:extLst>
                    <a:ext uri="{9D8B030D-6E8A-4147-A177-3AD203B41FA5}">
                      <a16:colId xmlns:a16="http://schemas.microsoft.com/office/drawing/2014/main" val="2161785097"/>
                    </a:ext>
                  </a:extLst>
                </a:gridCol>
                <a:gridCol w="1360345">
                  <a:extLst>
                    <a:ext uri="{9D8B030D-6E8A-4147-A177-3AD203B41FA5}">
                      <a16:colId xmlns:a16="http://schemas.microsoft.com/office/drawing/2014/main" val="3899230554"/>
                    </a:ext>
                  </a:extLst>
                </a:gridCol>
                <a:gridCol w="1277697">
                  <a:extLst>
                    <a:ext uri="{9D8B030D-6E8A-4147-A177-3AD203B41FA5}">
                      <a16:colId xmlns:a16="http://schemas.microsoft.com/office/drawing/2014/main" val="4210234921"/>
                    </a:ext>
                  </a:extLst>
                </a:gridCol>
                <a:gridCol w="1277697">
                  <a:extLst>
                    <a:ext uri="{9D8B030D-6E8A-4147-A177-3AD203B41FA5}">
                      <a16:colId xmlns:a16="http://schemas.microsoft.com/office/drawing/2014/main" val="1200562445"/>
                    </a:ext>
                  </a:extLst>
                </a:gridCol>
              </a:tblGrid>
              <a:tr h="448408"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EnBW DIN Pro" panose="020B0504020101020102" pitchFamily="34" charset="0"/>
                        </a:rPr>
                        <a:t>Energieart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EnBW DIN Pro" panose="020B0504020101020102" pitchFamily="34" charset="0"/>
                        </a:rPr>
                        <a:t>Anlage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EnBW DIN Pro" panose="020B0504020101020102" pitchFamily="34" charset="0"/>
                        </a:rPr>
                        <a:t>Leistu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EnBW DIN Pro" panose="020B0504020101020102" pitchFamily="34" charset="0"/>
                        </a:rPr>
                        <a:t>Einspeisu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4117859"/>
                  </a:ext>
                </a:extLst>
              </a:tr>
              <a:tr h="350844"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400" b="0" i="0" u="none" strike="noStrike" dirty="0">
                          <a:solidFill>
                            <a:srgbClr val="3B3B3B"/>
                          </a:solidFill>
                          <a:effectLst/>
                          <a:latin typeface="EnBW DIN Pro" panose="020B0504020101020102" pitchFamily="34" charset="0"/>
                        </a:rPr>
                        <a:t>Photovoltaik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CE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400" b="0" i="0" u="none" strike="noStrike">
                          <a:solidFill>
                            <a:srgbClr val="3B3B3B"/>
                          </a:solidFill>
                          <a:effectLst/>
                          <a:latin typeface="EnBW DIN Pro" panose="020B0504020101020102" pitchFamily="34" charset="0"/>
                        </a:rPr>
                        <a:t>1.553</a:t>
                      </a:r>
                      <a:endParaRPr lang="de-DE" sz="1400" b="0" i="0" u="none" strike="noStrike" dirty="0">
                        <a:solidFill>
                          <a:srgbClr val="3B3B3B"/>
                        </a:solidFill>
                        <a:effectLst/>
                        <a:latin typeface="EnBW DIN Pro" panose="020B0504020101020102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CE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400" b="0" i="0" u="none" strike="noStrike">
                          <a:solidFill>
                            <a:srgbClr val="3B3B3B"/>
                          </a:solidFill>
                          <a:effectLst/>
                          <a:latin typeface="EnBW DIN Pro" panose="020B0504020101020102" pitchFamily="34" charset="0"/>
                        </a:rPr>
                        <a:t>31,35 MW</a:t>
                      </a:r>
                      <a:endParaRPr lang="de-DE" sz="1400" b="0" i="0" u="none" strike="noStrike" dirty="0">
                        <a:solidFill>
                          <a:srgbClr val="3B3B3B"/>
                        </a:solidFill>
                        <a:effectLst/>
                        <a:latin typeface="EnBW DIN Pro" panose="020B0504020101020102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CE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e-DE" sz="1400" b="0" i="0" u="none" strike="noStrike">
                          <a:solidFill>
                            <a:srgbClr val="3B3B3B"/>
                          </a:solidFill>
                          <a:effectLst/>
                          <a:latin typeface="EnBW DIN Pro" panose="020B0504020101020102" pitchFamily="34" charset="0"/>
                        </a:rPr>
                        <a:t>   30.949 MWh</a:t>
                      </a:r>
                      <a:endParaRPr lang="de-DE" sz="1400" b="0" i="0" u="none" strike="noStrike" dirty="0">
                        <a:solidFill>
                          <a:srgbClr val="3B3B3B"/>
                        </a:solidFill>
                        <a:effectLst/>
                        <a:latin typeface="EnBW DIN Pro" panose="020B0504020101020102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C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177183"/>
                  </a:ext>
                </a:extLst>
              </a:tr>
              <a:tr h="350844"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400" b="0" i="0" u="none" strike="noStrike" dirty="0">
                          <a:solidFill>
                            <a:srgbClr val="3B3B3B"/>
                          </a:solidFill>
                          <a:effectLst/>
                          <a:latin typeface="EnBW DIN Pro" panose="020B0504020101020102" pitchFamily="34" charset="0"/>
                        </a:rPr>
                        <a:t>Biomasse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CE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400" b="0" i="0" u="none" strike="noStrike">
                          <a:solidFill>
                            <a:srgbClr val="3B3B3B"/>
                          </a:solidFill>
                          <a:effectLst/>
                          <a:latin typeface="EnBW DIN Pro" panose="020B0504020101020102" pitchFamily="34" charset="0"/>
                        </a:rPr>
                        <a:t>21</a:t>
                      </a:r>
                      <a:endParaRPr lang="de-DE" sz="1400" b="0" i="0" u="none" strike="noStrike" dirty="0">
                        <a:solidFill>
                          <a:srgbClr val="3B3B3B"/>
                        </a:solidFill>
                        <a:effectLst/>
                        <a:latin typeface="EnBW DIN Pro" panose="020B0504020101020102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CE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400" b="0" i="0" u="none" strike="noStrike">
                          <a:solidFill>
                            <a:srgbClr val="3B3B3B"/>
                          </a:solidFill>
                          <a:effectLst/>
                          <a:latin typeface="EnBW DIN Pro" panose="020B0504020101020102" pitchFamily="34" charset="0"/>
                        </a:rPr>
                        <a:t> 8,04 MW</a:t>
                      </a:r>
                      <a:endParaRPr lang="de-DE" sz="1400" b="0" i="0" u="none" strike="noStrike" dirty="0">
                        <a:solidFill>
                          <a:srgbClr val="3B3B3B"/>
                        </a:solidFill>
                        <a:effectLst/>
                        <a:latin typeface="EnBW DIN Pro" panose="020B0504020101020102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CE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e-DE" sz="1400" b="0" i="0" u="none" strike="noStrike">
                          <a:solidFill>
                            <a:srgbClr val="3B3B3B"/>
                          </a:solidFill>
                          <a:effectLst/>
                          <a:latin typeface="EnBW DIN Pro" panose="020B0504020101020102" pitchFamily="34" charset="0"/>
                        </a:rPr>
                        <a:t>   35.585 MWh</a:t>
                      </a:r>
                      <a:endParaRPr lang="de-DE" sz="1400" b="0" i="0" u="none" strike="noStrike" dirty="0">
                        <a:solidFill>
                          <a:srgbClr val="3B3B3B"/>
                        </a:solidFill>
                        <a:effectLst/>
                        <a:latin typeface="EnBW DIN Pro" panose="020B0504020101020102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C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92265087"/>
                  </a:ext>
                </a:extLst>
              </a:tr>
              <a:tr h="350844"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400" b="0" i="0" u="none" strike="noStrike">
                          <a:solidFill>
                            <a:srgbClr val="3B3B3B"/>
                          </a:solidFill>
                          <a:effectLst/>
                          <a:latin typeface="EnBW DIN Pro" panose="020B0504020101020102" pitchFamily="34" charset="0"/>
                        </a:rPr>
                        <a:t>Wind</a:t>
                      </a:r>
                      <a:endParaRPr lang="de-DE" sz="1400" b="0" i="0" u="none" strike="noStrike" dirty="0">
                        <a:solidFill>
                          <a:srgbClr val="3B3B3B"/>
                        </a:solidFill>
                        <a:effectLst/>
                        <a:latin typeface="EnBW DIN Pro" panose="020B0504020101020102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C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>
                          <a:solidFill>
                            <a:schemeClr val="tx1"/>
                          </a:solidFill>
                          <a:effectLst/>
                          <a:latin typeface="EnBW DIN Pro" panose="020B0504020101020102" pitchFamily="34" charset="0"/>
                        </a:rPr>
                        <a:t>2</a:t>
                      </a:r>
                      <a:endParaRPr lang="de-DE" sz="1400" b="0" i="0" u="none" strike="noStrike" dirty="0">
                        <a:solidFill>
                          <a:schemeClr val="tx1"/>
                        </a:solidFill>
                        <a:effectLst/>
                        <a:latin typeface="EnBW DIN Pro" panose="020B0504020101020102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C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>
                          <a:solidFill>
                            <a:schemeClr val="tx1"/>
                          </a:solidFill>
                          <a:effectLst/>
                          <a:latin typeface="EnBW DIN Pro" panose="020B0504020101020102" pitchFamily="34" charset="0"/>
                        </a:rPr>
                        <a:t>  2,60 MW</a:t>
                      </a:r>
                      <a:endParaRPr lang="de-DE" sz="1400" b="0" i="0" u="none" strike="noStrike" dirty="0">
                        <a:solidFill>
                          <a:schemeClr val="tx1"/>
                        </a:solidFill>
                        <a:effectLst/>
                        <a:latin typeface="EnBW DIN Pro" panose="020B0504020101020102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C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>
                          <a:solidFill>
                            <a:schemeClr val="tx1"/>
                          </a:solidFill>
                          <a:effectLst/>
                          <a:latin typeface="EnBW DIN Pro" panose="020B0504020101020102" pitchFamily="34" charset="0"/>
                        </a:rPr>
                        <a:t>     3.531 MWh</a:t>
                      </a:r>
                      <a:endParaRPr lang="de-DE" sz="1400" b="0" i="0" u="none" strike="noStrike" dirty="0">
                        <a:solidFill>
                          <a:schemeClr val="tx1"/>
                        </a:solidFill>
                        <a:effectLst/>
                        <a:latin typeface="EnBW DIN Pro" panose="020B0504020101020102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C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4820743"/>
                  </a:ext>
                </a:extLst>
              </a:tr>
              <a:tr h="350844"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400" b="0" i="0" u="none" strike="noStrike" dirty="0">
                          <a:solidFill>
                            <a:srgbClr val="3B3B3B"/>
                          </a:solidFill>
                          <a:effectLst/>
                          <a:latin typeface="EnBW DIN Pro" panose="020B0504020101020102" pitchFamily="34" charset="0"/>
                        </a:rPr>
                        <a:t>Wasser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C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solidFill>
                            <a:srgbClr val="3B3B3B"/>
                          </a:solidFill>
                          <a:effectLst/>
                          <a:latin typeface="EnBW DIN Pro" panose="020B0504020101020102" pitchFamily="34" charset="0"/>
                        </a:rPr>
                        <a:t>&lt;5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C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solidFill>
                            <a:srgbClr val="3B3B3B"/>
                          </a:solidFill>
                          <a:effectLst/>
                          <a:latin typeface="EnBW DIN Pro" panose="020B0504020101020102" pitchFamily="34" charset="0"/>
                        </a:rPr>
                        <a:t> 0,05 MW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C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solidFill>
                            <a:srgbClr val="3B3B3B"/>
                          </a:solidFill>
                          <a:effectLst/>
                          <a:latin typeface="EnBW DIN Pro" panose="020B0504020101020102" pitchFamily="34" charset="0"/>
                        </a:rPr>
                        <a:t>          14 MWh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C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19305156"/>
                  </a:ext>
                </a:extLst>
              </a:tr>
              <a:tr h="350844"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400" b="0" i="0" u="none" strike="noStrike" dirty="0">
                          <a:solidFill>
                            <a:srgbClr val="3B3B3B"/>
                          </a:solidFill>
                          <a:effectLst/>
                          <a:latin typeface="EnBW DIN Pro" panose="020B0504020101020102" pitchFamily="34" charset="0"/>
                        </a:rPr>
                        <a:t>KWK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C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>
                          <a:solidFill>
                            <a:srgbClr val="3B3B3B"/>
                          </a:solidFill>
                          <a:effectLst/>
                          <a:latin typeface="EnBW DIN Pro" panose="020B0504020101020102" pitchFamily="34" charset="0"/>
                        </a:rPr>
                        <a:t>9</a:t>
                      </a:r>
                      <a:endParaRPr lang="de-DE" sz="1400" b="0" i="0" u="none" strike="noStrike" dirty="0">
                        <a:solidFill>
                          <a:srgbClr val="3B3B3B"/>
                        </a:solidFill>
                        <a:effectLst/>
                        <a:latin typeface="EnBW DIN Pro" panose="020B0504020101020102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C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>
                          <a:solidFill>
                            <a:srgbClr val="3B3B3B"/>
                          </a:solidFill>
                          <a:effectLst/>
                          <a:latin typeface="EnBW DIN Pro" panose="020B0504020101020102" pitchFamily="34" charset="0"/>
                        </a:rPr>
                        <a:t> 0,25 MW</a:t>
                      </a:r>
                      <a:endParaRPr lang="de-DE" sz="1400" b="0" i="0" u="none" strike="noStrike" dirty="0">
                        <a:solidFill>
                          <a:srgbClr val="3B3B3B"/>
                        </a:solidFill>
                        <a:effectLst/>
                        <a:latin typeface="EnBW DIN Pro" panose="020B0504020101020102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C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>
                          <a:solidFill>
                            <a:srgbClr val="3B3B3B"/>
                          </a:solidFill>
                          <a:effectLst/>
                          <a:latin typeface="EnBW DIN Pro" panose="020B0504020101020102" pitchFamily="34" charset="0"/>
                        </a:rPr>
                        <a:t>        237 MWh</a:t>
                      </a:r>
                      <a:endParaRPr lang="de-DE" sz="1400" b="0" i="0" u="none" strike="noStrike" dirty="0">
                        <a:solidFill>
                          <a:srgbClr val="3B3B3B"/>
                        </a:solidFill>
                        <a:effectLst/>
                        <a:latin typeface="EnBW DIN Pro" panose="020B0504020101020102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C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3935487"/>
                  </a:ext>
                </a:extLst>
              </a:tr>
            </a:tbl>
          </a:graphicData>
        </a:graphic>
      </p:graphicFrame>
      <p:pic>
        <p:nvPicPr>
          <p:cNvPr id="3" name="Grafik 2">
            <a:extLst>
              <a:ext uri="{FF2B5EF4-FFF2-40B4-BE49-F238E27FC236}">
                <a16:creationId xmlns:a16="http://schemas.microsoft.com/office/drawing/2014/main" id="{C39B8C3F-18AA-4A5E-8B20-09904E62A4C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71247" y="3783163"/>
            <a:ext cx="4753389" cy="260792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EEE4ED10-60F1-42F2-8D91-54ECF0FEF67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71247" y="1615354"/>
            <a:ext cx="7034544" cy="182985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389853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>
            <a:extLst>
              <a:ext uri="{FF2B5EF4-FFF2-40B4-BE49-F238E27FC236}">
                <a16:creationId xmlns:a16="http://schemas.microsoft.com/office/drawing/2014/main" id="{214061EE-26B9-4DDB-A9FA-4BDFC5C7CFA0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3037" y="2049342"/>
            <a:ext cx="6307093" cy="275645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DB0768B8-BB1E-4E22-B2DE-3D7706B7FB3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6" name="think-cell Folie" r:id="rId6" imgW="592" imgH="591" progId="TCLayout.ActiveDocument.1">
                  <p:embed/>
                </p:oleObj>
              </mc:Choice>
              <mc:Fallback>
                <p:oleObj name="think-cell Folie" r:id="rId6" imgW="592" imgH="591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DB0768B8-BB1E-4E22-B2DE-3D7706B7FB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25844DC1-15FE-42F9-8107-3DA7D9B471D0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Aft>
                <a:spcPct val="0"/>
              </a:spcAft>
            </a:pPr>
            <a:endParaRPr kumimoji="0" lang="de-DE" sz="22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EnBW DIN Pro" panose="020B0504020101020102" pitchFamily="34" charset="0"/>
              <a:cs typeface="+mj-cs"/>
              <a:sym typeface="EnBW DIN Pro" panose="020B0504020101020102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F4236CE-924A-4BC7-AFF1-EB8F8D5ED8F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3D4A45-F672-4474-BA28-E624C64DA635}" type="slidenum">
              <a:rPr lang="de-DE" smtClean="0"/>
              <a:t>9</a:t>
            </a:fld>
            <a:endParaRPr lang="de-DE"/>
          </a:p>
        </p:txBody>
      </p:sp>
      <p:sp>
        <p:nvSpPr>
          <p:cNvPr id="13" name="Titel 12">
            <a:extLst>
              <a:ext uri="{FF2B5EF4-FFF2-40B4-BE49-F238E27FC236}">
                <a16:creationId xmlns:a16="http://schemas.microsoft.com/office/drawing/2014/main" id="{41DF6BBB-9A37-4BF2-8EB0-5E918B5D4A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777" y="502224"/>
            <a:ext cx="9443167" cy="615553"/>
          </a:xfrm>
        </p:spPr>
        <p:txBody>
          <a:bodyPr/>
          <a:lstStyle/>
          <a:p>
            <a:r>
              <a:rPr lang="de-DE" sz="2200" dirty="0"/>
              <a:t>Intensivierung des Kommunendialogs auf Basis der KommunalPlattform</a:t>
            </a:r>
            <a:br>
              <a:rPr lang="de-DE" sz="2400" dirty="0"/>
            </a:br>
            <a:r>
              <a:rPr lang="de-DE" sz="1800" dirty="0">
                <a:solidFill>
                  <a:schemeClr val="tx2"/>
                </a:solidFill>
              </a:rPr>
              <a:t>Kompetent und zukunftsfähig</a:t>
            </a:r>
            <a:endParaRPr lang="de-DE" sz="2000" kern="0" dirty="0">
              <a:solidFill>
                <a:schemeClr val="tx2"/>
              </a:solidFill>
              <a:latin typeface="EnBW DIN Pro" panose="020B0504020101020102" pitchFamily="34" charset="0"/>
              <a:cs typeface="EnBW DIN Pro" panose="020B0504020101020102" pitchFamily="34" charset="0"/>
            </a:endParaRPr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15FDFFE7-24A9-43EB-A254-D499B576340A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74873" y="1598574"/>
            <a:ext cx="3671849" cy="182899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BB661D62-0345-450B-856E-04E539FAC043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74873" y="3639247"/>
            <a:ext cx="3671849" cy="196903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9" name="Gleichschenkliges Dreieck 28">
            <a:extLst>
              <a:ext uri="{FF2B5EF4-FFF2-40B4-BE49-F238E27FC236}">
                <a16:creationId xmlns:a16="http://schemas.microsoft.com/office/drawing/2014/main" id="{C4E3D852-9794-4320-B119-F0C52F6E2AAC}"/>
              </a:ext>
            </a:extLst>
          </p:cNvPr>
          <p:cNvSpPr/>
          <p:nvPr/>
        </p:nvSpPr>
        <p:spPr bwMode="auto">
          <a:xfrm rot="5400000">
            <a:off x="6038041" y="3261705"/>
            <a:ext cx="1623256" cy="331732"/>
          </a:xfrm>
          <a:prstGeom prst="triangle">
            <a:avLst/>
          </a:prstGeom>
          <a:solidFill>
            <a:srgbClr val="FF99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0979" tIns="80979" rIns="80979" bIns="80979" numCol="1" rtlCol="0" anchor="ctr" anchorCtr="0" compatLnSpc="1">
            <a:prstTxWarp prst="textNoShape">
              <a:avLst/>
            </a:prstTxWarp>
          </a:bodyPr>
          <a:lstStyle/>
          <a:p>
            <a:pPr algn="ctr" defTabSz="685617" eaLnBrk="0" fontAlgn="base" hangingPunct="0">
              <a:spcAft>
                <a:spcPct val="0"/>
              </a:spcAft>
            </a:pPr>
            <a:endParaRPr lang="de-DE" sz="1050" dirty="0"/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EE21F3FB-24C7-4E23-BF22-0FF239B325C2}"/>
              </a:ext>
            </a:extLst>
          </p:cNvPr>
          <p:cNvSpPr/>
          <p:nvPr/>
        </p:nvSpPr>
        <p:spPr>
          <a:xfrm>
            <a:off x="701266" y="6054576"/>
            <a:ext cx="203740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200" b="1" dirty="0">
                <a:solidFill>
                  <a:srgbClr val="3B3B3B"/>
                </a:solidFill>
                <a:latin typeface="DIN-Light" panose="020B0300010101020103" pitchFamily="34" charset="0"/>
                <a:ea typeface="DIN-Light" panose="020B0300010101020103" pitchFamily="34" charset="0"/>
              </a:rPr>
              <a:t>Netzentwicklung</a:t>
            </a:r>
            <a:br>
              <a:rPr lang="de-DE" sz="1200" b="1" dirty="0">
                <a:solidFill>
                  <a:srgbClr val="3B3B3B"/>
                </a:solidFill>
                <a:latin typeface="DIN-Light" panose="020B0300010101020103" pitchFamily="34" charset="0"/>
                <a:ea typeface="DIN-Light" panose="020B0300010101020103" pitchFamily="34" charset="0"/>
              </a:rPr>
            </a:br>
            <a:r>
              <a:rPr lang="de-DE" sz="1200" b="1" dirty="0">
                <a:solidFill>
                  <a:srgbClr val="3B3B3B"/>
                </a:solidFill>
                <a:latin typeface="DIN-Light" panose="020B0300010101020103" pitchFamily="34" charset="0"/>
                <a:ea typeface="DIN-Light" panose="020B0300010101020103" pitchFamily="34" charset="0"/>
              </a:rPr>
              <a:t>(Strom, Gas) </a:t>
            </a: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ADEC6B28-5343-4C39-ABCE-D5716CBD162C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10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6236" y="6089249"/>
            <a:ext cx="261112" cy="403418"/>
          </a:xfrm>
          <a:prstGeom prst="rect">
            <a:avLst/>
          </a:prstGeom>
        </p:spPr>
      </p:pic>
      <p:sp>
        <p:nvSpPr>
          <p:cNvPr id="32" name="Rechteck 31">
            <a:extLst>
              <a:ext uri="{FF2B5EF4-FFF2-40B4-BE49-F238E27FC236}">
                <a16:creationId xmlns:a16="http://schemas.microsoft.com/office/drawing/2014/main" id="{567AB764-9FCE-441C-89CA-3AF2514E824D}"/>
              </a:ext>
            </a:extLst>
          </p:cNvPr>
          <p:cNvSpPr/>
          <p:nvPr/>
        </p:nvSpPr>
        <p:spPr>
          <a:xfrm>
            <a:off x="2546240" y="6167727"/>
            <a:ext cx="205130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200" b="1" dirty="0">
                <a:solidFill>
                  <a:srgbClr val="3B3B3B"/>
                </a:solidFill>
                <a:latin typeface="DIN-Light" panose="020B0300010101020103" pitchFamily="34" charset="0"/>
                <a:ea typeface="DIN-Light" panose="020B0300010101020103" pitchFamily="34" charset="0"/>
              </a:rPr>
              <a:t>Abrechnung und Verträge</a:t>
            </a:r>
            <a:endParaRPr lang="de-DE" sz="1200" b="1" dirty="0">
              <a:latin typeface="DIN-Light" panose="020B0300010101020103" pitchFamily="34" charset="0"/>
              <a:ea typeface="DIN-Light" panose="020B0300010101020103" pitchFamily="34" charset="0"/>
            </a:endParaRPr>
          </a:p>
        </p:txBody>
      </p:sp>
      <p:pic>
        <p:nvPicPr>
          <p:cNvPr id="33" name="Grafik 32">
            <a:extLst>
              <a:ext uri="{FF2B5EF4-FFF2-40B4-BE49-F238E27FC236}">
                <a16:creationId xmlns:a16="http://schemas.microsoft.com/office/drawing/2014/main" id="{D053A404-0366-412A-9115-7FCFE3BB38B6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25489" y="6085210"/>
            <a:ext cx="375157" cy="465570"/>
          </a:xfrm>
          <a:prstGeom prst="rect">
            <a:avLst/>
          </a:prstGeom>
        </p:spPr>
      </p:pic>
      <p:pic>
        <p:nvPicPr>
          <p:cNvPr id="34" name="Grafik 33">
            <a:extLst>
              <a:ext uri="{FF2B5EF4-FFF2-40B4-BE49-F238E27FC236}">
                <a16:creationId xmlns:a16="http://schemas.microsoft.com/office/drawing/2014/main" id="{0A25165A-2219-4B11-9D17-AC0C615736D4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38084" y="6029723"/>
            <a:ext cx="406342" cy="587000"/>
          </a:xfrm>
          <a:prstGeom prst="rect">
            <a:avLst/>
          </a:prstGeom>
        </p:spPr>
      </p:pic>
      <p:sp>
        <p:nvSpPr>
          <p:cNvPr id="35" name="Rechteck 34">
            <a:extLst>
              <a:ext uri="{FF2B5EF4-FFF2-40B4-BE49-F238E27FC236}">
                <a16:creationId xmlns:a16="http://schemas.microsoft.com/office/drawing/2014/main" id="{92862770-6315-4E86-AFFF-215D382041B7}"/>
              </a:ext>
            </a:extLst>
          </p:cNvPr>
          <p:cNvSpPr/>
          <p:nvPr/>
        </p:nvSpPr>
        <p:spPr>
          <a:xfrm>
            <a:off x="5103233" y="6182680"/>
            <a:ext cx="163174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200" b="1" dirty="0">
                <a:solidFill>
                  <a:srgbClr val="3B3B3B"/>
                </a:solidFill>
                <a:latin typeface="DIN-Light" panose="020B0300010101020103" pitchFamily="34" charset="0"/>
                <a:ea typeface="DIN-Light" panose="020B0300010101020103" pitchFamily="34" charset="0"/>
              </a:rPr>
              <a:t>Störungs</a:t>
            </a:r>
            <a:r>
              <a:rPr lang="de-DE" sz="1200" b="1" dirty="0">
                <a:latin typeface="DIN-Light" panose="020B0300010101020103" pitchFamily="34" charset="0"/>
                <a:ea typeface="DIN-Light" panose="020B0300010101020103" pitchFamily="34" charset="0"/>
              </a:rPr>
              <a:t>monitoring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F25A9666-9CE6-46EC-8B68-96FC65E41F13}"/>
              </a:ext>
            </a:extLst>
          </p:cNvPr>
          <p:cNvSpPr/>
          <p:nvPr/>
        </p:nvSpPr>
        <p:spPr>
          <a:xfrm>
            <a:off x="7464497" y="6062833"/>
            <a:ext cx="148673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200" b="1" dirty="0">
                <a:solidFill>
                  <a:srgbClr val="3B3B3B"/>
                </a:solidFill>
                <a:latin typeface="DIN-Light" panose="020B0300010101020103" pitchFamily="34" charset="0"/>
                <a:ea typeface="DIN-Light" panose="020B0300010101020103" pitchFamily="34" charset="0"/>
              </a:rPr>
              <a:t>Energiedaten und Netzinformationen</a:t>
            </a:r>
            <a:endParaRPr lang="de-DE" sz="1200" b="1" dirty="0">
              <a:latin typeface="DIN-Light" panose="020B0300010101020103" pitchFamily="34" charset="0"/>
              <a:ea typeface="DIN-Light" panose="020B0300010101020103" pitchFamily="34" charset="0"/>
            </a:endParaRPr>
          </a:p>
        </p:txBody>
      </p:sp>
      <p:pic>
        <p:nvPicPr>
          <p:cNvPr id="37" name="Grafik 36">
            <a:extLst>
              <a:ext uri="{FF2B5EF4-FFF2-40B4-BE49-F238E27FC236}">
                <a16:creationId xmlns:a16="http://schemas.microsoft.com/office/drawing/2014/main" id="{7611FAA9-F905-4A5C-B00E-A983F641C083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35187" y="5947199"/>
            <a:ext cx="571192" cy="676421"/>
          </a:xfrm>
          <a:prstGeom prst="rect">
            <a:avLst/>
          </a:prstGeom>
        </p:spPr>
      </p:pic>
      <p:pic>
        <p:nvPicPr>
          <p:cNvPr id="38" name="Grafik 37">
            <a:extLst>
              <a:ext uri="{FF2B5EF4-FFF2-40B4-BE49-F238E27FC236}">
                <a16:creationId xmlns:a16="http://schemas.microsoft.com/office/drawing/2014/main" id="{264F4547-8082-457B-9B93-CC56972F6A8F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58926" y="5996892"/>
            <a:ext cx="520277" cy="611017"/>
          </a:xfrm>
          <a:prstGeom prst="rect">
            <a:avLst/>
          </a:prstGeom>
        </p:spPr>
      </p:pic>
      <p:sp>
        <p:nvSpPr>
          <p:cNvPr id="39" name="Rechteck 38">
            <a:extLst>
              <a:ext uri="{FF2B5EF4-FFF2-40B4-BE49-F238E27FC236}">
                <a16:creationId xmlns:a16="http://schemas.microsoft.com/office/drawing/2014/main" id="{FEE11B95-8938-4714-A0EB-75E7EA9B21A0}"/>
              </a:ext>
            </a:extLst>
          </p:cNvPr>
          <p:cNvSpPr/>
          <p:nvPr/>
        </p:nvSpPr>
        <p:spPr>
          <a:xfrm>
            <a:off x="9750376" y="6071567"/>
            <a:ext cx="177337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200" b="1" dirty="0">
                <a:solidFill>
                  <a:srgbClr val="3B3B3B"/>
                </a:solidFill>
                <a:latin typeface="DIN-Light" panose="020B0300010101020103" pitchFamily="34" charset="0"/>
                <a:ea typeface="DIN-Light" panose="020B0300010101020103" pitchFamily="34" charset="0"/>
              </a:rPr>
              <a:t>Dreijahresplanung und </a:t>
            </a:r>
          </a:p>
          <a:p>
            <a:r>
              <a:rPr lang="de-DE" sz="1200" b="1" dirty="0">
                <a:solidFill>
                  <a:srgbClr val="3B3B3B"/>
                </a:solidFill>
                <a:latin typeface="DIN-Light" panose="020B0300010101020103" pitchFamily="34" charset="0"/>
                <a:ea typeface="DIN-Light" panose="020B0300010101020103" pitchFamily="34" charset="0"/>
              </a:rPr>
              <a:t>Bauabstimmung</a:t>
            </a:r>
            <a:endParaRPr lang="de-DE" sz="1200" b="1" dirty="0">
              <a:latin typeface="DIN-Light" panose="020B0300010101020103" pitchFamily="34" charset="0"/>
              <a:ea typeface="DIN-Light" panose="020B0300010101020103" pitchFamily="34" charset="0"/>
            </a:endParaRPr>
          </a:p>
        </p:txBody>
      </p:sp>
      <p:sp>
        <p:nvSpPr>
          <p:cNvPr id="40" name="Textfeld 39">
            <a:extLst>
              <a:ext uri="{FF2B5EF4-FFF2-40B4-BE49-F238E27FC236}">
                <a16:creationId xmlns:a16="http://schemas.microsoft.com/office/drawing/2014/main" id="{00CA783A-57CA-44E0-900D-23357DED638B}"/>
              </a:ext>
            </a:extLst>
          </p:cNvPr>
          <p:cNvSpPr txBox="1"/>
          <p:nvPr/>
        </p:nvSpPr>
        <p:spPr bwMode="gray">
          <a:xfrm>
            <a:off x="172098" y="5725931"/>
            <a:ext cx="8100600" cy="2154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6"/>
              </a:buClr>
              <a:buSzPct val="140000"/>
            </a:pPr>
            <a:r>
              <a:rPr lang="de-DE" sz="1400" dirty="0">
                <a:latin typeface="DIN-Light" panose="020B0300010101020103" pitchFamily="34" charset="0"/>
                <a:ea typeface="DIN-Light" panose="020B0300010101020103" pitchFamily="34" charset="0"/>
              </a:rPr>
              <a:t>Unsere Leistungen und vertraglichen Informationspflichten werden transparent dargestellt. </a:t>
            </a:r>
            <a:endParaRPr lang="de-DE" sz="1400" dirty="0">
              <a:solidFill>
                <a:schemeClr val="tx2"/>
              </a:solidFill>
              <a:latin typeface="DIN-Light" panose="020B0300010101020103" pitchFamily="34" charset="0"/>
              <a:ea typeface="DIN-Light" panose="020B0300010101020103" pitchFamily="34" charset="0"/>
            </a:endParaRPr>
          </a:p>
        </p:txBody>
      </p:sp>
      <p:sp>
        <p:nvSpPr>
          <p:cNvPr id="42" name="Textfeld 41">
            <a:extLst>
              <a:ext uri="{FF2B5EF4-FFF2-40B4-BE49-F238E27FC236}">
                <a16:creationId xmlns:a16="http://schemas.microsoft.com/office/drawing/2014/main" id="{84ADB9BD-9CCE-4A3A-80C0-9B07BAA03903}"/>
              </a:ext>
            </a:extLst>
          </p:cNvPr>
          <p:cNvSpPr txBox="1"/>
          <p:nvPr/>
        </p:nvSpPr>
        <p:spPr bwMode="gray">
          <a:xfrm>
            <a:off x="4756904" y="2140014"/>
            <a:ext cx="1652442" cy="24622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indent="0" algn="ctr">
              <a:spcBef>
                <a:spcPts val="0"/>
              </a:spcBef>
              <a:buClr>
                <a:schemeClr val="accent6"/>
              </a:buClr>
              <a:buSzPct val="140000"/>
              <a:buNone/>
            </a:pPr>
            <a:r>
              <a:rPr lang="de-DE" sz="1600" b="1" dirty="0">
                <a:solidFill>
                  <a:schemeClr val="bg1"/>
                </a:solidFill>
                <a:latin typeface="+mn-lt"/>
                <a:ea typeface="DIN-Regular" panose="020B0500010101010101" pitchFamily="34" charset="0"/>
              </a:rPr>
              <a:t>Prognose 2035</a:t>
            </a:r>
          </a:p>
        </p:txBody>
      </p:sp>
    </p:spTree>
    <p:extLst>
      <p:ext uri="{BB962C8B-B14F-4D97-AF65-F5344CB8AC3E}">
        <p14:creationId xmlns:p14="http://schemas.microsoft.com/office/powerpoint/2010/main" val="3394207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27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bNumberIsYear val=&quot;0&quot;/&gt;&lt;m_strFormatTime&gt;%d.%m.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2kC8kKoRmwCAx7e_kMk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2kC8kKoRmwCAx7e_kMk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2kC8kKoRmwCAx7e_kMk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2kC8kKoRmwCAx7e_kMk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2kC8kKoRmwCAx7e_kMk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2kC8kKoRmwCAx7e_kMk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7RMc_TK46RP0RGsfDMa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7wZheb9U6wIKVHCEgbn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DH1oBFjUCw9pkkjrgDW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ZhoZBaS1USG0i9ArZeTP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nHktHH2X0.goG.UBR42N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ZhzcgrEGk6s_XYj_hmD5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bs7QY_20aH1ylAIlQSm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4emPrkAU0m9yQ5teKvey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YX5SpqFU.5v3I7V6tsO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ZhoZBaS1USG0i9ArZeTP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TyhoDti0u.zmkAJB6lv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Sr4yoMyNEaeEcDug_6vh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nHktHH2X0.goG.UBR42N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pkidcjvckOIZIojngUmW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TyhoDti0u.zmkAJB6lv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TyhoDti0u.zmkAJB6lv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2kC8kKoRmwCAx7e_kMk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3cDGol1PhSJfb00az5A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2kC8kKoRmwCAx7e_kMk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2kC8kKoRmwCAx7e_kMk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eispielpräsentation_Breitbild">
  <a:themeElements>
    <a:clrScheme name="EnBW_4zu3_NEU">
      <a:dk1>
        <a:srgbClr val="3B3B3B"/>
      </a:dk1>
      <a:lt1>
        <a:srgbClr val="FFFFFF"/>
      </a:lt1>
      <a:dk2>
        <a:srgbClr val="000099"/>
      </a:dk2>
      <a:lt2>
        <a:srgbClr val="E3E3E3"/>
      </a:lt2>
      <a:accent1>
        <a:srgbClr val="CCCCCC"/>
      </a:accent1>
      <a:accent2>
        <a:srgbClr val="B2B2B2"/>
      </a:accent2>
      <a:accent3>
        <a:srgbClr val="979797"/>
      </a:accent3>
      <a:accent4>
        <a:srgbClr val="838383"/>
      </a:accent4>
      <a:accent5>
        <a:srgbClr val="686868"/>
      </a:accent5>
      <a:accent6>
        <a:srgbClr val="FF9900"/>
      </a:accent6>
      <a:hlink>
        <a:srgbClr val="000099"/>
      </a:hlink>
      <a:folHlink>
        <a:srgbClr val="457CC7"/>
      </a:folHlink>
    </a:clrScheme>
    <a:fontScheme name="f_EineEnBW_PPT">
      <a:majorFont>
        <a:latin typeface="EnBW DIN Pro"/>
        <a:ea typeface=""/>
        <a:cs typeface=""/>
      </a:majorFont>
      <a:minorFont>
        <a:latin typeface="EnBW DIN Pro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108000" tIns="108000" rIns="108000" bIns="10800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spcBef>
            <a:spcPts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+mn-lt"/>
          </a:defRPr>
        </a:defPPr>
      </a:lstStyle>
    </a:spDef>
    <a:lnDef>
      <a:spPr bwMode="auto">
        <a:solidFill>
          <a:srgbClr val="F0F0F0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 bwMode="gray">
        <a:noFill/>
        <a:ln>
          <a:noFill/>
        </a:ln>
      </a:spPr>
      <a:bodyPr wrap="none" lIns="0" tIns="0" rIns="0" bIns="0" rtlCol="0">
        <a:spAutoFit/>
      </a:bodyPr>
      <a:lstStyle>
        <a:defPPr marL="0" indent="0">
          <a:spcBef>
            <a:spcPts val="0"/>
          </a:spcBef>
          <a:buClr>
            <a:schemeClr val="accent6"/>
          </a:buClr>
          <a:buSzPct val="140000"/>
          <a:buNone/>
          <a:defRPr sz="1400" dirty="0" err="1" smtClean="0">
            <a:latin typeface="+mn-lt"/>
            <a:ea typeface="DIN-Regular" panose="020B0500010101010101" pitchFamily="34" charset="0"/>
          </a:defRPr>
        </a:defPPr>
      </a:lstStyle>
    </a:txDef>
  </a:objectDefaults>
  <a:extraClrSchemeLst/>
  <a:custClrLst>
    <a:custClr name="Mittelblau">
      <a:srgbClr val="374A9A"/>
    </a:custClr>
    <a:custClr name="Dunkelblau">
      <a:srgbClr val="061671"/>
    </a:custClr>
    <a:custClr name="Hellblau">
      <a:srgbClr val="8AADDC"/>
    </a:custClr>
    <a:custClr name="Dunkelorange">
      <a:srgbClr val="EE7700"/>
    </a:custClr>
    <a:custClr name="Signalrot">
      <a:srgbClr val="E2001A"/>
    </a:custClr>
    <a:custClr name="Signalgrün">
      <a:srgbClr val="94C11C"/>
    </a:custClr>
  </a:custClrLst>
  <a:extLst>
    <a:ext uri="{05A4C25C-085E-4340-85A3-A5531E510DB2}">
      <thm15:themeFamily xmlns:thm15="http://schemas.microsoft.com/office/thememl/2012/main" name="Beispielpräsentation_Breitbild.potx" id="{FA53228F-3C40-40D2-ABE3-7D7837B93F8A}" vid="{ECD3E285-C517-45B8-BEDC-A6103AEF2171}"/>
    </a:ext>
  </a:extLst>
</a:theme>
</file>

<file path=ppt/theme/theme2.xml><?xml version="1.0" encoding="utf-8"?>
<a:theme xmlns:a="http://schemas.openxmlformats.org/drawingml/2006/main" name="2_Beispielpräsentation_Breitbild">
  <a:themeElements>
    <a:clrScheme name="EnBW_4zu3_NEU">
      <a:dk1>
        <a:srgbClr val="3B3B3B"/>
      </a:dk1>
      <a:lt1>
        <a:srgbClr val="FFFFFF"/>
      </a:lt1>
      <a:dk2>
        <a:srgbClr val="000099"/>
      </a:dk2>
      <a:lt2>
        <a:srgbClr val="E3E3E3"/>
      </a:lt2>
      <a:accent1>
        <a:srgbClr val="CCCCCC"/>
      </a:accent1>
      <a:accent2>
        <a:srgbClr val="B2B2B2"/>
      </a:accent2>
      <a:accent3>
        <a:srgbClr val="979797"/>
      </a:accent3>
      <a:accent4>
        <a:srgbClr val="838383"/>
      </a:accent4>
      <a:accent5>
        <a:srgbClr val="686868"/>
      </a:accent5>
      <a:accent6>
        <a:srgbClr val="FF9900"/>
      </a:accent6>
      <a:hlink>
        <a:srgbClr val="000099"/>
      </a:hlink>
      <a:folHlink>
        <a:srgbClr val="457CC7"/>
      </a:folHlink>
    </a:clrScheme>
    <a:fontScheme name="f_EineEnBW_PPT">
      <a:majorFont>
        <a:latin typeface="EnBW DIN Pro"/>
        <a:ea typeface=""/>
        <a:cs typeface=""/>
      </a:majorFont>
      <a:minorFont>
        <a:latin typeface="EnBW DIN Pro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108000" tIns="108000" rIns="108000" bIns="10800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spcBef>
            <a:spcPts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+mn-lt"/>
          </a:defRPr>
        </a:defPPr>
      </a:lstStyle>
    </a:spDef>
    <a:lnDef>
      <a:spPr bwMode="auto">
        <a:solidFill>
          <a:srgbClr val="F0F0F0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 bwMode="gray">
        <a:noFill/>
        <a:ln>
          <a:noFill/>
        </a:ln>
      </a:spPr>
      <a:bodyPr wrap="none" lIns="0" tIns="0" rIns="0" bIns="0" rtlCol="0">
        <a:spAutoFit/>
      </a:bodyPr>
      <a:lstStyle>
        <a:defPPr marL="0" indent="0">
          <a:spcBef>
            <a:spcPts val="0"/>
          </a:spcBef>
          <a:buClr>
            <a:schemeClr val="accent6"/>
          </a:buClr>
          <a:buSzPct val="140000"/>
          <a:buNone/>
          <a:defRPr sz="1400" dirty="0" err="1" smtClean="0">
            <a:latin typeface="+mn-lt"/>
            <a:ea typeface="DIN-Regular" panose="020B0500010101010101" pitchFamily="34" charset="0"/>
          </a:defRPr>
        </a:defPPr>
      </a:lstStyle>
    </a:txDef>
  </a:objectDefaults>
  <a:extraClrSchemeLst/>
  <a:custClrLst>
    <a:custClr name="Mittelblau">
      <a:srgbClr val="374A9A"/>
    </a:custClr>
    <a:custClr name="Dunkelblau">
      <a:srgbClr val="061671"/>
    </a:custClr>
    <a:custClr name="Hellblau">
      <a:srgbClr val="8AADDC"/>
    </a:custClr>
    <a:custClr name="Dunkelorange">
      <a:srgbClr val="EE7700"/>
    </a:custClr>
    <a:custClr name="Signalrot">
      <a:srgbClr val="E2001A"/>
    </a:custClr>
    <a:custClr name="Signalgrün">
      <a:srgbClr val="94C11C"/>
    </a:custClr>
  </a:custClrLst>
</a:theme>
</file>

<file path=ppt/theme/theme3.xml><?xml version="1.0" encoding="utf-8"?>
<a:theme xmlns:a="http://schemas.openxmlformats.org/drawingml/2006/main" name="Larissa">
  <a:themeElements>
    <a:clrScheme name="EnBW_4zu3_NEU">
      <a:dk1>
        <a:srgbClr val="3B3B3B"/>
      </a:dk1>
      <a:lt1>
        <a:srgbClr val="FFFFFF"/>
      </a:lt1>
      <a:dk2>
        <a:srgbClr val="000099"/>
      </a:dk2>
      <a:lt2>
        <a:srgbClr val="E3E3E3"/>
      </a:lt2>
      <a:accent1>
        <a:srgbClr val="CCCCCC"/>
      </a:accent1>
      <a:accent2>
        <a:srgbClr val="B2B2B2"/>
      </a:accent2>
      <a:accent3>
        <a:srgbClr val="979797"/>
      </a:accent3>
      <a:accent4>
        <a:srgbClr val="838383"/>
      </a:accent4>
      <a:accent5>
        <a:srgbClr val="686868"/>
      </a:accent5>
      <a:accent6>
        <a:srgbClr val="FF9900"/>
      </a:accent6>
      <a:hlink>
        <a:srgbClr val="000099"/>
      </a:hlink>
      <a:folHlink>
        <a:srgbClr val="457CC7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Benutzerdefiniert 10">
    <a:dk1>
      <a:srgbClr val="3B3B3B"/>
    </a:dk1>
    <a:lt1>
      <a:srgbClr val="FFFFFF"/>
    </a:lt1>
    <a:dk2>
      <a:srgbClr val="000099"/>
    </a:dk2>
    <a:lt2>
      <a:srgbClr val="E3E3E3"/>
    </a:lt2>
    <a:accent1>
      <a:srgbClr val="CCCCCC"/>
    </a:accent1>
    <a:accent2>
      <a:srgbClr val="B2B2B2"/>
    </a:accent2>
    <a:accent3>
      <a:srgbClr val="979797"/>
    </a:accent3>
    <a:accent4>
      <a:srgbClr val="838383"/>
    </a:accent4>
    <a:accent5>
      <a:srgbClr val="686868"/>
    </a:accent5>
    <a:accent6>
      <a:srgbClr val="FF9900"/>
    </a:accent6>
    <a:hlink>
      <a:srgbClr val="000099"/>
    </a:hlink>
    <a:folHlink>
      <a:srgbClr val="457CC7"/>
    </a:folHlink>
  </a:clrScheme>
  <a:fontScheme name="Office-Design">
    <a:majorFont>
      <a:latin typeface="Calibri Light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-Design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EnBW_4zu3_NEU">
    <a:dk1>
      <a:srgbClr val="3B3B3B"/>
    </a:dk1>
    <a:lt1>
      <a:srgbClr val="FFFFFF"/>
    </a:lt1>
    <a:dk2>
      <a:srgbClr val="000099"/>
    </a:dk2>
    <a:lt2>
      <a:srgbClr val="E3E3E3"/>
    </a:lt2>
    <a:accent1>
      <a:srgbClr val="CCCCCC"/>
    </a:accent1>
    <a:accent2>
      <a:srgbClr val="B2B2B2"/>
    </a:accent2>
    <a:accent3>
      <a:srgbClr val="979797"/>
    </a:accent3>
    <a:accent4>
      <a:srgbClr val="838383"/>
    </a:accent4>
    <a:accent5>
      <a:srgbClr val="686868"/>
    </a:accent5>
    <a:accent6>
      <a:srgbClr val="FF9900"/>
    </a:accent6>
    <a:hlink>
      <a:srgbClr val="000099"/>
    </a:hlink>
    <a:folHlink>
      <a:srgbClr val="457CC7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11.xml><?xml version="1.0" encoding="utf-8"?>
<Control xmlns="http://schemas.microsoft.com/VisualStudio/2011/storyboarding/control">
  <Id Name="a100617f-9438-4250-bfbd-27c6fe6e2787" Revision="1" Stencil="Icons_1" StencilVersion="1.0"/>
</Control>
</file>

<file path=customXml/item12.xml><?xml version="1.0" encoding="utf-8"?>
<Control xmlns="http://schemas.microsoft.com/VisualStudio/2011/storyboarding/control">
  <Id Name="c896c4b7-1e22-435c-9362-299f110a5203" Revision="1" Stencil="Icons_4" StencilVersion="1.0"/>
</Control>
</file>

<file path=customXml/item13.xml><?xml version="1.0" encoding="utf-8"?>
<Control xmlns="http://schemas.microsoft.com/VisualStudio/2011/storyboarding/control">
  <Id Name="ec79430e-aafe-4f3c-ae05-8cc22d026a82" Revision="1" Stencil="Icons_4" StencilVersion="1.0"/>
</Control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7D93A9BF23A8440A573D7D3174F4C57" ma:contentTypeVersion="10" ma:contentTypeDescription="Create a new document." ma:contentTypeScope="" ma:versionID="ccd9e0211c463238450f979f79213187">
  <xsd:schema xmlns:xsd="http://www.w3.org/2001/XMLSchema" xmlns:xs="http://www.w3.org/2001/XMLSchema" xmlns:p="http://schemas.microsoft.com/office/2006/metadata/properties" xmlns:ns2="53f8f71a-5bfc-40c8-8b41-379f0b6db202" xmlns:ns3="ac5e9d9f-2ce3-4e44-ae46-a9e3c8dd8c76" targetNamespace="http://schemas.microsoft.com/office/2006/metadata/properties" ma:root="true" ma:fieldsID="70fa0f9418527e3b09467f8b387e5813" ns2:_="" ns3:_="">
    <xsd:import namespace="53f8f71a-5bfc-40c8-8b41-379f0b6db202"/>
    <xsd:import namespace="ac5e9d9f-2ce3-4e44-ae46-a9e3c8dd8c7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3f8f71a-5bfc-40c8-8b41-379f0b6db20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7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c5e9d9f-2ce3-4e44-ae46-a9e3c8dd8c76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Control xmlns="http://schemas.microsoft.com/VisualStudio/2011/storyboarding/control">
  <Id Name="a100617f-9438-4250-bfbd-27c6fe6e2787" Revision="1" Stencil="Icons_1" StencilVersion="1.0"/>
</Control>
</file>

<file path=customXml/item4.xml><?xml version="1.0" encoding="utf-8"?>
<Control xmlns="http://schemas.microsoft.com/VisualStudio/2011/storyboarding/control">
  <Id Name="ec79430e-aafe-4f3c-ae05-8cc22d026a82" Revision="1" Stencil="Icons_4" StencilVersion="1.0"/>
</Control>
</file>

<file path=customXml/item5.xml><?xml version="1.0" encoding="utf-8"?>
<Control xmlns="http://schemas.microsoft.com/VisualStudio/2011/storyboarding/control">
  <Id Name="b4ce2763-b51a-4445-80f0-acd9903a029f" Revision="1" Stencil="Icons_1" StencilVersion="1.0"/>
</Control>
</file>

<file path=customXml/item6.xml><?xml version="1.0" encoding="utf-8"?>
<Control xmlns="http://schemas.microsoft.com/VisualStudio/2011/storyboarding/control">
  <Id Name="ec79430e-aafe-4f3c-ae05-8cc22d026a82" Revision="1" Stencil="Icons_4" StencilVersion="1.0"/>
</Control>
</file>

<file path=customXml/item7.xml><?xml version="1.0" encoding="utf-8"?>
<Control xmlns="http://schemas.microsoft.com/VisualStudio/2011/storyboarding/control">
  <Id Name="a100617f-9438-4250-bfbd-27c6fe6e2787" Revision="1" Stencil="Icons_1" StencilVersion="1.0"/>
</Control>
</file>

<file path=customXml/item8.xml><?xml version="1.0" encoding="utf-8"?>
<Control xmlns="http://schemas.microsoft.com/VisualStudio/2011/storyboarding/control">
  <Id Name="a639ac73-1c5c-4797-837c-f881ed53dadd" Revision="1" Stencil="Icons_4" StencilVersion="1.0"/>
</Control>
</file>

<file path=customXml/item9.xml><?xml version="1.0" encoding="utf-8"?>
<Control xmlns="http://schemas.microsoft.com/VisualStudio/2011/storyboarding/control">
  <Id Name="c896c4b7-1e22-435c-9362-299f110a5203" Revision="1" Stencil="Icons_4" StencilVersion="1.0"/>
</Control>
</file>

<file path=customXml/itemProps1.xml><?xml version="1.0" encoding="utf-8"?>
<ds:datastoreItem xmlns:ds="http://schemas.openxmlformats.org/officeDocument/2006/customXml" ds:itemID="{F78A47DD-3C85-45C2-B9A1-CE520420D598}">
  <ds:schemaRefs>
    <ds:schemaRef ds:uri="http://schemas.microsoft.com/sharepoint/v3/contenttype/forms"/>
  </ds:schemaRefs>
</ds:datastoreItem>
</file>

<file path=customXml/itemProps10.xml><?xml version="1.0" encoding="utf-8"?>
<ds:datastoreItem xmlns:ds="http://schemas.openxmlformats.org/officeDocument/2006/customXml" ds:itemID="{69FBA541-94CC-4530-9A53-8EE5B73D117B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ac5e9d9f-2ce3-4e44-ae46-a9e3c8dd8c76"/>
    <ds:schemaRef ds:uri="http://purl.org/dc/elements/1.1/"/>
    <ds:schemaRef ds:uri="http://schemas.microsoft.com/office/2006/metadata/properties"/>
    <ds:schemaRef ds:uri="53f8f71a-5bfc-40c8-8b41-379f0b6db202"/>
    <ds:schemaRef ds:uri="http://www.w3.org/XML/1998/namespace"/>
    <ds:schemaRef ds:uri="http://purl.org/dc/dcmitype/"/>
  </ds:schemaRefs>
</ds:datastoreItem>
</file>

<file path=customXml/itemProps11.xml><?xml version="1.0" encoding="utf-8"?>
<ds:datastoreItem xmlns:ds="http://schemas.openxmlformats.org/officeDocument/2006/customXml" ds:itemID="{0F500170-439C-4D7B-9E63-12402A0D5090}">
  <ds:schemaRefs>
    <ds:schemaRef ds:uri="http://schemas.microsoft.com/VisualStudio/2011/storyboarding/control"/>
  </ds:schemaRefs>
</ds:datastoreItem>
</file>

<file path=customXml/itemProps12.xml><?xml version="1.0" encoding="utf-8"?>
<ds:datastoreItem xmlns:ds="http://schemas.openxmlformats.org/officeDocument/2006/customXml" ds:itemID="{BABCEE33-E1E3-4F77-8200-0D498FF4D2C7}">
  <ds:schemaRefs>
    <ds:schemaRef ds:uri="http://schemas.microsoft.com/VisualStudio/2011/storyboarding/control"/>
  </ds:schemaRefs>
</ds:datastoreItem>
</file>

<file path=customXml/itemProps13.xml><?xml version="1.0" encoding="utf-8"?>
<ds:datastoreItem xmlns:ds="http://schemas.openxmlformats.org/officeDocument/2006/customXml" ds:itemID="{5E983BB5-1471-4642-8228-4B5C605F7BFE}">
  <ds:schemaRefs>
    <ds:schemaRef ds:uri="http://schemas.microsoft.com/VisualStudio/2011/storyboarding/control"/>
  </ds:schemaRefs>
</ds:datastoreItem>
</file>

<file path=customXml/itemProps2.xml><?xml version="1.0" encoding="utf-8"?>
<ds:datastoreItem xmlns:ds="http://schemas.openxmlformats.org/officeDocument/2006/customXml" ds:itemID="{7C028497-5891-4EC9-8C88-53F2F2D5C3F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3f8f71a-5bfc-40c8-8b41-379f0b6db202"/>
    <ds:schemaRef ds:uri="ac5e9d9f-2ce3-4e44-ae46-a9e3c8dd8c7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5B23C9A9-E266-4209-B937-717051E53F3E}">
  <ds:schemaRefs>
    <ds:schemaRef ds:uri="http://schemas.microsoft.com/VisualStudio/2011/storyboarding/control"/>
  </ds:schemaRefs>
</ds:datastoreItem>
</file>

<file path=customXml/itemProps4.xml><?xml version="1.0" encoding="utf-8"?>
<ds:datastoreItem xmlns:ds="http://schemas.openxmlformats.org/officeDocument/2006/customXml" ds:itemID="{EFC8A9B5-EE08-46FD-B73A-421B341FED0C}">
  <ds:schemaRefs>
    <ds:schemaRef ds:uri="http://schemas.microsoft.com/VisualStudio/2011/storyboarding/control"/>
  </ds:schemaRefs>
</ds:datastoreItem>
</file>

<file path=customXml/itemProps5.xml><?xml version="1.0" encoding="utf-8"?>
<ds:datastoreItem xmlns:ds="http://schemas.openxmlformats.org/officeDocument/2006/customXml" ds:itemID="{5BBD1DEC-3E71-451C-B810-B93BE5DFACC8}">
  <ds:schemaRefs>
    <ds:schemaRef ds:uri="http://schemas.microsoft.com/VisualStudio/2011/storyboarding/control"/>
  </ds:schemaRefs>
</ds:datastoreItem>
</file>

<file path=customXml/itemProps6.xml><?xml version="1.0" encoding="utf-8"?>
<ds:datastoreItem xmlns:ds="http://schemas.openxmlformats.org/officeDocument/2006/customXml" ds:itemID="{8E51F649-B405-4B06-A8A4-16DEAB975D6F}">
  <ds:schemaRefs>
    <ds:schemaRef ds:uri="http://schemas.microsoft.com/VisualStudio/2011/storyboarding/control"/>
  </ds:schemaRefs>
</ds:datastoreItem>
</file>

<file path=customXml/itemProps7.xml><?xml version="1.0" encoding="utf-8"?>
<ds:datastoreItem xmlns:ds="http://schemas.openxmlformats.org/officeDocument/2006/customXml" ds:itemID="{93F95F06-9978-42CB-9E3B-33219B04C296}">
  <ds:schemaRefs>
    <ds:schemaRef ds:uri="http://schemas.microsoft.com/VisualStudio/2011/storyboarding/control"/>
  </ds:schemaRefs>
</ds:datastoreItem>
</file>

<file path=customXml/itemProps8.xml><?xml version="1.0" encoding="utf-8"?>
<ds:datastoreItem xmlns:ds="http://schemas.openxmlformats.org/officeDocument/2006/customXml" ds:itemID="{44B3D898-2119-44D3-82C6-F5B654D613E6}">
  <ds:schemaRefs>
    <ds:schemaRef ds:uri="http://schemas.microsoft.com/VisualStudio/2011/storyboarding/control"/>
  </ds:schemaRefs>
</ds:datastoreItem>
</file>

<file path=customXml/itemProps9.xml><?xml version="1.0" encoding="utf-8"?>
<ds:datastoreItem xmlns:ds="http://schemas.openxmlformats.org/officeDocument/2006/customXml" ds:itemID="{DD42D013-1F93-4A86-9DA5-8A5659701DF1}">
  <ds:schemaRefs>
    <ds:schemaRef ds:uri="http://schemas.microsoft.com/VisualStudio/2011/storyboarding/contro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eispielpräsentation_Breitbild</Template>
  <TotalTime>0</TotalTime>
  <Words>1666</Words>
  <Application>Microsoft Office PowerPoint</Application>
  <PresentationFormat>Benutzerdefiniert</PresentationFormat>
  <Paragraphs>427</Paragraphs>
  <Slides>24</Slides>
  <Notes>8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4</vt:i4>
      </vt:variant>
    </vt:vector>
  </HeadingPairs>
  <TitlesOfParts>
    <vt:vector size="34" baseType="lpstr">
      <vt:lpstr>Symbol</vt:lpstr>
      <vt:lpstr>EnBW DIN Pro</vt:lpstr>
      <vt:lpstr>DIN-Medium</vt:lpstr>
      <vt:lpstr>DIN-Regular</vt:lpstr>
      <vt:lpstr>Calibri</vt:lpstr>
      <vt:lpstr>EnBW DIN Pro Medium</vt:lpstr>
      <vt:lpstr>DIN-Light</vt:lpstr>
      <vt:lpstr>Beispielpräsentation_Breitbild</vt:lpstr>
      <vt:lpstr>2_Beispielpräsentation_Breitbild</vt:lpstr>
      <vt:lpstr>think-cell Folie</vt:lpstr>
      <vt:lpstr>PowerPoint-Präsentation</vt:lpstr>
      <vt:lpstr>PowerPoint-Präsentation</vt:lpstr>
      <vt:lpstr>Energiewende: Komplexität im Verteilnetz steigt</vt:lpstr>
      <vt:lpstr>In unseren NETZlaboren untersuchen wir die Auswirkung der Elektromobilität auf das Stromnetz mit unterschiedlichem Fokus</vt:lpstr>
      <vt:lpstr>NETZlabor Intelligentes Heimladen Lademanagement nach Zeitplan in der Praxis</vt:lpstr>
      <vt:lpstr>Energiewende – Was bringt die Zukunft? Mögliche Entwicklung in Bad Wurzach</vt:lpstr>
      <vt:lpstr>PowerPoint-Präsentation</vt:lpstr>
      <vt:lpstr>PowerPoint-Präsentation</vt:lpstr>
      <vt:lpstr>Intensivierung des Kommunendialogs auf Basis der KommunalPlattform Kompetent und zukunftsfähig</vt:lpstr>
      <vt:lpstr>PowerPoint-Präsentation</vt:lpstr>
      <vt:lpstr>Ausbildung vor Ort: Knapp 600 Auszubildende und DH-Studierende Qualität und Zukunftssicherung durch ein Netzwerk von Ausbildungsstätten (an denen auch viele Stadtwerke &amp; Dienstleister der Branche ausbilden lassen)</vt:lpstr>
      <vt:lpstr>Versorgungssicherheit durch regionale Stärke vor Ort Insbesondere in Störungssituationen – schnelle Reaktionszeit</vt:lpstr>
      <vt:lpstr>PowerPoint-Präsentation</vt:lpstr>
      <vt:lpstr>Einbindungskarte – Bad Wurzach Stromnetz</vt:lpstr>
      <vt:lpstr>Höchste Sicherheit durch mehrfach redundante Leitstellen Ganz Baden-Württemberg auf einen Blick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Eindrücke aus den aktuellen Starkwetterereignissen Juni 2021</vt:lpstr>
      <vt:lpstr>PowerPoint-Präsentation</vt:lpstr>
      <vt:lpstr>PowerPoint-Präsentation</vt:lpstr>
      <vt:lpstr>Danke für die Partnerschaft</vt:lpstr>
    </vt:vector>
  </TitlesOfParts>
  <Company>EnBW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Keinath Anja</dc:creator>
  <cp:lastModifiedBy>Wirbel Martin</cp:lastModifiedBy>
  <cp:revision>167</cp:revision>
  <cp:lastPrinted>2020-02-12T08:22:22Z</cp:lastPrinted>
  <dcterms:created xsi:type="dcterms:W3CDTF">2020-02-06T10:51:29Z</dcterms:created>
  <dcterms:modified xsi:type="dcterms:W3CDTF">2022-05-13T08:17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7D93A9BF23A8440A573D7D3174F4C57</vt:lpwstr>
  </property>
</Properties>
</file>